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4.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5.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6.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7.xml" ContentType="application/vnd.openxmlformats-officedocument.theme+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8.xml" ContentType="application/vnd.openxmlformats-officedocument.theme+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theme/theme10.xml" ContentType="application/vnd.openxmlformats-officedocument.theme+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theme/theme11.xml" ContentType="application/vnd.openxmlformats-officedocument.theme+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theme/theme12.xml" ContentType="application/vnd.openxmlformats-officedocument.theme+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theme/theme13.xml" ContentType="application/vnd.openxmlformats-officedocument.theme+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theme/theme14.xml" ContentType="application/vnd.openxmlformats-officedocument.theme+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theme/theme15.xml" ContentType="application/vnd.openxmlformats-officedocument.theme+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theme/theme16.xml" ContentType="application/vnd.openxmlformats-officedocument.theme+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theme/theme17.xml" ContentType="application/vnd.openxmlformats-officedocument.theme+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theme/theme18.xml" ContentType="application/vnd.openxmlformats-officedocument.theme+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theme/theme19.xml" ContentType="application/vnd.openxmlformats-officedocument.theme+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theme/theme20.xml" ContentType="application/vnd.openxmlformats-officedocument.theme+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theme/theme21.xml" ContentType="application/vnd.openxmlformats-officedocument.theme+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theme/theme22.xml" ContentType="application/vnd.openxmlformats-officedocument.theme+xml"/>
  <Override PartName="/ppt/theme/theme23.xml" ContentType="application/vnd.openxmlformats-officedocument.theme+xml"/>
  <Override PartName="/ppt/notesSlides/notesSlide1.xml" ContentType="application/vnd.openxmlformats-officedocument.presentationml.notesSlide+xml"/>
  <Override PartName="/ppt/tags/tag1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2" r:id="rId2"/>
    <p:sldMasterId id="2147483726" r:id="rId3"/>
    <p:sldMasterId id="2147483753" r:id="rId4"/>
    <p:sldMasterId id="2147483792" r:id="rId5"/>
    <p:sldMasterId id="2147483830" r:id="rId6"/>
    <p:sldMasterId id="2147483850" r:id="rId7"/>
    <p:sldMasterId id="2147483890" r:id="rId8"/>
    <p:sldMasterId id="2147483929" r:id="rId9"/>
    <p:sldMasterId id="2147483949" r:id="rId10"/>
    <p:sldMasterId id="2147483972" r:id="rId11"/>
    <p:sldMasterId id="2147484018" r:id="rId12"/>
    <p:sldMasterId id="2147484034" r:id="rId13"/>
    <p:sldMasterId id="2147484059" r:id="rId14"/>
    <p:sldMasterId id="2147484082" r:id="rId15"/>
    <p:sldMasterId id="2147484103" r:id="rId16"/>
    <p:sldMasterId id="2147484115" r:id="rId17"/>
    <p:sldMasterId id="2147484119" r:id="rId18"/>
    <p:sldMasterId id="2147484161" r:id="rId19"/>
    <p:sldMasterId id="2147484188" r:id="rId20"/>
    <p:sldMasterId id="2147484212" r:id="rId21"/>
    <p:sldMasterId id="2147484226" r:id="rId22"/>
  </p:sldMasterIdLst>
  <p:notesMasterIdLst>
    <p:notesMasterId r:id="rId56"/>
  </p:notesMasterIdLst>
  <p:sldIdLst>
    <p:sldId id="307" r:id="rId23"/>
    <p:sldId id="333" r:id="rId24"/>
    <p:sldId id="334" r:id="rId25"/>
    <p:sldId id="335" r:id="rId26"/>
    <p:sldId id="340" r:id="rId27"/>
    <p:sldId id="331" r:id="rId28"/>
    <p:sldId id="338" r:id="rId29"/>
    <p:sldId id="337" r:id="rId30"/>
    <p:sldId id="371" r:id="rId31"/>
    <p:sldId id="332" r:id="rId32"/>
    <p:sldId id="339" r:id="rId33"/>
    <p:sldId id="341" r:id="rId34"/>
    <p:sldId id="342" r:id="rId35"/>
    <p:sldId id="343" r:id="rId36"/>
    <p:sldId id="344" r:id="rId37"/>
    <p:sldId id="345" r:id="rId38"/>
    <p:sldId id="346" r:id="rId39"/>
    <p:sldId id="347" r:id="rId40"/>
    <p:sldId id="348" r:id="rId41"/>
    <p:sldId id="350" r:id="rId42"/>
    <p:sldId id="351" r:id="rId43"/>
    <p:sldId id="352" r:id="rId44"/>
    <p:sldId id="353" r:id="rId45"/>
    <p:sldId id="354" r:id="rId46"/>
    <p:sldId id="362" r:id="rId47"/>
    <p:sldId id="363" r:id="rId48"/>
    <p:sldId id="364" r:id="rId49"/>
    <p:sldId id="365" r:id="rId50"/>
    <p:sldId id="367" r:id="rId51"/>
    <p:sldId id="368" r:id="rId52"/>
    <p:sldId id="369" r:id="rId53"/>
    <p:sldId id="370" r:id="rId54"/>
    <p:sldId id="306" r:id="rId55"/>
  </p:sldIdLst>
  <p:sldSz cx="12192000" cy="6858000"/>
  <p:notesSz cx="6858000" cy="9144000"/>
  <p:defaultTex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5" d="100"/>
          <a:sy n="85" d="100"/>
        </p:scale>
        <p:origin x="186" y="11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4.xml"/><Relationship Id="rId39" Type="http://schemas.openxmlformats.org/officeDocument/2006/relationships/slide" Target="slides/slide17.xml"/><Relationship Id="rId21" Type="http://schemas.openxmlformats.org/officeDocument/2006/relationships/slideMaster" Target="slideMasters/slideMaster21.xml"/><Relationship Id="rId34" Type="http://schemas.openxmlformats.org/officeDocument/2006/relationships/slide" Target="slides/slide12.xml"/><Relationship Id="rId42" Type="http://schemas.openxmlformats.org/officeDocument/2006/relationships/slide" Target="slides/slide20.xml"/><Relationship Id="rId47" Type="http://schemas.openxmlformats.org/officeDocument/2006/relationships/slide" Target="slides/slide25.xml"/><Relationship Id="rId50" Type="http://schemas.openxmlformats.org/officeDocument/2006/relationships/slide" Target="slides/slide28.xml"/><Relationship Id="rId55" Type="http://schemas.openxmlformats.org/officeDocument/2006/relationships/slide" Target="slides/slide33.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3.xml"/><Relationship Id="rId33" Type="http://schemas.openxmlformats.org/officeDocument/2006/relationships/slide" Target="slides/slide11.xml"/><Relationship Id="rId38" Type="http://schemas.openxmlformats.org/officeDocument/2006/relationships/slide" Target="slides/slide16.xml"/><Relationship Id="rId46" Type="http://schemas.openxmlformats.org/officeDocument/2006/relationships/slide" Target="slides/slide24.xml"/><Relationship Id="rId59"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 Target="slides/slide7.xml"/><Relationship Id="rId41" Type="http://schemas.openxmlformats.org/officeDocument/2006/relationships/slide" Target="slides/slide19.xml"/><Relationship Id="rId54" Type="http://schemas.openxmlformats.org/officeDocument/2006/relationships/slide" Target="slides/slide3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2.xml"/><Relationship Id="rId32" Type="http://schemas.openxmlformats.org/officeDocument/2006/relationships/slide" Target="slides/slide10.xml"/><Relationship Id="rId37" Type="http://schemas.openxmlformats.org/officeDocument/2006/relationships/slide" Target="slides/slide15.xml"/><Relationship Id="rId40" Type="http://schemas.openxmlformats.org/officeDocument/2006/relationships/slide" Target="slides/slide18.xml"/><Relationship Id="rId45" Type="http://schemas.openxmlformats.org/officeDocument/2006/relationships/slide" Target="slides/slide23.xml"/><Relationship Id="rId53" Type="http://schemas.openxmlformats.org/officeDocument/2006/relationships/slide" Target="slides/slide31.xml"/><Relationship Id="rId58"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1.xml"/><Relationship Id="rId28" Type="http://schemas.openxmlformats.org/officeDocument/2006/relationships/slide" Target="slides/slide6.xml"/><Relationship Id="rId36" Type="http://schemas.openxmlformats.org/officeDocument/2006/relationships/slide" Target="slides/slide14.xml"/><Relationship Id="rId49" Type="http://schemas.openxmlformats.org/officeDocument/2006/relationships/slide" Target="slides/slide27.xml"/><Relationship Id="rId57" Type="http://schemas.openxmlformats.org/officeDocument/2006/relationships/presProps" Target="presProps.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 Target="slides/slide9.xml"/><Relationship Id="rId44" Type="http://schemas.openxmlformats.org/officeDocument/2006/relationships/slide" Target="slides/slide22.xml"/><Relationship Id="rId52" Type="http://schemas.openxmlformats.org/officeDocument/2006/relationships/slide" Target="slides/slide30.xml"/><Relationship Id="rId60"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 Target="slides/slide5.xml"/><Relationship Id="rId30" Type="http://schemas.openxmlformats.org/officeDocument/2006/relationships/slide" Target="slides/slide8.xml"/><Relationship Id="rId35" Type="http://schemas.openxmlformats.org/officeDocument/2006/relationships/slide" Target="slides/slide13.xml"/><Relationship Id="rId43" Type="http://schemas.openxmlformats.org/officeDocument/2006/relationships/slide" Target="slides/slide21.xml"/><Relationship Id="rId48" Type="http://schemas.openxmlformats.org/officeDocument/2006/relationships/slide" Target="slides/slide26.xml"/><Relationship Id="rId56" Type="http://schemas.openxmlformats.org/officeDocument/2006/relationships/notesMaster" Target="notesMasters/notesMaster1.xml"/><Relationship Id="rId8" Type="http://schemas.openxmlformats.org/officeDocument/2006/relationships/slideMaster" Target="slideMasters/slideMaster8.xml"/><Relationship Id="rId51" Type="http://schemas.openxmlformats.org/officeDocument/2006/relationships/slide" Target="slides/slide29.xml"/><Relationship Id="rId3"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머리글 개체 틀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ko-KR" altLang="en-US"/>
          </a:p>
        </p:txBody>
      </p:sp>
      <p:sp>
        <p:nvSpPr>
          <p:cNvPr id="3" name="날짜 개체 틀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175960A-D44A-42B2-8441-0A8663608A65}" type="datetimeFigureOut">
              <a:rPr lang="ko-KR" altLang="en-US" smtClean="0"/>
              <a:t>2016-09-20</a:t>
            </a:fld>
            <a:endParaRPr lang="ko-KR" altLang="en-US"/>
          </a:p>
        </p:txBody>
      </p:sp>
      <p:sp>
        <p:nvSpPr>
          <p:cNvPr id="4" name="슬라이드 이미지 개체 틀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ko-KR" altLang="en-US"/>
          </a:p>
        </p:txBody>
      </p:sp>
      <p:sp>
        <p:nvSpPr>
          <p:cNvPr id="5" name="슬라이드 노트 개체 틀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ko-KR" altLang="en-US"/>
              <a:t>마스터 텍스트 스타일 편집</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6" name="바닥글 개체 틀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ko-KR" altLang="en-US"/>
          </a:p>
        </p:txBody>
      </p:sp>
      <p:sp>
        <p:nvSpPr>
          <p:cNvPr id="7" name="슬라이드 번호 개체 틀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CCF41AF-D08C-404F-9486-E4523F25AFF5}" type="slidenum">
              <a:rPr lang="ko-KR" altLang="en-US" smtClean="0"/>
              <a:t>‹#›</a:t>
            </a:fld>
            <a:endParaRPr lang="ko-KR" altLang="en-US"/>
          </a:p>
        </p:txBody>
      </p:sp>
    </p:spTree>
    <p:extLst>
      <p:ext uri="{BB962C8B-B14F-4D97-AF65-F5344CB8AC3E}">
        <p14:creationId xmlns:p14="http://schemas.microsoft.com/office/powerpoint/2010/main" val="1363312592"/>
      </p:ext>
    </p:extLst>
  </p:cSld>
  <p:clrMap bg1="lt1" tx1="dk1" bg2="lt2" tx2="dk2" accent1="accent1" accent2="accent2" accent3="accent3" accent4="accent4" accent5="accent5" accent6="accent6" hlink="hlink" folHlink="folHlink"/>
  <p:notesStyle>
    <a:lvl1pPr marL="0" algn="l" defTabSz="914400" rtl="0" eaLnBrk="1" latinLnBrk="1" hangingPunct="1">
      <a:defRPr sz="1200" kern="1200">
        <a:solidFill>
          <a:schemeClr val="tx1"/>
        </a:solidFill>
        <a:latin typeface="+mn-lt"/>
        <a:ea typeface="+mn-ea"/>
        <a:cs typeface="+mn-cs"/>
      </a:defRPr>
    </a:lvl1pPr>
    <a:lvl2pPr marL="457200" algn="l" defTabSz="914400" rtl="0" eaLnBrk="1" latinLnBrk="1" hangingPunct="1">
      <a:defRPr sz="1200" kern="1200">
        <a:solidFill>
          <a:schemeClr val="tx1"/>
        </a:solidFill>
        <a:latin typeface="+mn-lt"/>
        <a:ea typeface="+mn-ea"/>
        <a:cs typeface="+mn-cs"/>
      </a:defRPr>
    </a:lvl2pPr>
    <a:lvl3pPr marL="914400" algn="l" defTabSz="914400" rtl="0" eaLnBrk="1" latinLnBrk="1" hangingPunct="1">
      <a:defRPr sz="1200" kern="1200">
        <a:solidFill>
          <a:schemeClr val="tx1"/>
        </a:solidFill>
        <a:latin typeface="+mn-lt"/>
        <a:ea typeface="+mn-ea"/>
        <a:cs typeface="+mn-cs"/>
      </a:defRPr>
    </a:lvl3pPr>
    <a:lvl4pPr marL="1371600" algn="l" defTabSz="914400" rtl="0" eaLnBrk="1" latinLnBrk="1" hangingPunct="1">
      <a:defRPr sz="1200" kern="1200">
        <a:solidFill>
          <a:schemeClr val="tx1"/>
        </a:solidFill>
        <a:latin typeface="+mn-lt"/>
        <a:ea typeface="+mn-ea"/>
        <a:cs typeface="+mn-cs"/>
      </a:defRPr>
    </a:lvl4pPr>
    <a:lvl5pPr marL="1828800" algn="l" defTabSz="914400" rtl="0" eaLnBrk="1" latinLnBrk="1" hangingPunct="1">
      <a:defRPr sz="1200" kern="1200">
        <a:solidFill>
          <a:schemeClr val="tx1"/>
        </a:solidFill>
        <a:latin typeface="+mn-lt"/>
        <a:ea typeface="+mn-ea"/>
        <a:cs typeface="+mn-cs"/>
      </a:defRPr>
    </a:lvl5pPr>
    <a:lvl6pPr marL="2286000" algn="l" defTabSz="914400" rtl="0" eaLnBrk="1" latinLnBrk="1" hangingPunct="1">
      <a:defRPr sz="1200" kern="1200">
        <a:solidFill>
          <a:schemeClr val="tx1"/>
        </a:solidFill>
        <a:latin typeface="+mn-lt"/>
        <a:ea typeface="+mn-ea"/>
        <a:cs typeface="+mn-cs"/>
      </a:defRPr>
    </a:lvl6pPr>
    <a:lvl7pPr marL="2743200" algn="l" defTabSz="914400" rtl="0" eaLnBrk="1" latinLnBrk="1" hangingPunct="1">
      <a:defRPr sz="1200" kern="1200">
        <a:solidFill>
          <a:schemeClr val="tx1"/>
        </a:solidFill>
        <a:latin typeface="+mn-lt"/>
        <a:ea typeface="+mn-ea"/>
        <a:cs typeface="+mn-cs"/>
      </a:defRPr>
    </a:lvl7pPr>
    <a:lvl8pPr marL="3200400" algn="l" defTabSz="914400" rtl="0" eaLnBrk="1" latinLnBrk="1" hangingPunct="1">
      <a:defRPr sz="1200" kern="1200">
        <a:solidFill>
          <a:schemeClr val="tx1"/>
        </a:solidFill>
        <a:latin typeface="+mn-lt"/>
        <a:ea typeface="+mn-ea"/>
        <a:cs typeface="+mn-cs"/>
      </a:defRPr>
    </a:lvl8pPr>
    <a:lvl9pPr marL="3657600" algn="l" defTabSz="914400" rtl="0" eaLnBrk="1" latinLnBrk="1"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r>
              <a:rPr lang="ko-KR" altLang="en-US" dirty="0"/>
              <a:t>안녕하세요 </a:t>
            </a:r>
            <a:r>
              <a:rPr lang="ko-KR" altLang="en-US" dirty="0" err="1"/>
              <a:t>테크니컬</a:t>
            </a:r>
            <a:r>
              <a:rPr lang="ko-KR" altLang="en-US" dirty="0"/>
              <a:t> </a:t>
            </a:r>
            <a:r>
              <a:rPr lang="ko-KR" altLang="en-US" dirty="0" err="1"/>
              <a:t>에반젤리스트</a:t>
            </a:r>
            <a:r>
              <a:rPr lang="ko-KR" altLang="en-US" dirty="0"/>
              <a:t> 김영욱입니다</a:t>
            </a:r>
            <a:r>
              <a:rPr lang="en-US" altLang="ko-KR" dirty="0"/>
              <a:t>. </a:t>
            </a:r>
          </a:p>
          <a:p>
            <a:r>
              <a:rPr lang="ko-KR" altLang="en-US" dirty="0"/>
              <a:t>평소에는 윈도우와 </a:t>
            </a:r>
            <a:r>
              <a:rPr lang="ko-KR" altLang="en-US" dirty="0" err="1"/>
              <a:t>전쟁사</a:t>
            </a:r>
            <a:r>
              <a:rPr lang="ko-KR" altLang="en-US" dirty="0"/>
              <a:t> 이야기를 많이 하고 있지만 최근에는 사물 인터넷 이야기를 많이 </a:t>
            </a:r>
            <a:r>
              <a:rPr lang="ko-KR" altLang="en-US" dirty="0" err="1"/>
              <a:t>하게됩니다</a:t>
            </a:r>
            <a:r>
              <a:rPr lang="en-US" altLang="ko-KR" dirty="0"/>
              <a:t>. </a:t>
            </a:r>
          </a:p>
        </p:txBody>
      </p:sp>
      <p:sp>
        <p:nvSpPr>
          <p:cNvPr id="4" name="슬라이드 번호 개체 틀 3"/>
          <p:cNvSpPr>
            <a:spLocks noGrp="1"/>
          </p:cNvSpPr>
          <p:nvPr>
            <p:ph type="sldNum" sz="quarter" idx="10"/>
          </p:nvPr>
        </p:nvSpPr>
        <p:spPr/>
        <p:txBody>
          <a:bodyPr/>
          <a:lstStyle/>
          <a:p>
            <a:pPr marL="0" marR="0" lvl="0" indent="0" algn="r" defTabSz="914400" rtl="0" eaLnBrk="1" fontAlgn="auto" latinLnBrk="1" hangingPunct="1">
              <a:lnSpc>
                <a:spcPct val="100000"/>
              </a:lnSpc>
              <a:spcBef>
                <a:spcPts val="0"/>
              </a:spcBef>
              <a:spcAft>
                <a:spcPts val="0"/>
              </a:spcAft>
              <a:buClrTx/>
              <a:buSzTx/>
              <a:buFontTx/>
              <a:buNone/>
              <a:tabLst/>
              <a:defRPr/>
            </a:pPr>
            <a:fld id="{9B03225A-39E8-4656-A1C7-4E4AD68BF39C}" type="slidenum">
              <a:rPr kumimoji="0" lang="ko-KR" altLang="en-US" sz="1200" b="0" i="0" u="none" strike="noStrike" kern="1200" cap="none" spc="0" normalizeH="0" baseline="0" noProof="0" smtClean="0">
                <a:ln>
                  <a:noFill/>
                </a:ln>
                <a:solidFill>
                  <a:prstClr val="black"/>
                </a:solidFill>
                <a:effectLst/>
                <a:uLnTx/>
                <a:uFillTx/>
                <a:latin typeface="맑은 고딕" panose="020F0502020204030204"/>
                <a:ea typeface="맑은 고딕" panose="020B0503020000020004" pitchFamily="50" charset="-127"/>
                <a:cs typeface="+mn-cs"/>
              </a:rPr>
              <a:pPr marL="0" marR="0" lvl="0" indent="0" algn="r" defTabSz="914400" rtl="0" eaLnBrk="1" fontAlgn="auto" latinLnBrk="1" hangingPunct="1">
                <a:lnSpc>
                  <a:spcPct val="100000"/>
                </a:lnSpc>
                <a:spcBef>
                  <a:spcPts val="0"/>
                </a:spcBef>
                <a:spcAft>
                  <a:spcPts val="0"/>
                </a:spcAft>
                <a:buClrTx/>
                <a:buSzTx/>
                <a:buFontTx/>
                <a:buNone/>
                <a:tabLst/>
                <a:defRPr/>
              </a:pPr>
              <a:t>1</a:t>
            </a:fld>
            <a:endParaRPr kumimoji="0" lang="ko-KR" altLang="en-US" sz="1200" b="0" i="0" u="none" strike="noStrike" kern="1200" cap="none" spc="0" normalizeH="0" baseline="0" noProof="0">
              <a:ln>
                <a:noFill/>
              </a:ln>
              <a:solidFill>
                <a:prstClr val="black"/>
              </a:solidFill>
              <a:effectLst/>
              <a:uLnTx/>
              <a:uFillTx/>
              <a:latin typeface="맑은 고딕" panose="020F0502020204030204"/>
              <a:ea typeface="맑은 고딕" panose="020B0503020000020004" pitchFamily="50" charset="-127"/>
              <a:cs typeface="+mn-cs"/>
            </a:endParaRPr>
          </a:p>
        </p:txBody>
      </p:sp>
    </p:spTree>
    <p:extLst>
      <p:ext uri="{BB962C8B-B14F-4D97-AF65-F5344CB8AC3E}">
        <p14:creationId xmlns:p14="http://schemas.microsoft.com/office/powerpoint/2010/main" val="19911576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0/2016 4:1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873782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0/2016 4:18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5831783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7484514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pPr marL="0" marR="0" lvl="0" indent="0" algn="r" defTabSz="914400" rtl="0" eaLnBrk="1" fontAlgn="auto" latinLnBrk="1" hangingPunct="1">
              <a:lnSpc>
                <a:spcPct val="100000"/>
              </a:lnSpc>
              <a:spcBef>
                <a:spcPts val="0"/>
              </a:spcBef>
              <a:spcAft>
                <a:spcPts val="0"/>
              </a:spcAft>
              <a:buClrTx/>
              <a:buSzTx/>
              <a:buFontTx/>
              <a:buNone/>
              <a:tabLst/>
              <a:defRPr/>
            </a:pPr>
            <a:fld id="{9B03225A-39E8-4656-A1C7-4E4AD68BF39C}" type="slidenum">
              <a:rPr kumimoji="0" lang="ko-KR" altLang="en-US" sz="1200" b="0" i="0" u="none" strike="noStrike" kern="1200" cap="none" spc="0" normalizeH="0" baseline="0" noProof="0" smtClean="0">
                <a:ln>
                  <a:noFill/>
                </a:ln>
                <a:solidFill>
                  <a:prstClr val="black"/>
                </a:solidFill>
                <a:effectLst/>
                <a:uLnTx/>
                <a:uFillTx/>
                <a:latin typeface="맑은 고딕" panose="020F0502020204030204"/>
                <a:ea typeface="맑은 고딕" panose="020B0503020000020004" pitchFamily="50" charset="-127"/>
                <a:cs typeface="+mn-cs"/>
              </a:rPr>
              <a:pPr marL="0" marR="0" lvl="0" indent="0" algn="r" defTabSz="914400" rtl="0" eaLnBrk="1" fontAlgn="auto" latinLnBrk="1" hangingPunct="1">
                <a:lnSpc>
                  <a:spcPct val="100000"/>
                </a:lnSpc>
                <a:spcBef>
                  <a:spcPts val="0"/>
                </a:spcBef>
                <a:spcAft>
                  <a:spcPts val="0"/>
                </a:spcAft>
                <a:buClrTx/>
                <a:buSzTx/>
                <a:buFontTx/>
                <a:buNone/>
                <a:tabLst/>
                <a:defRPr/>
              </a:pPr>
              <a:t>33</a:t>
            </a:fld>
            <a:endParaRPr kumimoji="0" lang="ko-KR" altLang="en-US" sz="1200" b="0" i="0" u="none" strike="noStrike" kern="1200" cap="none" spc="0" normalizeH="0" baseline="0" noProof="0">
              <a:ln>
                <a:noFill/>
              </a:ln>
              <a:solidFill>
                <a:prstClr val="black"/>
              </a:solidFill>
              <a:effectLst/>
              <a:uLnTx/>
              <a:uFillTx/>
              <a:latin typeface="맑은 고딕" panose="020F0502020204030204"/>
              <a:ea typeface="맑은 고딕" panose="020B0503020000020004" pitchFamily="50" charset="-127"/>
              <a:cs typeface="+mn-cs"/>
            </a:endParaRPr>
          </a:p>
        </p:txBody>
      </p:sp>
    </p:spTree>
    <p:extLst>
      <p:ext uri="{BB962C8B-B14F-4D97-AF65-F5344CB8AC3E}">
        <p14:creationId xmlns:p14="http://schemas.microsoft.com/office/powerpoint/2010/main" val="13535328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2766316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Build 2016</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0/2016 4:1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02236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99635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0348110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8339529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1867788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9490507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Azure Event Hubs is a highly scalable publish-subscribe service </a:t>
            </a:r>
            <a:r>
              <a:rPr lang="en-US" dirty="0"/>
              <a:t>optimized for reliably</a:t>
            </a:r>
            <a:r>
              <a:rPr lang="en-US" baseline="0" dirty="0"/>
              <a:t> ingesting h</a:t>
            </a:r>
            <a:r>
              <a:rPr lang="en-US" dirty="0"/>
              <a:t>igh volumes of </a:t>
            </a:r>
            <a:r>
              <a:rPr lang="en-US" b="0" baseline="0" dirty="0"/>
              <a:t>data</a:t>
            </a:r>
            <a:r>
              <a:rPr lang="en-US" dirty="0"/>
              <a:t>.</a:t>
            </a:r>
            <a:r>
              <a:rPr lang="en-US" baseline="0" dirty="0"/>
              <a:t> </a:t>
            </a:r>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Event</a:t>
            </a:r>
            <a:r>
              <a:rPr lang="en-US" sz="900" b="0" i="0" kern="1200" baseline="0" dirty="0">
                <a:solidFill>
                  <a:schemeClr val="tx1"/>
                </a:solidFill>
                <a:effectLst/>
                <a:latin typeface="Segoe UI Light" pitchFamily="34" charset="0"/>
                <a:ea typeface="+mn-ea"/>
                <a:cs typeface="+mn-cs"/>
              </a:rPr>
              <a:t> Hubs can process </a:t>
            </a:r>
            <a:r>
              <a:rPr lang="en-US" sz="900" b="0" i="0" kern="1200" dirty="0">
                <a:solidFill>
                  <a:schemeClr val="tx1"/>
                </a:solidFill>
                <a:effectLst/>
                <a:latin typeface="Segoe UI Light" pitchFamily="34" charset="0"/>
                <a:ea typeface="+mn-ea"/>
                <a:cs typeface="+mn-cs"/>
              </a:rPr>
              <a:t>millions of events per second and stream them into multiple applications. This lets you analyze the massive amounts of data produced by your connected devices and applications. Once Event Hubs has collected the data, transform and store it by using any real-time analytics provider or with batching/storage adapters.</a:t>
            </a:r>
            <a:endParaRPr lang="en-US" dirty="0"/>
          </a:p>
          <a:p>
            <a:endParaRPr lang="en-US" baseline="0" dirty="0"/>
          </a:p>
          <a:p>
            <a:r>
              <a:rPr lang="en-US" b="1" baseline="0" dirty="0"/>
              <a:t>T: Cortana Intelligence take all of this data and stores it using Big Data storage technologies. </a:t>
            </a:r>
          </a:p>
          <a:p>
            <a:endParaRPr lang="en-US" baseline="0" dirty="0"/>
          </a:p>
          <a:p>
            <a:endParaRPr lang="en-US" baseline="0" dirty="0"/>
          </a:p>
          <a:p>
            <a:endParaRPr lang="en-US" baseline="0" dirty="0"/>
          </a:p>
          <a:p>
            <a:r>
              <a:rPr lang="en-US" baseline="0" dirty="0"/>
              <a:t>---</a:t>
            </a:r>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An application can benefit from Event hub when you have a large amount of data coming in, and at the same time, you need to process that large amount of data without risking any loss.</a:t>
            </a:r>
          </a:p>
          <a:p>
            <a:endParaRPr lang="en-US"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dirty="0"/>
              <a:t>For example, you have a voice dictation application, and you collect the audio,</a:t>
            </a:r>
            <a:r>
              <a:rPr lang="en-US" baseline="0" dirty="0"/>
              <a:t> and use a service bus to send it to windows, but have a lot of users. You would be better off using event hub and processing that data through stream analytics to sort the data, and from there route into whatever processing pipe you have set up. Because you need your user input and the feedback to be as quick as possible, while running analytics on the data, event hub will allow you to scale at the pace needed.</a:t>
            </a:r>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0/2016 4:18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3262866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g"/><Relationship Id="rId1" Type="http://schemas.openxmlformats.org/officeDocument/2006/relationships/slideMaster" Target="../slideMasters/slideMaster6.xml"/><Relationship Id="rId4" Type="http://schemas.openxmlformats.org/officeDocument/2006/relationships/image" Target="../media/image29.png"/></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0.png"/><Relationship Id="rId3" Type="http://schemas.openxmlformats.org/officeDocument/2006/relationships/image" Target="../media/image32.png"/><Relationship Id="rId7" Type="http://schemas.openxmlformats.org/officeDocument/2006/relationships/image" Target="../media/image35.png"/><Relationship Id="rId12" Type="http://schemas.openxmlformats.org/officeDocument/2006/relationships/image" Target="../media/image39.png"/><Relationship Id="rId2" Type="http://schemas.openxmlformats.org/officeDocument/2006/relationships/image" Target="../media/image31.png"/><Relationship Id="rId1" Type="http://schemas.openxmlformats.org/officeDocument/2006/relationships/slideMaster" Target="../slideMasters/slideMaster7.xml"/><Relationship Id="rId6" Type="http://schemas.openxmlformats.org/officeDocument/2006/relationships/image" Target="../media/image34.png"/><Relationship Id="rId11" Type="http://schemas.openxmlformats.org/officeDocument/2006/relationships/hyperlink" Target="http://nodejs.org/logos/nodejs-light.eps" TargetMode="External"/><Relationship Id="rId5" Type="http://schemas.microsoft.com/office/2007/relationships/hdphoto" Target="../media/hdphoto1.wdp"/><Relationship Id="rId10" Type="http://schemas.openxmlformats.org/officeDocument/2006/relationships/image" Target="../media/image38.png"/><Relationship Id="rId4" Type="http://schemas.openxmlformats.org/officeDocument/2006/relationships/image" Target="../media/image33.png"/><Relationship Id="rId9" Type="http://schemas.openxmlformats.org/officeDocument/2006/relationships/image" Target="../media/image37.png"/><Relationship Id="rId14" Type="http://schemas.openxmlformats.org/officeDocument/2006/relationships/image" Target="../media/image41.png"/></Relationships>
</file>

<file path=ppt/slideLayouts/_rels/slideLayout131.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4.png"/><Relationship Id="rId3" Type="http://schemas.openxmlformats.org/officeDocument/2006/relationships/image" Target="../media/image32.png"/><Relationship Id="rId7" Type="http://schemas.openxmlformats.org/officeDocument/2006/relationships/image" Target="../media/image35.png"/><Relationship Id="rId12" Type="http://schemas.openxmlformats.org/officeDocument/2006/relationships/image" Target="../media/image39.png"/><Relationship Id="rId2" Type="http://schemas.openxmlformats.org/officeDocument/2006/relationships/image" Target="../media/image42.png"/><Relationship Id="rId1" Type="http://schemas.openxmlformats.org/officeDocument/2006/relationships/slideMaster" Target="../slideMasters/slideMaster7.xml"/><Relationship Id="rId6" Type="http://schemas.openxmlformats.org/officeDocument/2006/relationships/image" Target="../media/image34.png"/><Relationship Id="rId11" Type="http://schemas.openxmlformats.org/officeDocument/2006/relationships/hyperlink" Target="http://nodejs.org/logos/nodejs-light.eps" TargetMode="External"/><Relationship Id="rId5" Type="http://schemas.microsoft.com/office/2007/relationships/hdphoto" Target="../media/hdphoto1.wdp"/><Relationship Id="rId10" Type="http://schemas.openxmlformats.org/officeDocument/2006/relationships/image" Target="../media/image38.png"/><Relationship Id="rId4" Type="http://schemas.openxmlformats.org/officeDocument/2006/relationships/image" Target="../media/image33.png"/><Relationship Id="rId9" Type="http://schemas.openxmlformats.org/officeDocument/2006/relationships/image" Target="../media/image43.png"/><Relationship Id="rId14" Type="http://schemas.openxmlformats.org/officeDocument/2006/relationships/image" Target="../media/image41.png"/></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35.pn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5.png"/><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jpg"/><Relationship Id="rId1" Type="http://schemas.openxmlformats.org/officeDocument/2006/relationships/slideMaster" Target="../slideMasters/slideMaster8.xml"/><Relationship Id="rId4" Type="http://schemas.openxmlformats.org/officeDocument/2006/relationships/image" Target="../media/image49.png"/></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2.jpg"/><Relationship Id="rId1" Type="http://schemas.openxmlformats.org/officeDocument/2006/relationships/slideMaster" Target="../slideMasters/slideMaster8.xml"/><Relationship Id="rId4" Type="http://schemas.openxmlformats.org/officeDocument/2006/relationships/image" Target="../media/image49.png"/></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53.jpg"/><Relationship Id="rId1" Type="http://schemas.openxmlformats.org/officeDocument/2006/relationships/slideMaster" Target="../slideMasters/slideMaster8.xml"/><Relationship Id="rId4" Type="http://schemas.openxmlformats.org/officeDocument/2006/relationships/image" Target="../media/image54.png"/></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55.jpg"/><Relationship Id="rId1" Type="http://schemas.openxmlformats.org/officeDocument/2006/relationships/slideMaster" Target="../slideMasters/slideMaster8.xml"/><Relationship Id="rId4" Type="http://schemas.openxmlformats.org/officeDocument/2006/relationships/image" Target="../media/image49.png"/></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56.jpg"/><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57.jpg"/><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8.jpg"/><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2.jpg"/><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59.jpeg"/><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55.jpg"/><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56.jpg"/><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57.jpg"/><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0.png"/><Relationship Id="rId3" Type="http://schemas.openxmlformats.org/officeDocument/2006/relationships/image" Target="../media/image32.png"/><Relationship Id="rId7" Type="http://schemas.openxmlformats.org/officeDocument/2006/relationships/image" Target="../media/image35.png"/><Relationship Id="rId12" Type="http://schemas.openxmlformats.org/officeDocument/2006/relationships/image" Target="../media/image39.png"/><Relationship Id="rId2" Type="http://schemas.openxmlformats.org/officeDocument/2006/relationships/image" Target="../media/image31.png"/><Relationship Id="rId1" Type="http://schemas.openxmlformats.org/officeDocument/2006/relationships/slideMaster" Target="../slideMasters/slideMaster8.xml"/><Relationship Id="rId6" Type="http://schemas.openxmlformats.org/officeDocument/2006/relationships/image" Target="../media/image34.png"/><Relationship Id="rId11" Type="http://schemas.openxmlformats.org/officeDocument/2006/relationships/hyperlink" Target="http://nodejs.org/logos/nodejs-light.eps" TargetMode="External"/><Relationship Id="rId5" Type="http://schemas.microsoft.com/office/2007/relationships/hdphoto" Target="../media/hdphoto1.wdp"/><Relationship Id="rId10" Type="http://schemas.openxmlformats.org/officeDocument/2006/relationships/image" Target="../media/image38.png"/><Relationship Id="rId4" Type="http://schemas.openxmlformats.org/officeDocument/2006/relationships/image" Target="../media/image33.png"/><Relationship Id="rId9" Type="http://schemas.openxmlformats.org/officeDocument/2006/relationships/image" Target="../media/image37.png"/><Relationship Id="rId14" Type="http://schemas.openxmlformats.org/officeDocument/2006/relationships/image" Target="../media/image41.png"/></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35.png"/><Relationship Id="rId1" Type="http://schemas.openxmlformats.org/officeDocument/2006/relationships/slideMaster" Target="../slideMasters/slideMaster8.xml"/><Relationship Id="rId4" Type="http://schemas.microsoft.com/office/2007/relationships/hdphoto" Target="../media/hdphoto2.wdp"/></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63.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61.emf"/><Relationship Id="rId5" Type="http://schemas.openxmlformats.org/officeDocument/2006/relationships/oleObject" Target="../embeddings/oleObject3.bin"/><Relationship Id="rId4" Type="http://schemas.openxmlformats.org/officeDocument/2006/relationships/image" Target="../media/image62.png"/></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63.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61.emf"/><Relationship Id="rId5" Type="http://schemas.openxmlformats.org/officeDocument/2006/relationships/oleObject" Target="../embeddings/oleObject4.bin"/><Relationship Id="rId4" Type="http://schemas.openxmlformats.org/officeDocument/2006/relationships/image" Target="../media/image64.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63.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61.emf"/><Relationship Id="rId5" Type="http://schemas.openxmlformats.org/officeDocument/2006/relationships/oleObject" Target="../embeddings/oleObject5.bin"/><Relationship Id="rId4" Type="http://schemas.openxmlformats.org/officeDocument/2006/relationships/image" Target="../media/image65.png"/></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63.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61.emf"/><Relationship Id="rId5" Type="http://schemas.openxmlformats.org/officeDocument/2006/relationships/oleObject" Target="../embeddings/oleObject6.bin"/><Relationship Id="rId4" Type="http://schemas.openxmlformats.org/officeDocument/2006/relationships/image" Target="../media/image62.png"/></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63.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61.emf"/><Relationship Id="rId5" Type="http://schemas.openxmlformats.org/officeDocument/2006/relationships/oleObject" Target="../embeddings/oleObject7.bin"/><Relationship Id="rId4" Type="http://schemas.openxmlformats.org/officeDocument/2006/relationships/image" Target="../media/image66.png"/></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63.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61.emf"/><Relationship Id="rId5" Type="http://schemas.openxmlformats.org/officeDocument/2006/relationships/oleObject" Target="../embeddings/oleObject8.bin"/><Relationship Id="rId4" Type="http://schemas.openxmlformats.org/officeDocument/2006/relationships/image" Target="../media/image67.png"/></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63.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61.emf"/><Relationship Id="rId5" Type="http://schemas.openxmlformats.org/officeDocument/2006/relationships/oleObject" Target="../embeddings/oleObject9.bin"/><Relationship Id="rId4" Type="http://schemas.openxmlformats.org/officeDocument/2006/relationships/image" Target="../media/image68.png"/></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63.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61.emf"/><Relationship Id="rId5" Type="http://schemas.openxmlformats.org/officeDocument/2006/relationships/oleObject" Target="../embeddings/oleObject10.bin"/><Relationship Id="rId4" Type="http://schemas.openxmlformats.org/officeDocument/2006/relationships/image" Target="../media/image69.png"/></Relationships>
</file>

<file path=ppt/slideLayouts/_rels/slideLayout216.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oleObject" Target="../embeddings/oleObject12.bin"/><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61.emf"/><Relationship Id="rId5" Type="http://schemas.openxmlformats.org/officeDocument/2006/relationships/oleObject" Target="../embeddings/oleObject11.bin"/><Relationship Id="rId4"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jpeg"/><Relationship Id="rId1" Type="http://schemas.openxmlformats.org/officeDocument/2006/relationships/slideMaster" Target="../slideMasters/slideMaster10.xml"/><Relationship Id="rId5" Type="http://schemas.openxmlformats.org/officeDocument/2006/relationships/hyperlink" Target="http://msdevcon.ru/" TargetMode="External"/><Relationship Id="rId4" Type="http://schemas.openxmlformats.org/officeDocument/2006/relationships/image" Target="../media/image72.png"/></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76.jpg"/><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77.emf"/><Relationship Id="rId2" Type="http://schemas.openxmlformats.org/officeDocument/2006/relationships/image" Target="../media/image35.png"/><Relationship Id="rId1" Type="http://schemas.openxmlformats.org/officeDocument/2006/relationships/slideMaster" Target="../slideMasters/slideMaster11.xml"/><Relationship Id="rId4" Type="http://schemas.openxmlformats.org/officeDocument/2006/relationships/image" Target="../media/image78.emf"/></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79.emf"/><Relationship Id="rId2" Type="http://schemas.openxmlformats.org/officeDocument/2006/relationships/image" Target="../media/image78.emf"/><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80.emf"/><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80.emf"/><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77.emf"/><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jpg"/><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jpg"/><Relationship Id="rId1"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80.emf"/><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81.jpg"/><Relationship Id="rId1" Type="http://schemas.openxmlformats.org/officeDocument/2006/relationships/slideMaster" Target="../slideMasters/slideMaster12.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82.emf"/><Relationship Id="rId1" Type="http://schemas.openxmlformats.org/officeDocument/2006/relationships/slideMaster" Target="../slideMasters/slideMaster13.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82.emf"/><Relationship Id="rId1" Type="http://schemas.openxmlformats.org/officeDocument/2006/relationships/slideMaster" Target="../slideMasters/slideMaster13.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83.emf"/><Relationship Id="rId1" Type="http://schemas.openxmlformats.org/officeDocument/2006/relationships/slideMaster" Target="../slideMasters/slideMaster13.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2.emf"/><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83.emf"/><Relationship Id="rId2" Type="http://schemas.openxmlformats.org/officeDocument/2006/relationships/image" Target="../media/image82.emf"/><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82.emf"/><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14.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83.emf"/><Relationship Id="rId1" Type="http://schemas.openxmlformats.org/officeDocument/2006/relationships/slideMaster" Target="../slideMasters/slideMaster14.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1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2.emf"/><Relationship Id="rId1" Type="http://schemas.openxmlformats.org/officeDocument/2006/relationships/slideMaster" Target="../slideMasters/slideMaster15.xml"/></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83.emf"/><Relationship Id="rId2" Type="http://schemas.openxmlformats.org/officeDocument/2006/relationships/image" Target="../media/image82.emf"/><Relationship Id="rId1" Type="http://schemas.openxmlformats.org/officeDocument/2006/relationships/slideMaster" Target="../slideMasters/slideMaster15.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82.emf"/><Relationship Id="rId1" Type="http://schemas.openxmlformats.org/officeDocument/2006/relationships/slideMaster" Target="../slideMasters/slideMaster15.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83.emf"/><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6.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jpeg"/><Relationship Id="rId1" Type="http://schemas.openxmlformats.org/officeDocument/2006/relationships/slideMaster" Target="../slideMasters/slideMaster19.xml"/><Relationship Id="rId5" Type="http://schemas.openxmlformats.org/officeDocument/2006/relationships/image" Target="../media/image91.png"/><Relationship Id="rId4" Type="http://schemas.openxmlformats.org/officeDocument/2006/relationships/image" Target="../media/image90.png"/></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9.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19.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82.emf"/><Relationship Id="rId1" Type="http://schemas.openxmlformats.org/officeDocument/2006/relationships/slideMaster" Target="../slideMasters/slideMaster19.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2.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20.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4.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20.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6.xml.rels><?xml version="1.0" encoding="UTF-8" standalone="yes"?>
<Relationships xmlns="http://schemas.openxmlformats.org/package/2006/relationships"><Relationship Id="rId3" Type="http://schemas.openxmlformats.org/officeDocument/2006/relationships/image" Target="../media/image96.jpg"/><Relationship Id="rId2" Type="http://schemas.openxmlformats.org/officeDocument/2006/relationships/image" Target="../media/image95.jpg"/><Relationship Id="rId1" Type="http://schemas.openxmlformats.org/officeDocument/2006/relationships/slideMaster" Target="../slideMasters/slideMaster21.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81.jpg"/><Relationship Id="rId1" Type="http://schemas.openxmlformats.org/officeDocument/2006/relationships/slideMaster" Target="../slideMasters/slideMaster21.xml"/></Relationships>
</file>

<file path=ppt/slideLayouts/_rels/slideLayout458.xml.rels><?xml version="1.0" encoding="UTF-8" standalone="yes"?>
<Relationships xmlns="http://schemas.openxmlformats.org/package/2006/relationships"><Relationship Id="rId3" Type="http://schemas.openxmlformats.org/officeDocument/2006/relationships/image" Target="../media/image97.emf"/><Relationship Id="rId2" Type="http://schemas.openxmlformats.org/officeDocument/2006/relationships/image" Target="../media/image98.png"/><Relationship Id="rId1" Type="http://schemas.openxmlformats.org/officeDocument/2006/relationships/slideMaster" Target="../slideMasters/slideMaster22.xml"/><Relationship Id="rId4" Type="http://schemas.openxmlformats.org/officeDocument/2006/relationships/image" Target="../media/image99.emf"/></Relationships>
</file>

<file path=ppt/slideLayouts/_rels/slideLayout459.xml.rels><?xml version="1.0" encoding="UTF-8" standalone="yes"?>
<Relationships xmlns="http://schemas.openxmlformats.org/package/2006/relationships"><Relationship Id="rId3" Type="http://schemas.openxmlformats.org/officeDocument/2006/relationships/image" Target="../media/image99.emf"/><Relationship Id="rId2" Type="http://schemas.openxmlformats.org/officeDocument/2006/relationships/image" Target="../media/image97.emf"/><Relationship Id="rId1" Type="http://schemas.openxmlformats.org/officeDocument/2006/relationships/slideMaster" Target="../slideMasters/slideMaster2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3" Type="http://schemas.openxmlformats.org/officeDocument/2006/relationships/image" Target="../media/image99.emf"/><Relationship Id="rId2" Type="http://schemas.openxmlformats.org/officeDocument/2006/relationships/image" Target="../media/image97.emf"/><Relationship Id="rId1" Type="http://schemas.openxmlformats.org/officeDocument/2006/relationships/slideMaster" Target="../slideMasters/slideMaster22.xml"/></Relationships>
</file>

<file path=ppt/slideLayouts/_rels/slideLayout461.xml.rels><?xml version="1.0" encoding="UTF-8" standalone="yes"?>
<Relationships xmlns="http://schemas.openxmlformats.org/package/2006/relationships"><Relationship Id="rId3" Type="http://schemas.openxmlformats.org/officeDocument/2006/relationships/image" Target="../media/image99.emf"/><Relationship Id="rId2" Type="http://schemas.openxmlformats.org/officeDocument/2006/relationships/image" Target="../media/image97.emf"/><Relationship Id="rId1" Type="http://schemas.openxmlformats.org/officeDocument/2006/relationships/slideMaster" Target="../slideMasters/slideMaster22.xml"/></Relationships>
</file>

<file path=ppt/slideLayouts/_rels/slideLayout462.xml.rels><?xml version="1.0" encoding="UTF-8" standalone="yes"?>
<Relationships xmlns="http://schemas.openxmlformats.org/package/2006/relationships"><Relationship Id="rId3" Type="http://schemas.openxmlformats.org/officeDocument/2006/relationships/image" Target="../media/image99.emf"/><Relationship Id="rId2" Type="http://schemas.openxmlformats.org/officeDocument/2006/relationships/image" Target="../media/image97.emf"/><Relationship Id="rId1" Type="http://schemas.openxmlformats.org/officeDocument/2006/relationships/slideMaster" Target="../slideMasters/slideMaster22.xml"/></Relationships>
</file>

<file path=ppt/slideLayouts/_rels/slideLayout463.xml.rels><?xml version="1.0" encoding="UTF-8" standalone="yes"?>
<Relationships xmlns="http://schemas.openxmlformats.org/package/2006/relationships"><Relationship Id="rId3" Type="http://schemas.openxmlformats.org/officeDocument/2006/relationships/image" Target="../media/image99.emf"/><Relationship Id="rId2" Type="http://schemas.openxmlformats.org/officeDocument/2006/relationships/image" Target="../media/image97.emf"/><Relationship Id="rId1" Type="http://schemas.openxmlformats.org/officeDocument/2006/relationships/slideMaster" Target="../slideMasters/slideMaster22.xml"/></Relationships>
</file>

<file path=ppt/slideLayouts/_rels/slideLayout464.xml.rels><?xml version="1.0" encoding="UTF-8" standalone="yes"?>
<Relationships xmlns="http://schemas.openxmlformats.org/package/2006/relationships"><Relationship Id="rId3" Type="http://schemas.openxmlformats.org/officeDocument/2006/relationships/image" Target="../media/image99.emf"/><Relationship Id="rId2" Type="http://schemas.openxmlformats.org/officeDocument/2006/relationships/image" Target="../media/image97.emf"/><Relationship Id="rId1" Type="http://schemas.openxmlformats.org/officeDocument/2006/relationships/slideMaster" Target="../slideMasters/slideMaster22.xml"/></Relationships>
</file>

<file path=ppt/slideLayouts/_rels/slideLayout465.xml.rels><?xml version="1.0" encoding="UTF-8" standalone="yes"?>
<Relationships xmlns="http://schemas.openxmlformats.org/package/2006/relationships"><Relationship Id="rId3" Type="http://schemas.openxmlformats.org/officeDocument/2006/relationships/image" Target="../media/image99.emf"/><Relationship Id="rId2" Type="http://schemas.openxmlformats.org/officeDocument/2006/relationships/image" Target="../media/image97.emf"/><Relationship Id="rId1" Type="http://schemas.openxmlformats.org/officeDocument/2006/relationships/slideMaster" Target="../slideMasters/slideMaster22.xml"/></Relationships>
</file>

<file path=ppt/slideLayouts/_rels/slideLayout466.xml.rels><?xml version="1.0" encoding="UTF-8" standalone="yes"?>
<Relationships xmlns="http://schemas.openxmlformats.org/package/2006/relationships"><Relationship Id="rId3" Type="http://schemas.openxmlformats.org/officeDocument/2006/relationships/image" Target="../media/image99.emf"/><Relationship Id="rId2" Type="http://schemas.openxmlformats.org/officeDocument/2006/relationships/image" Target="../media/image97.emf"/><Relationship Id="rId1" Type="http://schemas.openxmlformats.org/officeDocument/2006/relationships/slideMaster" Target="../slideMasters/slideMaster22.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51639" y="6061766"/>
            <a:ext cx="1517768" cy="326167"/>
          </a:xfrm>
          <a:prstGeom prst="rect">
            <a:avLst/>
          </a:prstGeom>
        </p:spPr>
      </p:pic>
    </p:spTree>
    <p:extLst>
      <p:ext uri="{BB962C8B-B14F-4D97-AF65-F5344CB8AC3E}">
        <p14:creationId xmlns:p14="http://schemas.microsoft.com/office/powerpoint/2010/main" val="14115692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Quote Layout_Accent Color 1">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6625422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Frankfurt Thank You!">
    <p:bg>
      <p:bgPr>
        <a:solidFill>
          <a:srgbClr val="00BCF2"/>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sp>
        <p:nvSpPr>
          <p:cNvPr id="3" name="TextBox 2"/>
          <p:cNvSpPr txBox="1"/>
          <p:nvPr userDrawn="1"/>
        </p:nvSpPr>
        <p:spPr>
          <a:xfrm>
            <a:off x="1076076" y="2852420"/>
            <a:ext cx="4213151" cy="1831739"/>
          </a:xfrm>
          <a:prstGeom prst="rect">
            <a:avLst/>
          </a:prstGeom>
          <a:noFill/>
        </p:spPr>
        <p:txBody>
          <a:bodyPr wrap="square" lIns="179285" tIns="143428" rIns="179285" bIns="143428" rtlCol="0">
            <a:spAutoFit/>
          </a:bodyPr>
          <a:lstStyle/>
          <a:p>
            <a:pPr marL="0" marR="0" lvl="0" indent="0" algn="l" defTabSz="914133" rtl="0" eaLnBrk="1" fontAlgn="auto" latinLnBrk="0" hangingPunct="1">
              <a:lnSpc>
                <a:spcPct val="90000"/>
              </a:lnSpc>
              <a:spcBef>
                <a:spcPts val="0"/>
              </a:spcBef>
              <a:spcAft>
                <a:spcPts val="588"/>
              </a:spcAft>
              <a:buClrTx/>
              <a:buSzTx/>
              <a:buFontTx/>
              <a:buNone/>
              <a:tabLst/>
              <a:defRPr/>
            </a:pPr>
            <a:r>
              <a:rPr kumimoji="0" lang="en-US" sz="5294"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914133" rtl="0" eaLnBrk="1" fontAlgn="auto" latinLnBrk="0" hangingPunct="1">
              <a:lnSpc>
                <a:spcPct val="90000"/>
              </a:lnSpc>
              <a:spcBef>
                <a:spcPts val="0"/>
              </a:spcBef>
              <a:spcAft>
                <a:spcPts val="588"/>
              </a:spcAft>
              <a:buClrTx/>
              <a:buSzTx/>
              <a:buFontTx/>
              <a:buNone/>
              <a:tabLst/>
              <a:defRPr/>
            </a:pPr>
            <a:r>
              <a:rPr kumimoji="0" lang="en-US" sz="5294"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Frankfurt!</a:t>
            </a:r>
          </a:p>
        </p:txBody>
      </p:sp>
      <p:pic>
        <p:nvPicPr>
          <p:cNvPr id="6" name="Picture 5"/>
          <p:cNvPicPr>
            <a:picLocks noChangeAspect="1"/>
          </p:cNvPicPr>
          <p:nvPr userDrawn="1"/>
        </p:nvPicPr>
        <p:blipFill>
          <a:blip r:embed="rId3"/>
          <a:stretch>
            <a:fillRect/>
          </a:stretch>
        </p:blipFill>
        <p:spPr>
          <a:xfrm>
            <a:off x="6006358" y="739373"/>
            <a:ext cx="5424011" cy="5320858"/>
          </a:xfrm>
          <a:prstGeom prst="rect">
            <a:avLst/>
          </a:prstGeom>
        </p:spPr>
      </p:pic>
    </p:spTree>
    <p:extLst>
      <p:ext uri="{BB962C8B-B14F-4D97-AF65-F5344CB8AC3E}">
        <p14:creationId xmlns:p14="http://schemas.microsoft.com/office/powerpoint/2010/main" val="35672253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udapest  Thank You!">
    <p:bg>
      <p:bgPr>
        <a:solidFill>
          <a:srgbClr val="00BCF2"/>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sp>
        <p:nvSpPr>
          <p:cNvPr id="3" name="TextBox 2"/>
          <p:cNvSpPr txBox="1"/>
          <p:nvPr userDrawn="1"/>
        </p:nvSpPr>
        <p:spPr>
          <a:xfrm>
            <a:off x="1076076" y="2852420"/>
            <a:ext cx="4213151" cy="1831739"/>
          </a:xfrm>
          <a:prstGeom prst="rect">
            <a:avLst/>
          </a:prstGeom>
          <a:noFill/>
        </p:spPr>
        <p:txBody>
          <a:bodyPr wrap="square" lIns="179285" tIns="143428" rIns="179285" bIns="143428" rtlCol="0">
            <a:spAutoFit/>
          </a:bodyPr>
          <a:lstStyle/>
          <a:p>
            <a:pPr marL="0" marR="0" lvl="0" indent="0" algn="l" defTabSz="914133" rtl="0" eaLnBrk="1" fontAlgn="auto" latinLnBrk="0" hangingPunct="1">
              <a:lnSpc>
                <a:spcPct val="90000"/>
              </a:lnSpc>
              <a:spcBef>
                <a:spcPts val="0"/>
              </a:spcBef>
              <a:spcAft>
                <a:spcPts val="588"/>
              </a:spcAft>
              <a:buClrTx/>
              <a:buSzTx/>
              <a:buFontTx/>
              <a:buNone/>
              <a:tabLst/>
              <a:defRPr/>
            </a:pPr>
            <a:r>
              <a:rPr kumimoji="0" lang="en-US" sz="5294"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914133" rtl="0" eaLnBrk="1" fontAlgn="auto" latinLnBrk="0" hangingPunct="1">
              <a:lnSpc>
                <a:spcPct val="90000"/>
              </a:lnSpc>
              <a:spcBef>
                <a:spcPts val="0"/>
              </a:spcBef>
              <a:spcAft>
                <a:spcPts val="588"/>
              </a:spcAft>
              <a:buClrTx/>
              <a:buSzTx/>
              <a:buFontTx/>
              <a:buNone/>
              <a:tabLst/>
              <a:defRPr/>
            </a:pPr>
            <a:r>
              <a:rPr kumimoji="0" lang="en-US" sz="5294"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Budapest!</a:t>
            </a:r>
          </a:p>
        </p:txBody>
      </p:sp>
      <p:pic>
        <p:nvPicPr>
          <p:cNvPr id="6" name="Picture 5"/>
          <p:cNvPicPr>
            <a:picLocks noChangeAspect="1"/>
          </p:cNvPicPr>
          <p:nvPr userDrawn="1"/>
        </p:nvPicPr>
        <p:blipFill>
          <a:blip r:embed="rId3"/>
          <a:stretch>
            <a:fillRect/>
          </a:stretch>
        </p:blipFill>
        <p:spPr>
          <a:xfrm>
            <a:off x="6136131" y="1725570"/>
            <a:ext cx="5388931" cy="4388447"/>
          </a:xfrm>
          <a:prstGeom prst="rect">
            <a:avLst/>
          </a:prstGeom>
        </p:spPr>
      </p:pic>
    </p:spTree>
    <p:extLst>
      <p:ext uri="{BB962C8B-B14F-4D97-AF65-F5344CB8AC3E}">
        <p14:creationId xmlns:p14="http://schemas.microsoft.com/office/powerpoint/2010/main" val="5906671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071120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351027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502807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62687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551963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51166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170671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20086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779594224"/>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391692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7644"/>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66137115"/>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4212100494"/>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6653679"/>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Slide 7">
    <p:bg>
      <p:bgPr>
        <a:solidFill>
          <a:schemeClr val="tx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46613" r="20858" b="9535"/>
          <a:stretch/>
        </p:blipFill>
        <p:spPr>
          <a:xfrm>
            <a:off x="2" y="-1"/>
            <a:ext cx="12191999" cy="6858001"/>
          </a:xfrm>
          <a:prstGeom prst="rect">
            <a:avLst/>
          </a:prstGeom>
        </p:spPr>
      </p:pic>
      <p:sp>
        <p:nvSpPr>
          <p:cNvPr id="8" name="Rectangle 7"/>
          <p:cNvSpPr/>
          <p:nvPr userDrawn="1"/>
        </p:nvSpPr>
        <p:spPr bwMode="gray">
          <a:xfrm>
            <a:off x="269239" y="2084173"/>
            <a:ext cx="7171383" cy="2689640"/>
          </a:xfrm>
          <a:prstGeom prst="rect">
            <a:avLst/>
          </a:prstGeom>
          <a:solidFill>
            <a:schemeClr val="accent4">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itle 9"/>
          <p:cNvSpPr>
            <a:spLocks noGrp="1"/>
          </p:cNvSpPr>
          <p:nvPr>
            <p:ph type="title"/>
          </p:nvPr>
        </p:nvSpPr>
        <p:spPr>
          <a:xfrm>
            <a:off x="267682" y="2082469"/>
            <a:ext cx="7172940" cy="1884456"/>
          </a:xfrm>
        </p:spPr>
        <p:txBody>
          <a:bodyPr/>
          <a:lstStyle/>
          <a:p>
            <a:r>
              <a:rPr lang="en-US" dirty="0"/>
              <a:t>Hardware presentation title goes here.</a:t>
            </a: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pic>
        <p:nvPicPr>
          <p:cNvPr id="12" name="Picture 11" descr="summit-sign_lockup_RGB_event_name-02.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9302" y="4764474"/>
            <a:ext cx="1792850" cy="1793104"/>
          </a:xfrm>
          <a:prstGeom prst="rect">
            <a:avLst/>
          </a:prstGeom>
        </p:spPr>
      </p:pic>
    </p:spTree>
    <p:extLst>
      <p:ext uri="{BB962C8B-B14F-4D97-AF65-F5344CB8AC3E}">
        <p14:creationId xmlns:p14="http://schemas.microsoft.com/office/powerpoint/2010/main" val="40823636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85118784"/>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51930735"/>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86696027"/>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rgbClr val="6DC2E9"/>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96965192"/>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rgbClr val="6DC2E9"/>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7936391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9130733"/>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6556"/>
          </a:xfrm>
        </p:spPr>
        <p:txBody>
          <a:bodyPr>
            <a:spAutoFit/>
          </a:bodyPr>
          <a:lstStyle>
            <a:lvl1pPr>
              <a:defRPr>
                <a:solidFill>
                  <a:srgbClr val="6DC2E9"/>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6652601"/>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1366800"/>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8308717"/>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3931610"/>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484728"/>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6536335"/>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726" indent="0">
              <a:buNone/>
              <a:defRPr>
                <a:gradFill>
                  <a:gsLst>
                    <a:gs pos="1250">
                      <a:srgbClr val="000000"/>
                    </a:gs>
                    <a:gs pos="100000">
                      <a:srgbClr val="000000"/>
                    </a:gs>
                  </a:gsLst>
                  <a:lin ang="5400000" scaled="0"/>
                </a:gradFill>
                <a:latin typeface="Segoe UI" pitchFamily="34" charset="0"/>
                <a:cs typeface="Segoe UI" pitchFamily="34" charset="0"/>
              </a:defRPr>
            </a:lvl2pPr>
            <a:lvl3pPr marL="57309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516"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29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88064669"/>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831276010"/>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구역 머리글">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300951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1_Title &amp; Content_with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lIns="0" tIns="0" bIns="0"/>
          <a:lstStyle/>
          <a:p>
            <a:r>
              <a:rPr lang="en-US" dirty="0"/>
              <a:t>Click to edit master title style</a:t>
            </a:r>
          </a:p>
        </p:txBody>
      </p:sp>
    </p:spTree>
    <p:extLst>
      <p:ext uri="{BB962C8B-B14F-4D97-AF65-F5344CB8AC3E}">
        <p14:creationId xmlns:p14="http://schemas.microsoft.com/office/powerpoint/2010/main" val="35932824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06830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lide Photo">
    <p:bg>
      <p:bgPr>
        <a:solidFill>
          <a:srgbClr val="00B294"/>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5429545" y="0"/>
            <a:ext cx="6762455" cy="6858914"/>
          </a:xfrm>
          <a:prstGeom prst="rect">
            <a:avLst/>
          </a:prstGeom>
        </p:spPr>
      </p:pic>
      <p:sp>
        <p:nvSpPr>
          <p:cNvPr id="9" name="Title 1"/>
          <p:cNvSpPr>
            <a:spLocks noGrp="1"/>
          </p:cNvSpPr>
          <p:nvPr>
            <p:ph type="title" hasCustomPrompt="1"/>
          </p:nvPr>
        </p:nvSpPr>
        <p:spPr bwMode="ltGray">
          <a:xfrm>
            <a:off x="267683" y="2084173"/>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4146244"/>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13" name="Picture 12"/>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9430972" y="5060911"/>
            <a:ext cx="1196593" cy="436750"/>
          </a:xfrm>
          <a:prstGeom prst="rect">
            <a:avLst/>
          </a:prstGeom>
        </p:spPr>
      </p:pic>
      <p:pic>
        <p:nvPicPr>
          <p:cNvPr id="19" name="Picture 18"/>
          <p:cNvPicPr>
            <a:picLocks noChangeAspect="1"/>
          </p:cNvPicPr>
          <p:nvPr userDrawn="1"/>
        </p:nvPicPr>
        <p:blipFill>
          <a:blip r:embed="rId4" cstate="print">
            <a:lum bright="70000" contrast="-70000"/>
            <a:extLst>
              <a:ext uri="{BEBA8EAE-BF5A-486C-A8C5-ECC9F3942E4B}">
                <a14:imgProps xmlns:a14="http://schemas.microsoft.com/office/drawing/2010/main">
                  <a14:imgLayer r:embed="rId5">
                    <a14:imgEffect>
                      <a14:artisticPhotocopy/>
                    </a14:imgEffect>
                    <a14:imgEffect>
                      <a14:colorTemperature colorTemp="6625"/>
                    </a14:imgEffect>
                    <a14:imgEffect>
                      <a14:saturation sat="25000"/>
                    </a14:imgEffect>
                  </a14:imgLayer>
                </a14:imgProps>
              </a:ext>
              <a:ext uri="{28A0092B-C50C-407E-A947-70E740481C1C}">
                <a14:useLocalDpi xmlns:a14="http://schemas.microsoft.com/office/drawing/2010/main" val="0"/>
              </a:ext>
            </a:extLst>
          </a:blip>
          <a:stretch>
            <a:fillRect/>
          </a:stretch>
        </p:blipFill>
        <p:spPr>
          <a:xfrm>
            <a:off x="5915750" y="2140145"/>
            <a:ext cx="733926" cy="861876"/>
          </a:xfrm>
          <a:prstGeom prst="rect">
            <a:avLst/>
          </a:prstGeom>
        </p:spPr>
      </p:pic>
      <p:grpSp>
        <p:nvGrpSpPr>
          <p:cNvPr id="20" name="Group 19"/>
          <p:cNvGrpSpPr/>
          <p:nvPr userDrawn="1"/>
        </p:nvGrpSpPr>
        <p:grpSpPr>
          <a:xfrm>
            <a:off x="7031306" y="4681987"/>
            <a:ext cx="590250" cy="690610"/>
            <a:chOff x="1502342" y="238442"/>
            <a:chExt cx="1596433" cy="1867608"/>
          </a:xfrm>
          <a:solidFill>
            <a:schemeClr val="bg1"/>
          </a:solidFill>
        </p:grpSpPr>
        <p:sp>
          <p:nvSpPr>
            <p:cNvPr id="21" name="Freeform 25"/>
            <p:cNvSpPr>
              <a:spLocks noEditPoints="1"/>
            </p:cNvSpPr>
            <p:nvPr/>
          </p:nvSpPr>
          <p:spPr bwMode="auto">
            <a:xfrm>
              <a:off x="1502342" y="825623"/>
              <a:ext cx="1596433" cy="681218"/>
            </a:xfrm>
            <a:custGeom>
              <a:avLst/>
              <a:gdLst>
                <a:gd name="T0" fmla="*/ 574 w 618"/>
                <a:gd name="T1" fmla="*/ 0 h 264"/>
                <a:gd name="T2" fmla="*/ 530 w 618"/>
                <a:gd name="T3" fmla="*/ 45 h 264"/>
                <a:gd name="T4" fmla="*/ 530 w 618"/>
                <a:gd name="T5" fmla="*/ 219 h 264"/>
                <a:gd name="T6" fmla="*/ 574 w 618"/>
                <a:gd name="T7" fmla="*/ 264 h 264"/>
                <a:gd name="T8" fmla="*/ 618 w 618"/>
                <a:gd name="T9" fmla="*/ 219 h 264"/>
                <a:gd name="T10" fmla="*/ 618 w 618"/>
                <a:gd name="T11" fmla="*/ 45 h 264"/>
                <a:gd name="T12" fmla="*/ 574 w 618"/>
                <a:gd name="T13" fmla="*/ 0 h 264"/>
                <a:gd name="T14" fmla="*/ 44 w 618"/>
                <a:gd name="T15" fmla="*/ 0 h 264"/>
                <a:gd name="T16" fmla="*/ 0 w 618"/>
                <a:gd name="T17" fmla="*/ 45 h 264"/>
                <a:gd name="T18" fmla="*/ 0 w 618"/>
                <a:gd name="T19" fmla="*/ 219 h 264"/>
                <a:gd name="T20" fmla="*/ 44 w 618"/>
                <a:gd name="T21" fmla="*/ 264 h 264"/>
                <a:gd name="T22" fmla="*/ 88 w 618"/>
                <a:gd name="T23" fmla="*/ 219 h 264"/>
                <a:gd name="T24" fmla="*/ 88 w 618"/>
                <a:gd name="T25" fmla="*/ 45 h 264"/>
                <a:gd name="T26" fmla="*/ 44 w 618"/>
                <a:gd name="T27" fmla="*/ 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8" h="264">
                  <a:moveTo>
                    <a:pt x="574" y="0"/>
                  </a:moveTo>
                  <a:cubicBezTo>
                    <a:pt x="550" y="0"/>
                    <a:pt x="530" y="20"/>
                    <a:pt x="530" y="45"/>
                  </a:cubicBezTo>
                  <a:cubicBezTo>
                    <a:pt x="530" y="219"/>
                    <a:pt x="530" y="219"/>
                    <a:pt x="530" y="219"/>
                  </a:cubicBezTo>
                  <a:cubicBezTo>
                    <a:pt x="530" y="244"/>
                    <a:pt x="550" y="264"/>
                    <a:pt x="574" y="264"/>
                  </a:cubicBezTo>
                  <a:cubicBezTo>
                    <a:pt x="598" y="264"/>
                    <a:pt x="618" y="244"/>
                    <a:pt x="618" y="219"/>
                  </a:cubicBezTo>
                  <a:cubicBezTo>
                    <a:pt x="618" y="45"/>
                    <a:pt x="618" y="45"/>
                    <a:pt x="618" y="45"/>
                  </a:cubicBezTo>
                  <a:cubicBezTo>
                    <a:pt x="618" y="20"/>
                    <a:pt x="598" y="0"/>
                    <a:pt x="574" y="0"/>
                  </a:cubicBezTo>
                  <a:close/>
                  <a:moveTo>
                    <a:pt x="44" y="0"/>
                  </a:moveTo>
                  <a:cubicBezTo>
                    <a:pt x="20" y="0"/>
                    <a:pt x="0" y="20"/>
                    <a:pt x="0" y="45"/>
                  </a:cubicBezTo>
                  <a:cubicBezTo>
                    <a:pt x="0" y="219"/>
                    <a:pt x="0" y="219"/>
                    <a:pt x="0" y="219"/>
                  </a:cubicBezTo>
                  <a:cubicBezTo>
                    <a:pt x="0" y="244"/>
                    <a:pt x="20" y="264"/>
                    <a:pt x="44" y="264"/>
                  </a:cubicBezTo>
                  <a:cubicBezTo>
                    <a:pt x="68" y="264"/>
                    <a:pt x="88" y="244"/>
                    <a:pt x="88" y="219"/>
                  </a:cubicBezTo>
                  <a:cubicBezTo>
                    <a:pt x="88" y="45"/>
                    <a:pt x="88" y="45"/>
                    <a:pt x="88" y="45"/>
                  </a:cubicBezTo>
                  <a:cubicBezTo>
                    <a:pt x="88" y="20"/>
                    <a:pt x="68" y="0"/>
                    <a:pt x="44" y="0"/>
                  </a:cubicBezTo>
                  <a:close/>
                </a:path>
              </a:pathLst>
            </a:custGeom>
            <a:grpFill/>
            <a:ln>
              <a:noFill/>
            </a:ln>
            <a:effectLs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2" name="Freeform 26"/>
            <p:cNvSpPr>
              <a:spLocks/>
            </p:cNvSpPr>
            <p:nvPr/>
          </p:nvSpPr>
          <p:spPr bwMode="auto">
            <a:xfrm>
              <a:off x="1798666" y="827810"/>
              <a:ext cx="1008158" cy="1278240"/>
            </a:xfrm>
            <a:custGeom>
              <a:avLst/>
              <a:gdLst>
                <a:gd name="T0" fmla="*/ 0 w 390"/>
                <a:gd name="T1" fmla="*/ 0 h 495"/>
                <a:gd name="T2" fmla="*/ 0 w 390"/>
                <a:gd name="T3" fmla="*/ 319 h 495"/>
                <a:gd name="T4" fmla="*/ 34 w 390"/>
                <a:gd name="T5" fmla="*/ 353 h 495"/>
                <a:gd name="T6" fmla="*/ 73 w 390"/>
                <a:gd name="T7" fmla="*/ 353 h 495"/>
                <a:gd name="T8" fmla="*/ 73 w 390"/>
                <a:gd name="T9" fmla="*/ 450 h 495"/>
                <a:gd name="T10" fmla="*/ 117 w 390"/>
                <a:gd name="T11" fmla="*/ 495 h 495"/>
                <a:gd name="T12" fmla="*/ 161 w 390"/>
                <a:gd name="T13" fmla="*/ 450 h 495"/>
                <a:gd name="T14" fmla="*/ 161 w 390"/>
                <a:gd name="T15" fmla="*/ 353 h 495"/>
                <a:gd name="T16" fmla="*/ 229 w 390"/>
                <a:gd name="T17" fmla="*/ 353 h 495"/>
                <a:gd name="T18" fmla="*/ 229 w 390"/>
                <a:gd name="T19" fmla="*/ 450 h 495"/>
                <a:gd name="T20" fmla="*/ 273 w 390"/>
                <a:gd name="T21" fmla="*/ 495 h 495"/>
                <a:gd name="T22" fmla="*/ 317 w 390"/>
                <a:gd name="T23" fmla="*/ 450 h 495"/>
                <a:gd name="T24" fmla="*/ 317 w 390"/>
                <a:gd name="T25" fmla="*/ 353 h 495"/>
                <a:gd name="T26" fmla="*/ 356 w 390"/>
                <a:gd name="T27" fmla="*/ 353 h 495"/>
                <a:gd name="T28" fmla="*/ 390 w 390"/>
                <a:gd name="T29" fmla="*/ 319 h 495"/>
                <a:gd name="T30" fmla="*/ 390 w 390"/>
                <a:gd name="T31" fmla="*/ 0 h 495"/>
                <a:gd name="T32" fmla="*/ 0 w 390"/>
                <a:gd name="T33" fmla="*/ 0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0" h="495">
                  <a:moveTo>
                    <a:pt x="0" y="0"/>
                  </a:moveTo>
                  <a:cubicBezTo>
                    <a:pt x="0" y="319"/>
                    <a:pt x="0" y="319"/>
                    <a:pt x="0" y="319"/>
                  </a:cubicBezTo>
                  <a:cubicBezTo>
                    <a:pt x="0" y="338"/>
                    <a:pt x="15" y="353"/>
                    <a:pt x="34" y="353"/>
                  </a:cubicBezTo>
                  <a:cubicBezTo>
                    <a:pt x="73" y="353"/>
                    <a:pt x="73" y="353"/>
                    <a:pt x="73" y="353"/>
                  </a:cubicBezTo>
                  <a:cubicBezTo>
                    <a:pt x="73" y="450"/>
                    <a:pt x="73" y="450"/>
                    <a:pt x="73" y="450"/>
                  </a:cubicBezTo>
                  <a:cubicBezTo>
                    <a:pt x="73" y="475"/>
                    <a:pt x="93" y="495"/>
                    <a:pt x="117" y="495"/>
                  </a:cubicBezTo>
                  <a:cubicBezTo>
                    <a:pt x="141" y="495"/>
                    <a:pt x="161" y="475"/>
                    <a:pt x="161" y="450"/>
                  </a:cubicBezTo>
                  <a:cubicBezTo>
                    <a:pt x="161" y="353"/>
                    <a:pt x="161" y="353"/>
                    <a:pt x="161" y="353"/>
                  </a:cubicBezTo>
                  <a:cubicBezTo>
                    <a:pt x="229" y="353"/>
                    <a:pt x="229" y="353"/>
                    <a:pt x="229" y="353"/>
                  </a:cubicBezTo>
                  <a:cubicBezTo>
                    <a:pt x="229" y="450"/>
                    <a:pt x="229" y="450"/>
                    <a:pt x="229" y="450"/>
                  </a:cubicBezTo>
                  <a:cubicBezTo>
                    <a:pt x="229" y="475"/>
                    <a:pt x="249" y="495"/>
                    <a:pt x="273" y="495"/>
                  </a:cubicBezTo>
                  <a:cubicBezTo>
                    <a:pt x="297" y="495"/>
                    <a:pt x="317" y="475"/>
                    <a:pt x="317" y="450"/>
                  </a:cubicBezTo>
                  <a:cubicBezTo>
                    <a:pt x="317" y="353"/>
                    <a:pt x="317" y="353"/>
                    <a:pt x="317" y="353"/>
                  </a:cubicBezTo>
                  <a:cubicBezTo>
                    <a:pt x="356" y="353"/>
                    <a:pt x="356" y="353"/>
                    <a:pt x="356" y="353"/>
                  </a:cubicBezTo>
                  <a:cubicBezTo>
                    <a:pt x="375" y="353"/>
                    <a:pt x="390" y="338"/>
                    <a:pt x="390" y="319"/>
                  </a:cubicBezTo>
                  <a:cubicBezTo>
                    <a:pt x="390" y="0"/>
                    <a:pt x="390" y="0"/>
                    <a:pt x="390" y="0"/>
                  </a:cubicBezTo>
                  <a:lnTo>
                    <a:pt x="0" y="0"/>
                  </a:lnTo>
                  <a:close/>
                </a:path>
              </a:pathLst>
            </a:custGeom>
            <a:grpFill/>
            <a:ln>
              <a:noFill/>
            </a:ln>
            <a:effectLs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3" name="Freeform 27"/>
            <p:cNvSpPr>
              <a:spLocks noEditPoints="1"/>
            </p:cNvSpPr>
            <p:nvPr/>
          </p:nvSpPr>
          <p:spPr bwMode="auto">
            <a:xfrm>
              <a:off x="1796479" y="238442"/>
              <a:ext cx="1007065" cy="517201"/>
            </a:xfrm>
            <a:custGeom>
              <a:avLst/>
              <a:gdLst>
                <a:gd name="T0" fmla="*/ 288 w 390"/>
                <a:gd name="T1" fmla="*/ 63 h 200"/>
                <a:gd name="T2" fmla="*/ 324 w 390"/>
                <a:gd name="T3" fmla="*/ 11 h 200"/>
                <a:gd name="T4" fmla="*/ 323 w 390"/>
                <a:gd name="T5" fmla="*/ 2 h 200"/>
                <a:gd name="T6" fmla="*/ 314 w 390"/>
                <a:gd name="T7" fmla="*/ 4 h 200"/>
                <a:gd name="T8" fmla="*/ 276 w 390"/>
                <a:gd name="T9" fmla="*/ 59 h 200"/>
                <a:gd name="T10" fmla="*/ 195 w 390"/>
                <a:gd name="T11" fmla="*/ 43 h 200"/>
                <a:gd name="T12" fmla="*/ 114 w 390"/>
                <a:gd name="T13" fmla="*/ 59 h 200"/>
                <a:gd name="T14" fmla="*/ 76 w 390"/>
                <a:gd name="T15" fmla="*/ 4 h 200"/>
                <a:gd name="T16" fmla="*/ 67 w 390"/>
                <a:gd name="T17" fmla="*/ 2 h 200"/>
                <a:gd name="T18" fmla="*/ 66 w 390"/>
                <a:gd name="T19" fmla="*/ 11 h 200"/>
                <a:gd name="T20" fmla="*/ 102 w 390"/>
                <a:gd name="T21" fmla="*/ 63 h 200"/>
                <a:gd name="T22" fmla="*/ 0 w 390"/>
                <a:gd name="T23" fmla="*/ 200 h 200"/>
                <a:gd name="T24" fmla="*/ 390 w 390"/>
                <a:gd name="T25" fmla="*/ 200 h 200"/>
                <a:gd name="T26" fmla="*/ 288 w 390"/>
                <a:gd name="T27" fmla="*/ 63 h 200"/>
                <a:gd name="T28" fmla="*/ 113 w 390"/>
                <a:gd name="T29" fmla="*/ 146 h 200"/>
                <a:gd name="T30" fmla="*/ 91 w 390"/>
                <a:gd name="T31" fmla="*/ 124 h 200"/>
                <a:gd name="T32" fmla="*/ 113 w 390"/>
                <a:gd name="T33" fmla="*/ 103 h 200"/>
                <a:gd name="T34" fmla="*/ 134 w 390"/>
                <a:gd name="T35" fmla="*/ 124 h 200"/>
                <a:gd name="T36" fmla="*/ 113 w 390"/>
                <a:gd name="T37" fmla="*/ 146 h 200"/>
                <a:gd name="T38" fmla="*/ 280 w 390"/>
                <a:gd name="T39" fmla="*/ 146 h 200"/>
                <a:gd name="T40" fmla="*/ 259 w 390"/>
                <a:gd name="T41" fmla="*/ 124 h 200"/>
                <a:gd name="T42" fmla="*/ 280 w 390"/>
                <a:gd name="T43" fmla="*/ 103 h 200"/>
                <a:gd name="T44" fmla="*/ 302 w 390"/>
                <a:gd name="T45" fmla="*/ 124 h 200"/>
                <a:gd name="T46" fmla="*/ 280 w 390"/>
                <a:gd name="T47" fmla="*/ 14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0" h="200">
                  <a:moveTo>
                    <a:pt x="288" y="63"/>
                  </a:moveTo>
                  <a:cubicBezTo>
                    <a:pt x="324" y="11"/>
                    <a:pt x="324" y="11"/>
                    <a:pt x="324" y="11"/>
                  </a:cubicBezTo>
                  <a:cubicBezTo>
                    <a:pt x="326" y="8"/>
                    <a:pt x="325" y="4"/>
                    <a:pt x="323" y="2"/>
                  </a:cubicBezTo>
                  <a:cubicBezTo>
                    <a:pt x="320" y="0"/>
                    <a:pt x="316" y="1"/>
                    <a:pt x="314" y="4"/>
                  </a:cubicBezTo>
                  <a:cubicBezTo>
                    <a:pt x="276" y="59"/>
                    <a:pt x="276" y="59"/>
                    <a:pt x="276" y="59"/>
                  </a:cubicBezTo>
                  <a:cubicBezTo>
                    <a:pt x="251" y="49"/>
                    <a:pt x="224" y="43"/>
                    <a:pt x="195" y="43"/>
                  </a:cubicBezTo>
                  <a:cubicBezTo>
                    <a:pt x="166" y="43"/>
                    <a:pt x="139" y="49"/>
                    <a:pt x="114" y="59"/>
                  </a:cubicBezTo>
                  <a:cubicBezTo>
                    <a:pt x="76" y="4"/>
                    <a:pt x="76" y="4"/>
                    <a:pt x="76" y="4"/>
                  </a:cubicBezTo>
                  <a:cubicBezTo>
                    <a:pt x="74" y="1"/>
                    <a:pt x="70" y="0"/>
                    <a:pt x="67" y="2"/>
                  </a:cubicBezTo>
                  <a:cubicBezTo>
                    <a:pt x="65" y="4"/>
                    <a:pt x="64" y="8"/>
                    <a:pt x="66" y="11"/>
                  </a:cubicBezTo>
                  <a:cubicBezTo>
                    <a:pt x="102" y="63"/>
                    <a:pt x="102" y="63"/>
                    <a:pt x="102" y="63"/>
                  </a:cubicBezTo>
                  <a:cubicBezTo>
                    <a:pt x="45" y="90"/>
                    <a:pt x="5" y="141"/>
                    <a:pt x="0" y="200"/>
                  </a:cubicBezTo>
                  <a:cubicBezTo>
                    <a:pt x="390" y="200"/>
                    <a:pt x="390" y="200"/>
                    <a:pt x="390" y="200"/>
                  </a:cubicBezTo>
                  <a:cubicBezTo>
                    <a:pt x="385" y="141"/>
                    <a:pt x="345" y="90"/>
                    <a:pt x="288" y="63"/>
                  </a:cubicBezTo>
                  <a:close/>
                  <a:moveTo>
                    <a:pt x="113" y="146"/>
                  </a:moveTo>
                  <a:cubicBezTo>
                    <a:pt x="101" y="146"/>
                    <a:pt x="91" y="136"/>
                    <a:pt x="91" y="124"/>
                  </a:cubicBezTo>
                  <a:cubicBezTo>
                    <a:pt x="91" y="113"/>
                    <a:pt x="101" y="103"/>
                    <a:pt x="113" y="103"/>
                  </a:cubicBezTo>
                  <a:cubicBezTo>
                    <a:pt x="125" y="103"/>
                    <a:pt x="134" y="113"/>
                    <a:pt x="134" y="124"/>
                  </a:cubicBezTo>
                  <a:cubicBezTo>
                    <a:pt x="134" y="136"/>
                    <a:pt x="125" y="146"/>
                    <a:pt x="113" y="146"/>
                  </a:cubicBezTo>
                  <a:close/>
                  <a:moveTo>
                    <a:pt x="280" y="146"/>
                  </a:moveTo>
                  <a:cubicBezTo>
                    <a:pt x="268" y="146"/>
                    <a:pt x="259" y="136"/>
                    <a:pt x="259" y="124"/>
                  </a:cubicBezTo>
                  <a:cubicBezTo>
                    <a:pt x="259" y="113"/>
                    <a:pt x="268" y="103"/>
                    <a:pt x="280" y="103"/>
                  </a:cubicBezTo>
                  <a:cubicBezTo>
                    <a:pt x="292" y="103"/>
                    <a:pt x="302" y="113"/>
                    <a:pt x="302" y="124"/>
                  </a:cubicBezTo>
                  <a:cubicBezTo>
                    <a:pt x="302" y="136"/>
                    <a:pt x="292" y="146"/>
                    <a:pt x="280" y="146"/>
                  </a:cubicBezTo>
                  <a:close/>
                </a:path>
              </a:pathLst>
            </a:custGeom>
            <a:grpFill/>
            <a:ln>
              <a:noFill/>
            </a:ln>
            <a:effectLs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25" name="Picture 24"/>
          <p:cNvPicPr>
            <a:picLocks noChangeAspect="1"/>
          </p:cNvPicPr>
          <p:nvPr userDrawn="1"/>
        </p:nvPicPr>
        <p:blipFill>
          <a:blip r:embed="rId6" cstate="print">
            <a:lum bright="70000" contrast="-70000"/>
            <a:extLst>
              <a:ext uri="{28A0092B-C50C-407E-A947-70E740481C1C}">
                <a14:useLocalDpi xmlns:a14="http://schemas.microsoft.com/office/drawing/2010/main" val="0"/>
              </a:ext>
            </a:extLst>
          </a:blip>
          <a:stretch>
            <a:fillRect/>
          </a:stretch>
        </p:blipFill>
        <p:spPr>
          <a:xfrm>
            <a:off x="11361314" y="2490367"/>
            <a:ext cx="448668" cy="549106"/>
          </a:xfrm>
          <a:prstGeom prst="rect">
            <a:avLst/>
          </a:prstGeom>
        </p:spPr>
      </p:pic>
      <p:pic>
        <p:nvPicPr>
          <p:cNvPr id="15" name="Picture 14"/>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gray">
          <a:xfrm>
            <a:off x="449322" y="471251"/>
            <a:ext cx="1522404" cy="326167"/>
          </a:xfrm>
          <a:prstGeom prst="rect">
            <a:avLst/>
          </a:prstGeom>
        </p:spPr>
      </p:pic>
      <p:sp>
        <p:nvSpPr>
          <p:cNvPr id="16" name="Freeform 15"/>
          <p:cNvSpPr>
            <a:spLocks noChangeAspect="1" noEditPoints="1"/>
          </p:cNvSpPr>
          <p:nvPr userDrawn="1"/>
        </p:nvSpPr>
        <p:spPr bwMode="auto">
          <a:xfrm>
            <a:off x="-342355" y="5928340"/>
            <a:ext cx="12876710" cy="1816774"/>
          </a:xfrm>
          <a:custGeom>
            <a:avLst/>
            <a:gdLst>
              <a:gd name="T0" fmla="*/ 1088 w 2202"/>
              <a:gd name="T1" fmla="*/ 0 h 277"/>
              <a:gd name="T2" fmla="*/ 261 w 2202"/>
              <a:gd name="T3" fmla="*/ 273 h 277"/>
              <a:gd name="T4" fmla="*/ 560 w 2202"/>
              <a:gd name="T5" fmla="*/ 241 h 277"/>
              <a:gd name="T6" fmla="*/ 886 w 2202"/>
              <a:gd name="T7" fmla="*/ 185 h 277"/>
              <a:gd name="T8" fmla="*/ 1315 w 2202"/>
              <a:gd name="T9" fmla="*/ 185 h 277"/>
              <a:gd name="T10" fmla="*/ 1642 w 2202"/>
              <a:gd name="T11" fmla="*/ 241 h 277"/>
              <a:gd name="T12" fmla="*/ 1941 w 2202"/>
              <a:gd name="T13" fmla="*/ 273 h 277"/>
              <a:gd name="T14" fmla="*/ 248 w 2202"/>
              <a:gd name="T15" fmla="*/ 238 h 277"/>
              <a:gd name="T16" fmla="*/ 258 w 2202"/>
              <a:gd name="T17" fmla="*/ 231 h 277"/>
              <a:gd name="T18" fmla="*/ 246 w 2202"/>
              <a:gd name="T19" fmla="*/ 120 h 277"/>
              <a:gd name="T20" fmla="*/ 158 w 2202"/>
              <a:gd name="T21" fmla="*/ 95 h 277"/>
              <a:gd name="T22" fmla="*/ 294 w 2202"/>
              <a:gd name="T23" fmla="*/ 74 h 277"/>
              <a:gd name="T24" fmla="*/ 294 w 2202"/>
              <a:gd name="T25" fmla="*/ 99 h 277"/>
              <a:gd name="T26" fmla="*/ 293 w 2202"/>
              <a:gd name="T27" fmla="*/ 184 h 277"/>
              <a:gd name="T28" fmla="*/ 351 w 2202"/>
              <a:gd name="T29" fmla="*/ 174 h 277"/>
              <a:gd name="T30" fmla="*/ 410 w 2202"/>
              <a:gd name="T31" fmla="*/ 129 h 277"/>
              <a:gd name="T32" fmla="*/ 402 w 2202"/>
              <a:gd name="T33" fmla="*/ 186 h 277"/>
              <a:gd name="T34" fmla="*/ 535 w 2202"/>
              <a:gd name="T35" fmla="*/ 151 h 277"/>
              <a:gd name="T36" fmla="*/ 492 w 2202"/>
              <a:gd name="T37" fmla="*/ 102 h 277"/>
              <a:gd name="T38" fmla="*/ 569 w 2202"/>
              <a:gd name="T39" fmla="*/ 71 h 277"/>
              <a:gd name="T40" fmla="*/ 558 w 2202"/>
              <a:gd name="T41" fmla="*/ 78 h 277"/>
              <a:gd name="T42" fmla="*/ 697 w 2202"/>
              <a:gd name="T43" fmla="*/ 153 h 277"/>
              <a:gd name="T44" fmla="*/ 764 w 2202"/>
              <a:gd name="T45" fmla="*/ 166 h 277"/>
              <a:gd name="T46" fmla="*/ 811 w 2202"/>
              <a:gd name="T47" fmla="*/ 101 h 277"/>
              <a:gd name="T48" fmla="*/ 700 w 2202"/>
              <a:gd name="T49" fmla="*/ 125 h 277"/>
              <a:gd name="T50" fmla="*/ 811 w 2202"/>
              <a:gd name="T51" fmla="*/ 101 h 277"/>
              <a:gd name="T52" fmla="*/ 846 w 2202"/>
              <a:gd name="T53" fmla="*/ 101 h 277"/>
              <a:gd name="T54" fmla="*/ 846 w 2202"/>
              <a:gd name="T55" fmla="*/ 171 h 277"/>
              <a:gd name="T56" fmla="*/ 879 w 2202"/>
              <a:gd name="T57" fmla="*/ 152 h 277"/>
              <a:gd name="T58" fmla="*/ 1020 w 2202"/>
              <a:gd name="T59" fmla="*/ 64 h 277"/>
              <a:gd name="T60" fmla="*/ 934 w 2202"/>
              <a:gd name="T61" fmla="*/ 151 h 277"/>
              <a:gd name="T62" fmla="*/ 1112 w 2202"/>
              <a:gd name="T63" fmla="*/ 172 h 277"/>
              <a:gd name="T64" fmla="*/ 1125 w 2202"/>
              <a:gd name="T65" fmla="*/ 183 h 277"/>
              <a:gd name="T66" fmla="*/ 1355 w 2202"/>
              <a:gd name="T67" fmla="*/ 171 h 277"/>
              <a:gd name="T68" fmla="*/ 1299 w 2202"/>
              <a:gd name="T69" fmla="*/ 146 h 277"/>
              <a:gd name="T70" fmla="*/ 1368 w 2202"/>
              <a:gd name="T71" fmla="*/ 92 h 277"/>
              <a:gd name="T72" fmla="*/ 1368 w 2202"/>
              <a:gd name="T73" fmla="*/ 41 h 277"/>
              <a:gd name="T74" fmla="*/ 1403 w 2202"/>
              <a:gd name="T75" fmla="*/ 164 h 277"/>
              <a:gd name="T76" fmla="*/ 1435 w 2202"/>
              <a:gd name="T77" fmla="*/ 131 h 277"/>
              <a:gd name="T78" fmla="*/ 1618 w 2202"/>
              <a:gd name="T79" fmla="*/ 43 h 277"/>
              <a:gd name="T80" fmla="*/ 1643 w 2202"/>
              <a:gd name="T81" fmla="*/ 204 h 277"/>
              <a:gd name="T82" fmla="*/ 1643 w 2202"/>
              <a:gd name="T83" fmla="*/ 152 h 277"/>
              <a:gd name="T84" fmla="*/ 1555 w 2202"/>
              <a:gd name="T85" fmla="*/ 119 h 277"/>
              <a:gd name="T86" fmla="*/ 1677 w 2202"/>
              <a:gd name="T87" fmla="*/ 77 h 277"/>
              <a:gd name="T88" fmla="*/ 1666 w 2202"/>
              <a:gd name="T89" fmla="*/ 81 h 277"/>
              <a:gd name="T90" fmla="*/ 1734 w 2202"/>
              <a:gd name="T91" fmla="*/ 132 h 277"/>
              <a:gd name="T92" fmla="*/ 1921 w 2202"/>
              <a:gd name="T93" fmla="*/ 230 h 277"/>
              <a:gd name="T94" fmla="*/ 1921 w 2202"/>
              <a:gd name="T95" fmla="*/ 195 h 277"/>
              <a:gd name="T96" fmla="*/ 1827 w 2202"/>
              <a:gd name="T97" fmla="*/ 168 h 277"/>
              <a:gd name="T98" fmla="*/ 1921 w 2202"/>
              <a:gd name="T99" fmla="*/ 144 h 277"/>
              <a:gd name="T100" fmla="*/ 1686 w 2202"/>
              <a:gd name="T101" fmla="*/ 57 h 277"/>
              <a:gd name="T102" fmla="*/ 1956 w 2202"/>
              <a:gd name="T103" fmla="*/ 80 h 277"/>
              <a:gd name="T104" fmla="*/ 1943 w 2202"/>
              <a:gd name="T105" fmla="*/ 134 h 277"/>
              <a:gd name="T106" fmla="*/ 1943 w 2202"/>
              <a:gd name="T107" fmla="*/ 140 h 277"/>
              <a:gd name="T108" fmla="*/ 1955 w 2202"/>
              <a:gd name="T109" fmla="*/ 17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02" h="277">
                <a:moveTo>
                  <a:pt x="2199" y="107"/>
                </a:moveTo>
                <a:cubicBezTo>
                  <a:pt x="2197" y="100"/>
                  <a:pt x="2190" y="93"/>
                  <a:pt x="2182" y="92"/>
                </a:cubicBezTo>
                <a:cubicBezTo>
                  <a:pt x="1829" y="31"/>
                  <a:pt x="1471" y="1"/>
                  <a:pt x="1114" y="0"/>
                </a:cubicBezTo>
                <a:cubicBezTo>
                  <a:pt x="1107" y="0"/>
                  <a:pt x="1101" y="0"/>
                  <a:pt x="1101" y="0"/>
                </a:cubicBezTo>
                <a:cubicBezTo>
                  <a:pt x="1101" y="0"/>
                  <a:pt x="1095" y="0"/>
                  <a:pt x="1088" y="0"/>
                </a:cubicBezTo>
                <a:cubicBezTo>
                  <a:pt x="730" y="1"/>
                  <a:pt x="373" y="31"/>
                  <a:pt x="19" y="92"/>
                </a:cubicBezTo>
                <a:cubicBezTo>
                  <a:pt x="12" y="93"/>
                  <a:pt x="5" y="100"/>
                  <a:pt x="3" y="107"/>
                </a:cubicBezTo>
                <a:cubicBezTo>
                  <a:pt x="2" y="108"/>
                  <a:pt x="2" y="109"/>
                  <a:pt x="2" y="110"/>
                </a:cubicBezTo>
                <a:cubicBezTo>
                  <a:pt x="0" y="117"/>
                  <a:pt x="3" y="126"/>
                  <a:pt x="9" y="129"/>
                </a:cubicBezTo>
                <a:cubicBezTo>
                  <a:pt x="92" y="175"/>
                  <a:pt x="176" y="224"/>
                  <a:pt x="261" y="273"/>
                </a:cubicBezTo>
                <a:cubicBezTo>
                  <a:pt x="266" y="277"/>
                  <a:pt x="276" y="276"/>
                  <a:pt x="282" y="271"/>
                </a:cubicBezTo>
                <a:cubicBezTo>
                  <a:pt x="307" y="250"/>
                  <a:pt x="332" y="230"/>
                  <a:pt x="357" y="210"/>
                </a:cubicBezTo>
                <a:cubicBezTo>
                  <a:pt x="362" y="205"/>
                  <a:pt x="373" y="203"/>
                  <a:pt x="379" y="204"/>
                </a:cubicBezTo>
                <a:cubicBezTo>
                  <a:pt x="431" y="217"/>
                  <a:pt x="483" y="229"/>
                  <a:pt x="535" y="243"/>
                </a:cubicBezTo>
                <a:cubicBezTo>
                  <a:pt x="542" y="245"/>
                  <a:pt x="553" y="244"/>
                  <a:pt x="560" y="241"/>
                </a:cubicBezTo>
                <a:cubicBezTo>
                  <a:pt x="612" y="218"/>
                  <a:pt x="664" y="196"/>
                  <a:pt x="717" y="175"/>
                </a:cubicBezTo>
                <a:cubicBezTo>
                  <a:pt x="724" y="172"/>
                  <a:pt x="734" y="173"/>
                  <a:pt x="740" y="177"/>
                </a:cubicBezTo>
                <a:cubicBezTo>
                  <a:pt x="764" y="192"/>
                  <a:pt x="788" y="208"/>
                  <a:pt x="812" y="223"/>
                </a:cubicBezTo>
                <a:cubicBezTo>
                  <a:pt x="818" y="227"/>
                  <a:pt x="827" y="227"/>
                  <a:pt x="833" y="222"/>
                </a:cubicBezTo>
                <a:cubicBezTo>
                  <a:pt x="851" y="210"/>
                  <a:pt x="868" y="197"/>
                  <a:pt x="886" y="185"/>
                </a:cubicBezTo>
                <a:cubicBezTo>
                  <a:pt x="892" y="181"/>
                  <a:pt x="903" y="178"/>
                  <a:pt x="910" y="179"/>
                </a:cubicBezTo>
                <a:cubicBezTo>
                  <a:pt x="969" y="188"/>
                  <a:pt x="1028" y="197"/>
                  <a:pt x="1088" y="208"/>
                </a:cubicBezTo>
                <a:cubicBezTo>
                  <a:pt x="1095" y="209"/>
                  <a:pt x="1107" y="209"/>
                  <a:pt x="1114" y="208"/>
                </a:cubicBezTo>
                <a:cubicBezTo>
                  <a:pt x="1173" y="197"/>
                  <a:pt x="1232" y="188"/>
                  <a:pt x="1292" y="179"/>
                </a:cubicBezTo>
                <a:cubicBezTo>
                  <a:pt x="1299" y="178"/>
                  <a:pt x="1309" y="181"/>
                  <a:pt x="1315" y="185"/>
                </a:cubicBezTo>
                <a:cubicBezTo>
                  <a:pt x="1333" y="197"/>
                  <a:pt x="1351" y="210"/>
                  <a:pt x="1368" y="222"/>
                </a:cubicBezTo>
                <a:cubicBezTo>
                  <a:pt x="1374" y="227"/>
                  <a:pt x="1384" y="227"/>
                  <a:pt x="1390" y="223"/>
                </a:cubicBezTo>
                <a:cubicBezTo>
                  <a:pt x="1414" y="208"/>
                  <a:pt x="1438" y="192"/>
                  <a:pt x="1462" y="177"/>
                </a:cubicBezTo>
                <a:cubicBezTo>
                  <a:pt x="1468" y="173"/>
                  <a:pt x="1478" y="172"/>
                  <a:pt x="1485" y="175"/>
                </a:cubicBezTo>
                <a:cubicBezTo>
                  <a:pt x="1537" y="196"/>
                  <a:pt x="1590" y="218"/>
                  <a:pt x="1642" y="241"/>
                </a:cubicBezTo>
                <a:cubicBezTo>
                  <a:pt x="1649" y="244"/>
                  <a:pt x="1660" y="245"/>
                  <a:pt x="1667" y="243"/>
                </a:cubicBezTo>
                <a:cubicBezTo>
                  <a:pt x="1719" y="229"/>
                  <a:pt x="1770" y="217"/>
                  <a:pt x="1822" y="204"/>
                </a:cubicBezTo>
                <a:cubicBezTo>
                  <a:pt x="1829" y="203"/>
                  <a:pt x="1839" y="205"/>
                  <a:pt x="1845" y="210"/>
                </a:cubicBezTo>
                <a:cubicBezTo>
                  <a:pt x="1870" y="230"/>
                  <a:pt x="1895" y="250"/>
                  <a:pt x="1920" y="271"/>
                </a:cubicBezTo>
                <a:cubicBezTo>
                  <a:pt x="1926" y="276"/>
                  <a:pt x="1935" y="277"/>
                  <a:pt x="1941" y="273"/>
                </a:cubicBezTo>
                <a:cubicBezTo>
                  <a:pt x="2025" y="224"/>
                  <a:pt x="2109" y="175"/>
                  <a:pt x="2193" y="129"/>
                </a:cubicBezTo>
                <a:cubicBezTo>
                  <a:pt x="2199" y="126"/>
                  <a:pt x="2202" y="117"/>
                  <a:pt x="2200" y="110"/>
                </a:cubicBezTo>
                <a:cubicBezTo>
                  <a:pt x="2199" y="109"/>
                  <a:pt x="2199" y="108"/>
                  <a:pt x="2199" y="107"/>
                </a:cubicBezTo>
                <a:close/>
                <a:moveTo>
                  <a:pt x="258" y="231"/>
                </a:moveTo>
                <a:cubicBezTo>
                  <a:pt x="258" y="238"/>
                  <a:pt x="254" y="241"/>
                  <a:pt x="248" y="238"/>
                </a:cubicBezTo>
                <a:cubicBezTo>
                  <a:pt x="194" y="206"/>
                  <a:pt x="141" y="175"/>
                  <a:pt x="87" y="145"/>
                </a:cubicBezTo>
                <a:cubicBezTo>
                  <a:pt x="81" y="142"/>
                  <a:pt x="82" y="140"/>
                  <a:pt x="89" y="142"/>
                </a:cubicBezTo>
                <a:cubicBezTo>
                  <a:pt x="141" y="152"/>
                  <a:pt x="194" y="162"/>
                  <a:pt x="246" y="174"/>
                </a:cubicBezTo>
                <a:cubicBezTo>
                  <a:pt x="253" y="175"/>
                  <a:pt x="258" y="182"/>
                  <a:pt x="258" y="190"/>
                </a:cubicBezTo>
                <a:cubicBezTo>
                  <a:pt x="258" y="203"/>
                  <a:pt x="258" y="217"/>
                  <a:pt x="258" y="231"/>
                </a:cubicBezTo>
                <a:close/>
                <a:moveTo>
                  <a:pt x="258" y="140"/>
                </a:moveTo>
                <a:cubicBezTo>
                  <a:pt x="258" y="147"/>
                  <a:pt x="253" y="151"/>
                  <a:pt x="246" y="150"/>
                </a:cubicBezTo>
                <a:cubicBezTo>
                  <a:pt x="196" y="139"/>
                  <a:pt x="145" y="129"/>
                  <a:pt x="95" y="119"/>
                </a:cubicBezTo>
                <a:cubicBezTo>
                  <a:pt x="88" y="117"/>
                  <a:pt x="88" y="116"/>
                  <a:pt x="95" y="117"/>
                </a:cubicBezTo>
                <a:cubicBezTo>
                  <a:pt x="145" y="117"/>
                  <a:pt x="195" y="118"/>
                  <a:pt x="246" y="120"/>
                </a:cubicBezTo>
                <a:cubicBezTo>
                  <a:pt x="253" y="121"/>
                  <a:pt x="258" y="127"/>
                  <a:pt x="258" y="134"/>
                </a:cubicBezTo>
                <a:cubicBezTo>
                  <a:pt x="258" y="136"/>
                  <a:pt x="258" y="138"/>
                  <a:pt x="258" y="140"/>
                </a:cubicBezTo>
                <a:close/>
                <a:moveTo>
                  <a:pt x="258" y="88"/>
                </a:moveTo>
                <a:cubicBezTo>
                  <a:pt x="258" y="93"/>
                  <a:pt x="253" y="97"/>
                  <a:pt x="246" y="97"/>
                </a:cubicBezTo>
                <a:cubicBezTo>
                  <a:pt x="216" y="96"/>
                  <a:pt x="187" y="95"/>
                  <a:pt x="158" y="95"/>
                </a:cubicBezTo>
                <a:cubicBezTo>
                  <a:pt x="151" y="94"/>
                  <a:pt x="151" y="93"/>
                  <a:pt x="158" y="92"/>
                </a:cubicBezTo>
                <a:cubicBezTo>
                  <a:pt x="187" y="88"/>
                  <a:pt x="216" y="84"/>
                  <a:pt x="245" y="80"/>
                </a:cubicBezTo>
                <a:cubicBezTo>
                  <a:pt x="253" y="79"/>
                  <a:pt x="258" y="83"/>
                  <a:pt x="258" y="88"/>
                </a:cubicBezTo>
                <a:close/>
                <a:moveTo>
                  <a:pt x="281" y="87"/>
                </a:moveTo>
                <a:cubicBezTo>
                  <a:pt x="281" y="81"/>
                  <a:pt x="287" y="75"/>
                  <a:pt x="294" y="74"/>
                </a:cubicBezTo>
                <a:cubicBezTo>
                  <a:pt x="367" y="64"/>
                  <a:pt x="440" y="56"/>
                  <a:pt x="513" y="50"/>
                </a:cubicBezTo>
                <a:cubicBezTo>
                  <a:pt x="520" y="49"/>
                  <a:pt x="521" y="52"/>
                  <a:pt x="515" y="57"/>
                </a:cubicBezTo>
                <a:cubicBezTo>
                  <a:pt x="497" y="71"/>
                  <a:pt x="479" y="85"/>
                  <a:pt x="460" y="100"/>
                </a:cubicBezTo>
                <a:cubicBezTo>
                  <a:pt x="454" y="104"/>
                  <a:pt x="444" y="108"/>
                  <a:pt x="437" y="107"/>
                </a:cubicBezTo>
                <a:cubicBezTo>
                  <a:pt x="389" y="104"/>
                  <a:pt x="341" y="101"/>
                  <a:pt x="294" y="99"/>
                </a:cubicBezTo>
                <a:cubicBezTo>
                  <a:pt x="287" y="99"/>
                  <a:pt x="281" y="94"/>
                  <a:pt x="281" y="87"/>
                </a:cubicBezTo>
                <a:close/>
                <a:moveTo>
                  <a:pt x="291" y="235"/>
                </a:moveTo>
                <a:cubicBezTo>
                  <a:pt x="286" y="240"/>
                  <a:pt x="281" y="238"/>
                  <a:pt x="281" y="230"/>
                </a:cubicBezTo>
                <a:cubicBezTo>
                  <a:pt x="281" y="218"/>
                  <a:pt x="281" y="207"/>
                  <a:pt x="281" y="195"/>
                </a:cubicBezTo>
                <a:cubicBezTo>
                  <a:pt x="281" y="187"/>
                  <a:pt x="286" y="183"/>
                  <a:pt x="293" y="184"/>
                </a:cubicBezTo>
                <a:cubicBezTo>
                  <a:pt x="305" y="187"/>
                  <a:pt x="316" y="190"/>
                  <a:pt x="328" y="192"/>
                </a:cubicBezTo>
                <a:cubicBezTo>
                  <a:pt x="335" y="194"/>
                  <a:pt x="335" y="199"/>
                  <a:pt x="330" y="204"/>
                </a:cubicBezTo>
                <a:cubicBezTo>
                  <a:pt x="317" y="214"/>
                  <a:pt x="304" y="224"/>
                  <a:pt x="291" y="235"/>
                </a:cubicBezTo>
                <a:close/>
                <a:moveTo>
                  <a:pt x="374" y="168"/>
                </a:moveTo>
                <a:cubicBezTo>
                  <a:pt x="368" y="173"/>
                  <a:pt x="358" y="175"/>
                  <a:pt x="351" y="174"/>
                </a:cubicBezTo>
                <a:cubicBezTo>
                  <a:pt x="332" y="169"/>
                  <a:pt x="312" y="165"/>
                  <a:pt x="293" y="160"/>
                </a:cubicBezTo>
                <a:cubicBezTo>
                  <a:pt x="286" y="159"/>
                  <a:pt x="281" y="152"/>
                  <a:pt x="281" y="144"/>
                </a:cubicBezTo>
                <a:cubicBezTo>
                  <a:pt x="281" y="141"/>
                  <a:pt x="281" y="138"/>
                  <a:pt x="281" y="135"/>
                </a:cubicBezTo>
                <a:cubicBezTo>
                  <a:pt x="281" y="127"/>
                  <a:pt x="287" y="122"/>
                  <a:pt x="294" y="122"/>
                </a:cubicBezTo>
                <a:cubicBezTo>
                  <a:pt x="332" y="124"/>
                  <a:pt x="371" y="126"/>
                  <a:pt x="410" y="129"/>
                </a:cubicBezTo>
                <a:cubicBezTo>
                  <a:pt x="417" y="129"/>
                  <a:pt x="418" y="133"/>
                  <a:pt x="412" y="138"/>
                </a:cubicBezTo>
                <a:cubicBezTo>
                  <a:pt x="399" y="148"/>
                  <a:pt x="387" y="158"/>
                  <a:pt x="374" y="168"/>
                </a:cubicBezTo>
                <a:close/>
                <a:moveTo>
                  <a:pt x="535" y="206"/>
                </a:moveTo>
                <a:cubicBezTo>
                  <a:pt x="535" y="213"/>
                  <a:pt x="530" y="218"/>
                  <a:pt x="523" y="216"/>
                </a:cubicBezTo>
                <a:cubicBezTo>
                  <a:pt x="483" y="206"/>
                  <a:pt x="442" y="195"/>
                  <a:pt x="402" y="186"/>
                </a:cubicBezTo>
                <a:cubicBezTo>
                  <a:pt x="395" y="184"/>
                  <a:pt x="395" y="179"/>
                  <a:pt x="401" y="174"/>
                </a:cubicBezTo>
                <a:cubicBezTo>
                  <a:pt x="415" y="163"/>
                  <a:pt x="430" y="151"/>
                  <a:pt x="444" y="140"/>
                </a:cubicBezTo>
                <a:cubicBezTo>
                  <a:pt x="450" y="135"/>
                  <a:pt x="461" y="132"/>
                  <a:pt x="468" y="132"/>
                </a:cubicBezTo>
                <a:cubicBezTo>
                  <a:pt x="486" y="134"/>
                  <a:pt x="504" y="135"/>
                  <a:pt x="523" y="137"/>
                </a:cubicBezTo>
                <a:cubicBezTo>
                  <a:pt x="530" y="137"/>
                  <a:pt x="535" y="143"/>
                  <a:pt x="535" y="151"/>
                </a:cubicBezTo>
                <a:cubicBezTo>
                  <a:pt x="535" y="169"/>
                  <a:pt x="535" y="188"/>
                  <a:pt x="535" y="206"/>
                </a:cubicBezTo>
                <a:close/>
                <a:moveTo>
                  <a:pt x="535" y="101"/>
                </a:moveTo>
                <a:cubicBezTo>
                  <a:pt x="535" y="109"/>
                  <a:pt x="530" y="114"/>
                  <a:pt x="523" y="113"/>
                </a:cubicBezTo>
                <a:cubicBezTo>
                  <a:pt x="513" y="113"/>
                  <a:pt x="504" y="112"/>
                  <a:pt x="494" y="111"/>
                </a:cubicBezTo>
                <a:cubicBezTo>
                  <a:pt x="487" y="111"/>
                  <a:pt x="486" y="107"/>
                  <a:pt x="492" y="102"/>
                </a:cubicBezTo>
                <a:cubicBezTo>
                  <a:pt x="503" y="94"/>
                  <a:pt x="514" y="85"/>
                  <a:pt x="525" y="77"/>
                </a:cubicBezTo>
                <a:cubicBezTo>
                  <a:pt x="531" y="72"/>
                  <a:pt x="535" y="74"/>
                  <a:pt x="535" y="81"/>
                </a:cubicBezTo>
                <a:cubicBezTo>
                  <a:pt x="535" y="88"/>
                  <a:pt x="535" y="95"/>
                  <a:pt x="535" y="101"/>
                </a:cubicBezTo>
                <a:close/>
                <a:moveTo>
                  <a:pt x="558" y="78"/>
                </a:moveTo>
                <a:cubicBezTo>
                  <a:pt x="558" y="71"/>
                  <a:pt x="563" y="68"/>
                  <a:pt x="569" y="71"/>
                </a:cubicBezTo>
                <a:cubicBezTo>
                  <a:pt x="595" y="87"/>
                  <a:pt x="621" y="103"/>
                  <a:pt x="647" y="119"/>
                </a:cubicBezTo>
                <a:cubicBezTo>
                  <a:pt x="653" y="123"/>
                  <a:pt x="652" y="125"/>
                  <a:pt x="645" y="125"/>
                </a:cubicBezTo>
                <a:cubicBezTo>
                  <a:pt x="620" y="122"/>
                  <a:pt x="595" y="120"/>
                  <a:pt x="571" y="118"/>
                </a:cubicBezTo>
                <a:cubicBezTo>
                  <a:pt x="564" y="117"/>
                  <a:pt x="558" y="111"/>
                  <a:pt x="558" y="104"/>
                </a:cubicBezTo>
                <a:cubicBezTo>
                  <a:pt x="558" y="95"/>
                  <a:pt x="558" y="86"/>
                  <a:pt x="558" y="78"/>
                </a:cubicBezTo>
                <a:close/>
                <a:moveTo>
                  <a:pt x="570" y="211"/>
                </a:moveTo>
                <a:cubicBezTo>
                  <a:pt x="564" y="214"/>
                  <a:pt x="558" y="211"/>
                  <a:pt x="558" y="204"/>
                </a:cubicBezTo>
                <a:cubicBezTo>
                  <a:pt x="558" y="187"/>
                  <a:pt x="558" y="170"/>
                  <a:pt x="558" y="152"/>
                </a:cubicBezTo>
                <a:cubicBezTo>
                  <a:pt x="558" y="145"/>
                  <a:pt x="564" y="140"/>
                  <a:pt x="571" y="141"/>
                </a:cubicBezTo>
                <a:cubicBezTo>
                  <a:pt x="613" y="144"/>
                  <a:pt x="655" y="148"/>
                  <a:pt x="697" y="153"/>
                </a:cubicBezTo>
                <a:cubicBezTo>
                  <a:pt x="704" y="153"/>
                  <a:pt x="704" y="156"/>
                  <a:pt x="697" y="159"/>
                </a:cubicBezTo>
                <a:cubicBezTo>
                  <a:pt x="655" y="176"/>
                  <a:pt x="613" y="194"/>
                  <a:pt x="570" y="211"/>
                </a:cubicBezTo>
                <a:close/>
                <a:moveTo>
                  <a:pt x="811" y="182"/>
                </a:moveTo>
                <a:cubicBezTo>
                  <a:pt x="811" y="190"/>
                  <a:pt x="806" y="192"/>
                  <a:pt x="800" y="189"/>
                </a:cubicBezTo>
                <a:cubicBezTo>
                  <a:pt x="788" y="181"/>
                  <a:pt x="776" y="173"/>
                  <a:pt x="764" y="166"/>
                </a:cubicBezTo>
                <a:cubicBezTo>
                  <a:pt x="758" y="162"/>
                  <a:pt x="759" y="160"/>
                  <a:pt x="766" y="161"/>
                </a:cubicBezTo>
                <a:cubicBezTo>
                  <a:pt x="777" y="162"/>
                  <a:pt x="787" y="163"/>
                  <a:pt x="798" y="164"/>
                </a:cubicBezTo>
                <a:cubicBezTo>
                  <a:pt x="805" y="165"/>
                  <a:pt x="811" y="172"/>
                  <a:pt x="811" y="179"/>
                </a:cubicBezTo>
                <a:cubicBezTo>
                  <a:pt x="811" y="180"/>
                  <a:pt x="811" y="181"/>
                  <a:pt x="811" y="182"/>
                </a:cubicBezTo>
                <a:close/>
                <a:moveTo>
                  <a:pt x="811" y="101"/>
                </a:moveTo>
                <a:cubicBezTo>
                  <a:pt x="811" y="108"/>
                  <a:pt x="805" y="116"/>
                  <a:pt x="799" y="119"/>
                </a:cubicBezTo>
                <a:cubicBezTo>
                  <a:pt x="788" y="123"/>
                  <a:pt x="777" y="127"/>
                  <a:pt x="766" y="131"/>
                </a:cubicBezTo>
                <a:cubicBezTo>
                  <a:pt x="760" y="134"/>
                  <a:pt x="748" y="136"/>
                  <a:pt x="741" y="135"/>
                </a:cubicBezTo>
                <a:cubicBezTo>
                  <a:pt x="735" y="134"/>
                  <a:pt x="729" y="133"/>
                  <a:pt x="723" y="133"/>
                </a:cubicBezTo>
                <a:cubicBezTo>
                  <a:pt x="716" y="132"/>
                  <a:pt x="705" y="128"/>
                  <a:pt x="700" y="125"/>
                </a:cubicBezTo>
                <a:cubicBezTo>
                  <a:pt x="660" y="100"/>
                  <a:pt x="621" y="75"/>
                  <a:pt x="581" y="51"/>
                </a:cubicBezTo>
                <a:cubicBezTo>
                  <a:pt x="575" y="47"/>
                  <a:pt x="576" y="44"/>
                  <a:pt x="583" y="43"/>
                </a:cubicBezTo>
                <a:cubicBezTo>
                  <a:pt x="655" y="38"/>
                  <a:pt x="726" y="33"/>
                  <a:pt x="798" y="30"/>
                </a:cubicBezTo>
                <a:cubicBezTo>
                  <a:pt x="805" y="29"/>
                  <a:pt x="811" y="35"/>
                  <a:pt x="811" y="42"/>
                </a:cubicBezTo>
                <a:cubicBezTo>
                  <a:pt x="811" y="62"/>
                  <a:pt x="811" y="81"/>
                  <a:pt x="811" y="101"/>
                </a:cubicBezTo>
                <a:close/>
                <a:moveTo>
                  <a:pt x="834" y="41"/>
                </a:moveTo>
                <a:cubicBezTo>
                  <a:pt x="834" y="34"/>
                  <a:pt x="839" y="28"/>
                  <a:pt x="847" y="28"/>
                </a:cubicBezTo>
                <a:cubicBezTo>
                  <a:pt x="914" y="25"/>
                  <a:pt x="981" y="23"/>
                  <a:pt x="1048" y="23"/>
                </a:cubicBezTo>
                <a:cubicBezTo>
                  <a:pt x="1055" y="23"/>
                  <a:pt x="1055" y="25"/>
                  <a:pt x="1049" y="27"/>
                </a:cubicBezTo>
                <a:cubicBezTo>
                  <a:pt x="981" y="50"/>
                  <a:pt x="913" y="75"/>
                  <a:pt x="846" y="101"/>
                </a:cubicBezTo>
                <a:cubicBezTo>
                  <a:pt x="839" y="103"/>
                  <a:pt x="834" y="100"/>
                  <a:pt x="834" y="92"/>
                </a:cubicBezTo>
                <a:cubicBezTo>
                  <a:pt x="834" y="75"/>
                  <a:pt x="834" y="58"/>
                  <a:pt x="834" y="41"/>
                </a:cubicBezTo>
                <a:close/>
                <a:moveTo>
                  <a:pt x="844" y="187"/>
                </a:moveTo>
                <a:cubicBezTo>
                  <a:pt x="838" y="191"/>
                  <a:pt x="833" y="189"/>
                  <a:pt x="833" y="182"/>
                </a:cubicBezTo>
                <a:cubicBezTo>
                  <a:pt x="833" y="175"/>
                  <a:pt x="839" y="170"/>
                  <a:pt x="846" y="171"/>
                </a:cubicBezTo>
                <a:cubicBezTo>
                  <a:pt x="848" y="171"/>
                  <a:pt x="849" y="171"/>
                  <a:pt x="851" y="171"/>
                </a:cubicBezTo>
                <a:cubicBezTo>
                  <a:pt x="858" y="172"/>
                  <a:pt x="859" y="176"/>
                  <a:pt x="853" y="181"/>
                </a:cubicBezTo>
                <a:cubicBezTo>
                  <a:pt x="850" y="183"/>
                  <a:pt x="847" y="185"/>
                  <a:pt x="844" y="187"/>
                </a:cubicBezTo>
                <a:close/>
                <a:moveTo>
                  <a:pt x="902" y="146"/>
                </a:moveTo>
                <a:cubicBezTo>
                  <a:pt x="896" y="150"/>
                  <a:pt x="886" y="153"/>
                  <a:pt x="879" y="152"/>
                </a:cubicBezTo>
                <a:cubicBezTo>
                  <a:pt x="868" y="151"/>
                  <a:pt x="857" y="149"/>
                  <a:pt x="846" y="148"/>
                </a:cubicBezTo>
                <a:cubicBezTo>
                  <a:pt x="839" y="147"/>
                  <a:pt x="834" y="142"/>
                  <a:pt x="834" y="138"/>
                </a:cubicBezTo>
                <a:cubicBezTo>
                  <a:pt x="834" y="133"/>
                  <a:pt x="839" y="127"/>
                  <a:pt x="846" y="125"/>
                </a:cubicBezTo>
                <a:cubicBezTo>
                  <a:pt x="903" y="103"/>
                  <a:pt x="961" y="82"/>
                  <a:pt x="1019" y="61"/>
                </a:cubicBezTo>
                <a:cubicBezTo>
                  <a:pt x="1025" y="59"/>
                  <a:pt x="1026" y="60"/>
                  <a:pt x="1020" y="64"/>
                </a:cubicBezTo>
                <a:cubicBezTo>
                  <a:pt x="981" y="91"/>
                  <a:pt x="942" y="119"/>
                  <a:pt x="902" y="146"/>
                </a:cubicBezTo>
                <a:close/>
                <a:moveTo>
                  <a:pt x="1089" y="172"/>
                </a:moveTo>
                <a:cubicBezTo>
                  <a:pt x="1089" y="179"/>
                  <a:pt x="1083" y="184"/>
                  <a:pt x="1076" y="183"/>
                </a:cubicBezTo>
                <a:cubicBezTo>
                  <a:pt x="1030" y="175"/>
                  <a:pt x="983" y="167"/>
                  <a:pt x="937" y="160"/>
                </a:cubicBezTo>
                <a:cubicBezTo>
                  <a:pt x="929" y="159"/>
                  <a:pt x="929" y="155"/>
                  <a:pt x="934" y="151"/>
                </a:cubicBezTo>
                <a:cubicBezTo>
                  <a:pt x="982" y="117"/>
                  <a:pt x="1030" y="84"/>
                  <a:pt x="1078" y="51"/>
                </a:cubicBezTo>
                <a:cubicBezTo>
                  <a:pt x="1084" y="47"/>
                  <a:pt x="1089" y="49"/>
                  <a:pt x="1089" y="57"/>
                </a:cubicBezTo>
                <a:cubicBezTo>
                  <a:pt x="1089" y="95"/>
                  <a:pt x="1089" y="133"/>
                  <a:pt x="1089" y="172"/>
                </a:cubicBezTo>
                <a:close/>
                <a:moveTo>
                  <a:pt x="1125" y="183"/>
                </a:moveTo>
                <a:cubicBezTo>
                  <a:pt x="1118" y="184"/>
                  <a:pt x="1112" y="179"/>
                  <a:pt x="1112" y="172"/>
                </a:cubicBezTo>
                <a:cubicBezTo>
                  <a:pt x="1112" y="133"/>
                  <a:pt x="1112" y="95"/>
                  <a:pt x="1112" y="57"/>
                </a:cubicBezTo>
                <a:cubicBezTo>
                  <a:pt x="1112" y="49"/>
                  <a:pt x="1117" y="47"/>
                  <a:pt x="1123" y="51"/>
                </a:cubicBezTo>
                <a:cubicBezTo>
                  <a:pt x="1171" y="84"/>
                  <a:pt x="1219" y="117"/>
                  <a:pt x="1267" y="151"/>
                </a:cubicBezTo>
                <a:cubicBezTo>
                  <a:pt x="1273" y="155"/>
                  <a:pt x="1272" y="159"/>
                  <a:pt x="1265" y="160"/>
                </a:cubicBezTo>
                <a:cubicBezTo>
                  <a:pt x="1218" y="167"/>
                  <a:pt x="1171" y="175"/>
                  <a:pt x="1125" y="183"/>
                </a:cubicBezTo>
                <a:close/>
                <a:moveTo>
                  <a:pt x="1368" y="182"/>
                </a:moveTo>
                <a:cubicBezTo>
                  <a:pt x="1368" y="189"/>
                  <a:pt x="1363" y="191"/>
                  <a:pt x="1357" y="187"/>
                </a:cubicBezTo>
                <a:cubicBezTo>
                  <a:pt x="1354" y="185"/>
                  <a:pt x="1351" y="183"/>
                  <a:pt x="1348" y="181"/>
                </a:cubicBezTo>
                <a:cubicBezTo>
                  <a:pt x="1342" y="176"/>
                  <a:pt x="1343" y="172"/>
                  <a:pt x="1350" y="171"/>
                </a:cubicBezTo>
                <a:cubicBezTo>
                  <a:pt x="1352" y="171"/>
                  <a:pt x="1353" y="171"/>
                  <a:pt x="1355" y="171"/>
                </a:cubicBezTo>
                <a:cubicBezTo>
                  <a:pt x="1362" y="170"/>
                  <a:pt x="1368" y="175"/>
                  <a:pt x="1368" y="182"/>
                </a:cubicBezTo>
                <a:close/>
                <a:moveTo>
                  <a:pt x="1368" y="138"/>
                </a:moveTo>
                <a:cubicBezTo>
                  <a:pt x="1368" y="142"/>
                  <a:pt x="1362" y="147"/>
                  <a:pt x="1355" y="148"/>
                </a:cubicBezTo>
                <a:cubicBezTo>
                  <a:pt x="1344" y="149"/>
                  <a:pt x="1333" y="151"/>
                  <a:pt x="1323" y="152"/>
                </a:cubicBezTo>
                <a:cubicBezTo>
                  <a:pt x="1316" y="153"/>
                  <a:pt x="1305" y="150"/>
                  <a:pt x="1299" y="146"/>
                </a:cubicBezTo>
                <a:cubicBezTo>
                  <a:pt x="1260" y="119"/>
                  <a:pt x="1220" y="91"/>
                  <a:pt x="1181" y="64"/>
                </a:cubicBezTo>
                <a:cubicBezTo>
                  <a:pt x="1175" y="60"/>
                  <a:pt x="1176" y="59"/>
                  <a:pt x="1183" y="61"/>
                </a:cubicBezTo>
                <a:cubicBezTo>
                  <a:pt x="1240" y="82"/>
                  <a:pt x="1298" y="103"/>
                  <a:pt x="1355" y="125"/>
                </a:cubicBezTo>
                <a:cubicBezTo>
                  <a:pt x="1362" y="127"/>
                  <a:pt x="1368" y="133"/>
                  <a:pt x="1368" y="138"/>
                </a:cubicBezTo>
                <a:close/>
                <a:moveTo>
                  <a:pt x="1368" y="92"/>
                </a:moveTo>
                <a:cubicBezTo>
                  <a:pt x="1368" y="100"/>
                  <a:pt x="1362" y="103"/>
                  <a:pt x="1355" y="101"/>
                </a:cubicBezTo>
                <a:cubicBezTo>
                  <a:pt x="1288" y="75"/>
                  <a:pt x="1220" y="50"/>
                  <a:pt x="1153" y="27"/>
                </a:cubicBezTo>
                <a:cubicBezTo>
                  <a:pt x="1146" y="25"/>
                  <a:pt x="1146" y="23"/>
                  <a:pt x="1154" y="23"/>
                </a:cubicBezTo>
                <a:cubicBezTo>
                  <a:pt x="1221" y="23"/>
                  <a:pt x="1288" y="25"/>
                  <a:pt x="1355" y="28"/>
                </a:cubicBezTo>
                <a:cubicBezTo>
                  <a:pt x="1362" y="28"/>
                  <a:pt x="1368" y="34"/>
                  <a:pt x="1368" y="41"/>
                </a:cubicBezTo>
                <a:cubicBezTo>
                  <a:pt x="1368" y="58"/>
                  <a:pt x="1368" y="75"/>
                  <a:pt x="1368" y="92"/>
                </a:cubicBezTo>
                <a:close/>
                <a:moveTo>
                  <a:pt x="1401" y="189"/>
                </a:moveTo>
                <a:cubicBezTo>
                  <a:pt x="1395" y="192"/>
                  <a:pt x="1390" y="190"/>
                  <a:pt x="1390" y="182"/>
                </a:cubicBezTo>
                <a:cubicBezTo>
                  <a:pt x="1390" y="181"/>
                  <a:pt x="1390" y="180"/>
                  <a:pt x="1390" y="179"/>
                </a:cubicBezTo>
                <a:cubicBezTo>
                  <a:pt x="1390" y="172"/>
                  <a:pt x="1396" y="165"/>
                  <a:pt x="1403" y="164"/>
                </a:cubicBezTo>
                <a:cubicBezTo>
                  <a:pt x="1414" y="163"/>
                  <a:pt x="1424" y="162"/>
                  <a:pt x="1435" y="161"/>
                </a:cubicBezTo>
                <a:cubicBezTo>
                  <a:pt x="1442" y="160"/>
                  <a:pt x="1443" y="162"/>
                  <a:pt x="1437" y="166"/>
                </a:cubicBezTo>
                <a:cubicBezTo>
                  <a:pt x="1425" y="173"/>
                  <a:pt x="1413" y="181"/>
                  <a:pt x="1401" y="189"/>
                </a:cubicBezTo>
                <a:close/>
                <a:moveTo>
                  <a:pt x="1460" y="135"/>
                </a:moveTo>
                <a:cubicBezTo>
                  <a:pt x="1453" y="136"/>
                  <a:pt x="1441" y="134"/>
                  <a:pt x="1435" y="131"/>
                </a:cubicBezTo>
                <a:cubicBezTo>
                  <a:pt x="1424" y="127"/>
                  <a:pt x="1413" y="123"/>
                  <a:pt x="1403" y="119"/>
                </a:cubicBezTo>
                <a:cubicBezTo>
                  <a:pt x="1396" y="116"/>
                  <a:pt x="1390" y="108"/>
                  <a:pt x="1390" y="101"/>
                </a:cubicBezTo>
                <a:cubicBezTo>
                  <a:pt x="1390" y="81"/>
                  <a:pt x="1390" y="62"/>
                  <a:pt x="1390" y="42"/>
                </a:cubicBezTo>
                <a:cubicBezTo>
                  <a:pt x="1390" y="35"/>
                  <a:pt x="1396" y="29"/>
                  <a:pt x="1403" y="30"/>
                </a:cubicBezTo>
                <a:cubicBezTo>
                  <a:pt x="1475" y="33"/>
                  <a:pt x="1546" y="38"/>
                  <a:pt x="1618" y="43"/>
                </a:cubicBezTo>
                <a:cubicBezTo>
                  <a:pt x="1625" y="44"/>
                  <a:pt x="1626" y="47"/>
                  <a:pt x="1620" y="51"/>
                </a:cubicBezTo>
                <a:cubicBezTo>
                  <a:pt x="1581" y="75"/>
                  <a:pt x="1541" y="100"/>
                  <a:pt x="1502" y="125"/>
                </a:cubicBezTo>
                <a:cubicBezTo>
                  <a:pt x="1496" y="128"/>
                  <a:pt x="1485" y="132"/>
                  <a:pt x="1478" y="133"/>
                </a:cubicBezTo>
                <a:cubicBezTo>
                  <a:pt x="1472" y="133"/>
                  <a:pt x="1466" y="134"/>
                  <a:pt x="1460" y="135"/>
                </a:cubicBezTo>
                <a:close/>
                <a:moveTo>
                  <a:pt x="1643" y="204"/>
                </a:moveTo>
                <a:cubicBezTo>
                  <a:pt x="1643" y="211"/>
                  <a:pt x="1638" y="214"/>
                  <a:pt x="1631" y="211"/>
                </a:cubicBezTo>
                <a:cubicBezTo>
                  <a:pt x="1589" y="194"/>
                  <a:pt x="1546" y="176"/>
                  <a:pt x="1504" y="159"/>
                </a:cubicBezTo>
                <a:cubicBezTo>
                  <a:pt x="1497" y="156"/>
                  <a:pt x="1498" y="153"/>
                  <a:pt x="1505" y="153"/>
                </a:cubicBezTo>
                <a:cubicBezTo>
                  <a:pt x="1547" y="148"/>
                  <a:pt x="1589" y="144"/>
                  <a:pt x="1630" y="141"/>
                </a:cubicBezTo>
                <a:cubicBezTo>
                  <a:pt x="1638" y="140"/>
                  <a:pt x="1643" y="145"/>
                  <a:pt x="1643" y="152"/>
                </a:cubicBezTo>
                <a:cubicBezTo>
                  <a:pt x="1643" y="170"/>
                  <a:pt x="1643" y="187"/>
                  <a:pt x="1643" y="204"/>
                </a:cubicBezTo>
                <a:close/>
                <a:moveTo>
                  <a:pt x="1643" y="104"/>
                </a:moveTo>
                <a:cubicBezTo>
                  <a:pt x="1643" y="111"/>
                  <a:pt x="1638" y="117"/>
                  <a:pt x="1630" y="118"/>
                </a:cubicBezTo>
                <a:cubicBezTo>
                  <a:pt x="1606" y="120"/>
                  <a:pt x="1581" y="122"/>
                  <a:pt x="1557" y="125"/>
                </a:cubicBezTo>
                <a:cubicBezTo>
                  <a:pt x="1550" y="125"/>
                  <a:pt x="1549" y="123"/>
                  <a:pt x="1555" y="119"/>
                </a:cubicBezTo>
                <a:cubicBezTo>
                  <a:pt x="1581" y="103"/>
                  <a:pt x="1607" y="87"/>
                  <a:pt x="1633" y="71"/>
                </a:cubicBezTo>
                <a:cubicBezTo>
                  <a:pt x="1638" y="68"/>
                  <a:pt x="1643" y="71"/>
                  <a:pt x="1643" y="78"/>
                </a:cubicBezTo>
                <a:cubicBezTo>
                  <a:pt x="1643" y="86"/>
                  <a:pt x="1643" y="95"/>
                  <a:pt x="1643" y="104"/>
                </a:cubicBezTo>
                <a:close/>
                <a:moveTo>
                  <a:pt x="1666" y="81"/>
                </a:moveTo>
                <a:cubicBezTo>
                  <a:pt x="1666" y="74"/>
                  <a:pt x="1671" y="72"/>
                  <a:pt x="1677" y="77"/>
                </a:cubicBezTo>
                <a:cubicBezTo>
                  <a:pt x="1687" y="85"/>
                  <a:pt x="1698" y="93"/>
                  <a:pt x="1709" y="102"/>
                </a:cubicBezTo>
                <a:cubicBezTo>
                  <a:pt x="1715" y="106"/>
                  <a:pt x="1714" y="111"/>
                  <a:pt x="1707" y="111"/>
                </a:cubicBezTo>
                <a:cubicBezTo>
                  <a:pt x="1697" y="112"/>
                  <a:pt x="1688" y="113"/>
                  <a:pt x="1679" y="113"/>
                </a:cubicBezTo>
                <a:cubicBezTo>
                  <a:pt x="1672" y="114"/>
                  <a:pt x="1666" y="109"/>
                  <a:pt x="1666" y="101"/>
                </a:cubicBezTo>
                <a:cubicBezTo>
                  <a:pt x="1666" y="95"/>
                  <a:pt x="1666" y="88"/>
                  <a:pt x="1666" y="81"/>
                </a:cubicBezTo>
                <a:close/>
                <a:moveTo>
                  <a:pt x="1678" y="216"/>
                </a:moveTo>
                <a:cubicBezTo>
                  <a:pt x="1671" y="218"/>
                  <a:pt x="1666" y="213"/>
                  <a:pt x="1666" y="206"/>
                </a:cubicBezTo>
                <a:cubicBezTo>
                  <a:pt x="1666" y="188"/>
                  <a:pt x="1666" y="169"/>
                  <a:pt x="1666" y="151"/>
                </a:cubicBezTo>
                <a:cubicBezTo>
                  <a:pt x="1666" y="143"/>
                  <a:pt x="1672" y="137"/>
                  <a:pt x="1679" y="137"/>
                </a:cubicBezTo>
                <a:cubicBezTo>
                  <a:pt x="1697" y="135"/>
                  <a:pt x="1715" y="134"/>
                  <a:pt x="1734" y="132"/>
                </a:cubicBezTo>
                <a:cubicBezTo>
                  <a:pt x="1741" y="132"/>
                  <a:pt x="1751" y="135"/>
                  <a:pt x="1757" y="140"/>
                </a:cubicBezTo>
                <a:cubicBezTo>
                  <a:pt x="1772" y="151"/>
                  <a:pt x="1786" y="163"/>
                  <a:pt x="1801" y="174"/>
                </a:cubicBezTo>
                <a:cubicBezTo>
                  <a:pt x="1806" y="179"/>
                  <a:pt x="1806" y="184"/>
                  <a:pt x="1799" y="186"/>
                </a:cubicBezTo>
                <a:cubicBezTo>
                  <a:pt x="1759" y="195"/>
                  <a:pt x="1718" y="206"/>
                  <a:pt x="1678" y="216"/>
                </a:cubicBezTo>
                <a:close/>
                <a:moveTo>
                  <a:pt x="1921" y="230"/>
                </a:moveTo>
                <a:cubicBezTo>
                  <a:pt x="1921" y="238"/>
                  <a:pt x="1916" y="240"/>
                  <a:pt x="1910" y="235"/>
                </a:cubicBezTo>
                <a:cubicBezTo>
                  <a:pt x="1897" y="224"/>
                  <a:pt x="1884" y="214"/>
                  <a:pt x="1871" y="204"/>
                </a:cubicBezTo>
                <a:cubicBezTo>
                  <a:pt x="1866" y="199"/>
                  <a:pt x="1866" y="194"/>
                  <a:pt x="1873" y="192"/>
                </a:cubicBezTo>
                <a:cubicBezTo>
                  <a:pt x="1885" y="190"/>
                  <a:pt x="1897" y="187"/>
                  <a:pt x="1908" y="184"/>
                </a:cubicBezTo>
                <a:cubicBezTo>
                  <a:pt x="1915" y="183"/>
                  <a:pt x="1921" y="187"/>
                  <a:pt x="1921" y="195"/>
                </a:cubicBezTo>
                <a:cubicBezTo>
                  <a:pt x="1921" y="207"/>
                  <a:pt x="1921" y="218"/>
                  <a:pt x="1921" y="230"/>
                </a:cubicBezTo>
                <a:close/>
                <a:moveTo>
                  <a:pt x="1921" y="144"/>
                </a:moveTo>
                <a:cubicBezTo>
                  <a:pt x="1921" y="152"/>
                  <a:pt x="1915" y="159"/>
                  <a:pt x="1908" y="160"/>
                </a:cubicBezTo>
                <a:cubicBezTo>
                  <a:pt x="1889" y="165"/>
                  <a:pt x="1869" y="169"/>
                  <a:pt x="1850" y="174"/>
                </a:cubicBezTo>
                <a:cubicBezTo>
                  <a:pt x="1843" y="175"/>
                  <a:pt x="1833" y="173"/>
                  <a:pt x="1827" y="168"/>
                </a:cubicBezTo>
                <a:cubicBezTo>
                  <a:pt x="1814" y="158"/>
                  <a:pt x="1802" y="148"/>
                  <a:pt x="1789" y="138"/>
                </a:cubicBezTo>
                <a:cubicBezTo>
                  <a:pt x="1783" y="133"/>
                  <a:pt x="1784" y="129"/>
                  <a:pt x="1791" y="128"/>
                </a:cubicBezTo>
                <a:cubicBezTo>
                  <a:pt x="1830" y="126"/>
                  <a:pt x="1869" y="124"/>
                  <a:pt x="1908" y="122"/>
                </a:cubicBezTo>
                <a:cubicBezTo>
                  <a:pt x="1915" y="122"/>
                  <a:pt x="1921" y="127"/>
                  <a:pt x="1921" y="135"/>
                </a:cubicBezTo>
                <a:cubicBezTo>
                  <a:pt x="1921" y="138"/>
                  <a:pt x="1921" y="141"/>
                  <a:pt x="1921" y="144"/>
                </a:cubicBezTo>
                <a:close/>
                <a:moveTo>
                  <a:pt x="1921" y="87"/>
                </a:moveTo>
                <a:cubicBezTo>
                  <a:pt x="1921" y="93"/>
                  <a:pt x="1915" y="99"/>
                  <a:pt x="1908" y="99"/>
                </a:cubicBezTo>
                <a:cubicBezTo>
                  <a:pt x="1860" y="101"/>
                  <a:pt x="1812" y="104"/>
                  <a:pt x="1764" y="107"/>
                </a:cubicBezTo>
                <a:cubicBezTo>
                  <a:pt x="1757" y="108"/>
                  <a:pt x="1747" y="104"/>
                  <a:pt x="1741" y="99"/>
                </a:cubicBezTo>
                <a:cubicBezTo>
                  <a:pt x="1723" y="85"/>
                  <a:pt x="1704" y="71"/>
                  <a:pt x="1686" y="57"/>
                </a:cubicBezTo>
                <a:cubicBezTo>
                  <a:pt x="1680" y="52"/>
                  <a:pt x="1681" y="49"/>
                  <a:pt x="1689" y="50"/>
                </a:cubicBezTo>
                <a:cubicBezTo>
                  <a:pt x="1762" y="56"/>
                  <a:pt x="1835" y="64"/>
                  <a:pt x="1908" y="74"/>
                </a:cubicBezTo>
                <a:cubicBezTo>
                  <a:pt x="1915" y="74"/>
                  <a:pt x="1921" y="81"/>
                  <a:pt x="1921" y="87"/>
                </a:cubicBezTo>
                <a:close/>
                <a:moveTo>
                  <a:pt x="1943" y="88"/>
                </a:moveTo>
                <a:cubicBezTo>
                  <a:pt x="1943" y="83"/>
                  <a:pt x="1949" y="79"/>
                  <a:pt x="1956" y="80"/>
                </a:cubicBezTo>
                <a:cubicBezTo>
                  <a:pt x="1985" y="84"/>
                  <a:pt x="2014" y="88"/>
                  <a:pt x="2043" y="92"/>
                </a:cubicBezTo>
                <a:cubicBezTo>
                  <a:pt x="2050" y="93"/>
                  <a:pt x="2050" y="94"/>
                  <a:pt x="2043" y="95"/>
                </a:cubicBezTo>
                <a:cubicBezTo>
                  <a:pt x="2014" y="95"/>
                  <a:pt x="1985" y="96"/>
                  <a:pt x="1956" y="97"/>
                </a:cubicBezTo>
                <a:cubicBezTo>
                  <a:pt x="1949" y="97"/>
                  <a:pt x="1943" y="93"/>
                  <a:pt x="1943" y="88"/>
                </a:cubicBezTo>
                <a:close/>
                <a:moveTo>
                  <a:pt x="1943" y="134"/>
                </a:moveTo>
                <a:cubicBezTo>
                  <a:pt x="1943" y="127"/>
                  <a:pt x="1949" y="121"/>
                  <a:pt x="1956" y="120"/>
                </a:cubicBezTo>
                <a:cubicBezTo>
                  <a:pt x="2006" y="118"/>
                  <a:pt x="2056" y="117"/>
                  <a:pt x="2106" y="116"/>
                </a:cubicBezTo>
                <a:cubicBezTo>
                  <a:pt x="2113" y="116"/>
                  <a:pt x="2113" y="117"/>
                  <a:pt x="2106" y="119"/>
                </a:cubicBezTo>
                <a:cubicBezTo>
                  <a:pt x="2056" y="128"/>
                  <a:pt x="2006" y="139"/>
                  <a:pt x="1955" y="150"/>
                </a:cubicBezTo>
                <a:cubicBezTo>
                  <a:pt x="1948" y="151"/>
                  <a:pt x="1943" y="147"/>
                  <a:pt x="1943" y="140"/>
                </a:cubicBezTo>
                <a:cubicBezTo>
                  <a:pt x="1943" y="138"/>
                  <a:pt x="1943" y="136"/>
                  <a:pt x="1943" y="134"/>
                </a:cubicBezTo>
                <a:close/>
                <a:moveTo>
                  <a:pt x="1953" y="238"/>
                </a:moveTo>
                <a:cubicBezTo>
                  <a:pt x="1948" y="241"/>
                  <a:pt x="1943" y="238"/>
                  <a:pt x="1943" y="231"/>
                </a:cubicBezTo>
                <a:cubicBezTo>
                  <a:pt x="1943" y="217"/>
                  <a:pt x="1943" y="203"/>
                  <a:pt x="1943" y="189"/>
                </a:cubicBezTo>
                <a:cubicBezTo>
                  <a:pt x="1943" y="182"/>
                  <a:pt x="1948" y="175"/>
                  <a:pt x="1955" y="174"/>
                </a:cubicBezTo>
                <a:cubicBezTo>
                  <a:pt x="2008" y="162"/>
                  <a:pt x="2060" y="152"/>
                  <a:pt x="2112" y="142"/>
                </a:cubicBezTo>
                <a:cubicBezTo>
                  <a:pt x="2119" y="140"/>
                  <a:pt x="2120" y="142"/>
                  <a:pt x="2114" y="145"/>
                </a:cubicBezTo>
                <a:cubicBezTo>
                  <a:pt x="2061" y="175"/>
                  <a:pt x="2007" y="206"/>
                  <a:pt x="1953" y="238"/>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pic>
        <p:nvPicPr>
          <p:cNvPr id="17" name="Picture 16"/>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32811" y="316985"/>
            <a:ext cx="544787" cy="785218"/>
          </a:xfrm>
          <a:prstGeom prst="rect">
            <a:avLst/>
          </a:prstGeom>
        </p:spPr>
      </p:pic>
      <p:pic>
        <p:nvPicPr>
          <p:cNvPr id="18" name="Picture 2"/>
          <p:cNvPicPr>
            <a:picLocks noChangeAspect="1" noChangeArrowheads="1"/>
          </p:cNvPicPr>
          <p:nvPr userDrawn="1"/>
        </p:nvPicPr>
        <p:blipFill>
          <a:blip r:embed="rId9" cstate="print">
            <a:extLst>
              <a:ext uri="{28A0092B-C50C-407E-A947-70E740481C1C}">
                <a14:useLocalDpi xmlns:a14="http://schemas.microsoft.com/office/drawing/2010/main" val="0"/>
              </a:ext>
            </a:extLst>
          </a:blip>
          <a:stretch>
            <a:fillRect/>
          </a:stretch>
        </p:blipFill>
        <p:spPr bwMode="auto">
          <a:xfrm>
            <a:off x="9781445" y="191674"/>
            <a:ext cx="631571" cy="631660"/>
          </a:xfrm>
          <a:prstGeom prst="rect">
            <a:avLst/>
          </a:prstGeom>
          <a:noFill/>
          <a:ln>
            <a:noFill/>
          </a:ln>
          <a:extLst/>
        </p:spPr>
      </p:pic>
      <p:pic>
        <p:nvPicPr>
          <p:cNvPr id="28" name="Picture 2" descr="http://upload.wikimedia.org/wikipedia/commons/thumb/2/27/PHP-logo.svg/1000px-PHP-logo.svg.png"/>
          <p:cNvPicPr>
            <a:picLocks noChangeAspect="1" noChangeArrowheads="1"/>
          </p:cNvPicPr>
          <p:nvPr/>
        </p:nvPicPr>
        <p:blipFill>
          <a:blip r:embed="rId10" cstate="print">
            <a:lum bright="70000" contrast="-70000"/>
            <a:extLst>
              <a:ext uri="{28A0092B-C50C-407E-A947-70E740481C1C}">
                <a14:useLocalDpi xmlns:a14="http://schemas.microsoft.com/office/drawing/2010/main" val="0"/>
              </a:ext>
            </a:extLst>
          </a:blip>
          <a:srcRect/>
          <a:stretch>
            <a:fillRect/>
          </a:stretch>
        </p:blipFill>
        <p:spPr bwMode="auto">
          <a:xfrm>
            <a:off x="5915749" y="3156641"/>
            <a:ext cx="758444" cy="401975"/>
          </a:xfrm>
          <a:prstGeom prst="rect">
            <a:avLst/>
          </a:prstGeom>
          <a:noFill/>
          <a:extLst/>
        </p:spPr>
      </p:pic>
      <p:pic>
        <p:nvPicPr>
          <p:cNvPr id="31" name="Picture 2">
            <a:hlinkClick r:id="rId11"/>
          </p:cNvPr>
          <p:cNvPicPr>
            <a:picLocks noChangeAspect="1" noChangeArrowheads="1"/>
          </p:cNvPicPr>
          <p:nvPr/>
        </p:nvPicPr>
        <p:blipFill>
          <a:blip r:embed="rId12" cstate="print">
            <a:biLevel thresh="25000"/>
            <a:extLst>
              <a:ext uri="{28A0092B-C50C-407E-A947-70E740481C1C}">
                <a14:useLocalDpi xmlns:a14="http://schemas.microsoft.com/office/drawing/2010/main" val="0"/>
              </a:ext>
            </a:extLst>
          </a:blip>
          <a:stretch>
            <a:fillRect/>
          </a:stretch>
        </p:blipFill>
        <p:spPr bwMode="auto">
          <a:xfrm>
            <a:off x="6072009" y="611584"/>
            <a:ext cx="1441603" cy="493344"/>
          </a:xfrm>
          <a:prstGeom prst="rect">
            <a:avLst/>
          </a:prstGeom>
          <a:noFill/>
          <a:extLst/>
        </p:spPr>
      </p:pic>
      <p:pic>
        <p:nvPicPr>
          <p:cNvPr id="34" name="Picture 2" descr="C:\Users\claudette\Documents\2011 Jobs\Kelly Young\02-Crystal\graphics\java.png"/>
          <p:cNvPicPr>
            <a:picLocks noChangeAspect="1" noChangeArrowheads="1"/>
          </p:cNvPicPr>
          <p:nvPr/>
        </p:nvPicPr>
        <p:blipFill>
          <a:blip r:embed="rId13" cstate="print">
            <a:biLevel thresh="50000"/>
            <a:extLst>
              <a:ext uri="{28A0092B-C50C-407E-A947-70E740481C1C}">
                <a14:useLocalDpi xmlns:a14="http://schemas.microsoft.com/office/drawing/2010/main" val="0"/>
              </a:ext>
            </a:extLst>
          </a:blip>
          <a:srcRect/>
          <a:stretch>
            <a:fillRect/>
          </a:stretch>
        </p:blipFill>
        <p:spPr bwMode="auto">
          <a:xfrm>
            <a:off x="11274685" y="3324443"/>
            <a:ext cx="469103" cy="862878"/>
          </a:xfrm>
          <a:prstGeom prst="rect">
            <a:avLst/>
          </a:prstGeom>
          <a:noFill/>
          <a:extLst/>
        </p:spPr>
      </p:pic>
      <p:pic>
        <p:nvPicPr>
          <p:cNvPr id="2" name="Picture 1"/>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6626216" y="252799"/>
            <a:ext cx="1774792" cy="408332"/>
          </a:xfrm>
          <a:prstGeom prst="rect">
            <a:avLst/>
          </a:prstGeom>
        </p:spPr>
      </p:pic>
    </p:spTree>
    <p:extLst>
      <p:ext uri="{BB962C8B-B14F-4D97-AF65-F5344CB8AC3E}">
        <p14:creationId xmlns:p14="http://schemas.microsoft.com/office/powerpoint/2010/main" val="37827526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2_Title Slide Photo">
    <p:bg>
      <p:bgPr>
        <a:solidFill>
          <a:srgbClr val="00B294"/>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5442627" y="0"/>
            <a:ext cx="6857664" cy="6858000"/>
          </a:xfrm>
          <a:prstGeom prst="rect">
            <a:avLst/>
          </a:prstGeom>
        </p:spPr>
      </p:pic>
      <p:sp>
        <p:nvSpPr>
          <p:cNvPr id="9" name="Title 1"/>
          <p:cNvSpPr>
            <a:spLocks noGrp="1"/>
          </p:cNvSpPr>
          <p:nvPr>
            <p:ph type="title" hasCustomPrompt="1"/>
          </p:nvPr>
        </p:nvSpPr>
        <p:spPr bwMode="ltGray">
          <a:xfrm>
            <a:off x="267683" y="2084173"/>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4146244"/>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13" name="Picture 12"/>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10346542" y="4146245"/>
            <a:ext cx="1196593" cy="436750"/>
          </a:xfrm>
          <a:prstGeom prst="rect">
            <a:avLst/>
          </a:prstGeom>
        </p:spPr>
      </p:pic>
      <p:pic>
        <p:nvPicPr>
          <p:cNvPr id="19" name="Picture 18"/>
          <p:cNvPicPr>
            <a:picLocks noChangeAspect="1"/>
          </p:cNvPicPr>
          <p:nvPr userDrawn="1"/>
        </p:nvPicPr>
        <p:blipFill>
          <a:blip r:embed="rId4" cstate="print">
            <a:lum bright="70000" contrast="-70000"/>
            <a:extLst>
              <a:ext uri="{BEBA8EAE-BF5A-486C-A8C5-ECC9F3942E4B}">
                <a14:imgProps xmlns:a14="http://schemas.microsoft.com/office/drawing/2010/main">
                  <a14:imgLayer r:embed="rId5">
                    <a14:imgEffect>
                      <a14:artisticPhotocopy/>
                    </a14:imgEffect>
                    <a14:imgEffect>
                      <a14:colorTemperature colorTemp="6625"/>
                    </a14:imgEffect>
                    <a14:imgEffect>
                      <a14:saturation sat="25000"/>
                    </a14:imgEffect>
                  </a14:imgLayer>
                </a14:imgProps>
              </a:ext>
              <a:ext uri="{28A0092B-C50C-407E-A947-70E740481C1C}">
                <a14:useLocalDpi xmlns:a14="http://schemas.microsoft.com/office/drawing/2010/main" val="0"/>
              </a:ext>
            </a:extLst>
          </a:blip>
          <a:stretch>
            <a:fillRect/>
          </a:stretch>
        </p:blipFill>
        <p:spPr>
          <a:xfrm>
            <a:off x="6349032" y="1709207"/>
            <a:ext cx="733926" cy="861876"/>
          </a:xfrm>
          <a:prstGeom prst="rect">
            <a:avLst/>
          </a:prstGeom>
        </p:spPr>
      </p:pic>
      <p:grpSp>
        <p:nvGrpSpPr>
          <p:cNvPr id="20" name="Group 19"/>
          <p:cNvGrpSpPr/>
          <p:nvPr userDrawn="1"/>
        </p:nvGrpSpPr>
        <p:grpSpPr>
          <a:xfrm>
            <a:off x="7621556" y="4620679"/>
            <a:ext cx="590250" cy="690610"/>
            <a:chOff x="1502342" y="238442"/>
            <a:chExt cx="1596433" cy="1867608"/>
          </a:xfrm>
          <a:solidFill>
            <a:schemeClr val="bg1"/>
          </a:solidFill>
        </p:grpSpPr>
        <p:sp>
          <p:nvSpPr>
            <p:cNvPr id="21" name="Freeform 25"/>
            <p:cNvSpPr>
              <a:spLocks noEditPoints="1"/>
            </p:cNvSpPr>
            <p:nvPr/>
          </p:nvSpPr>
          <p:spPr bwMode="auto">
            <a:xfrm>
              <a:off x="1502342" y="825623"/>
              <a:ext cx="1596433" cy="681218"/>
            </a:xfrm>
            <a:custGeom>
              <a:avLst/>
              <a:gdLst>
                <a:gd name="T0" fmla="*/ 574 w 618"/>
                <a:gd name="T1" fmla="*/ 0 h 264"/>
                <a:gd name="T2" fmla="*/ 530 w 618"/>
                <a:gd name="T3" fmla="*/ 45 h 264"/>
                <a:gd name="T4" fmla="*/ 530 w 618"/>
                <a:gd name="T5" fmla="*/ 219 h 264"/>
                <a:gd name="T6" fmla="*/ 574 w 618"/>
                <a:gd name="T7" fmla="*/ 264 h 264"/>
                <a:gd name="T8" fmla="*/ 618 w 618"/>
                <a:gd name="T9" fmla="*/ 219 h 264"/>
                <a:gd name="T10" fmla="*/ 618 w 618"/>
                <a:gd name="T11" fmla="*/ 45 h 264"/>
                <a:gd name="T12" fmla="*/ 574 w 618"/>
                <a:gd name="T13" fmla="*/ 0 h 264"/>
                <a:gd name="T14" fmla="*/ 44 w 618"/>
                <a:gd name="T15" fmla="*/ 0 h 264"/>
                <a:gd name="T16" fmla="*/ 0 w 618"/>
                <a:gd name="T17" fmla="*/ 45 h 264"/>
                <a:gd name="T18" fmla="*/ 0 w 618"/>
                <a:gd name="T19" fmla="*/ 219 h 264"/>
                <a:gd name="T20" fmla="*/ 44 w 618"/>
                <a:gd name="T21" fmla="*/ 264 h 264"/>
                <a:gd name="T22" fmla="*/ 88 w 618"/>
                <a:gd name="T23" fmla="*/ 219 h 264"/>
                <a:gd name="T24" fmla="*/ 88 w 618"/>
                <a:gd name="T25" fmla="*/ 45 h 264"/>
                <a:gd name="T26" fmla="*/ 44 w 618"/>
                <a:gd name="T27" fmla="*/ 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8" h="264">
                  <a:moveTo>
                    <a:pt x="574" y="0"/>
                  </a:moveTo>
                  <a:cubicBezTo>
                    <a:pt x="550" y="0"/>
                    <a:pt x="530" y="20"/>
                    <a:pt x="530" y="45"/>
                  </a:cubicBezTo>
                  <a:cubicBezTo>
                    <a:pt x="530" y="219"/>
                    <a:pt x="530" y="219"/>
                    <a:pt x="530" y="219"/>
                  </a:cubicBezTo>
                  <a:cubicBezTo>
                    <a:pt x="530" y="244"/>
                    <a:pt x="550" y="264"/>
                    <a:pt x="574" y="264"/>
                  </a:cubicBezTo>
                  <a:cubicBezTo>
                    <a:pt x="598" y="264"/>
                    <a:pt x="618" y="244"/>
                    <a:pt x="618" y="219"/>
                  </a:cubicBezTo>
                  <a:cubicBezTo>
                    <a:pt x="618" y="45"/>
                    <a:pt x="618" y="45"/>
                    <a:pt x="618" y="45"/>
                  </a:cubicBezTo>
                  <a:cubicBezTo>
                    <a:pt x="618" y="20"/>
                    <a:pt x="598" y="0"/>
                    <a:pt x="574" y="0"/>
                  </a:cubicBezTo>
                  <a:close/>
                  <a:moveTo>
                    <a:pt x="44" y="0"/>
                  </a:moveTo>
                  <a:cubicBezTo>
                    <a:pt x="20" y="0"/>
                    <a:pt x="0" y="20"/>
                    <a:pt x="0" y="45"/>
                  </a:cubicBezTo>
                  <a:cubicBezTo>
                    <a:pt x="0" y="219"/>
                    <a:pt x="0" y="219"/>
                    <a:pt x="0" y="219"/>
                  </a:cubicBezTo>
                  <a:cubicBezTo>
                    <a:pt x="0" y="244"/>
                    <a:pt x="20" y="264"/>
                    <a:pt x="44" y="264"/>
                  </a:cubicBezTo>
                  <a:cubicBezTo>
                    <a:pt x="68" y="264"/>
                    <a:pt x="88" y="244"/>
                    <a:pt x="88" y="219"/>
                  </a:cubicBezTo>
                  <a:cubicBezTo>
                    <a:pt x="88" y="45"/>
                    <a:pt x="88" y="45"/>
                    <a:pt x="88" y="45"/>
                  </a:cubicBezTo>
                  <a:cubicBezTo>
                    <a:pt x="88" y="20"/>
                    <a:pt x="68" y="0"/>
                    <a:pt x="44" y="0"/>
                  </a:cubicBezTo>
                  <a:close/>
                </a:path>
              </a:pathLst>
            </a:custGeom>
            <a:grpFill/>
            <a:ln>
              <a:noFill/>
            </a:ln>
            <a:effectLs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2" name="Freeform 26"/>
            <p:cNvSpPr>
              <a:spLocks/>
            </p:cNvSpPr>
            <p:nvPr/>
          </p:nvSpPr>
          <p:spPr bwMode="auto">
            <a:xfrm>
              <a:off x="1798666" y="827810"/>
              <a:ext cx="1008158" cy="1278240"/>
            </a:xfrm>
            <a:custGeom>
              <a:avLst/>
              <a:gdLst>
                <a:gd name="T0" fmla="*/ 0 w 390"/>
                <a:gd name="T1" fmla="*/ 0 h 495"/>
                <a:gd name="T2" fmla="*/ 0 w 390"/>
                <a:gd name="T3" fmla="*/ 319 h 495"/>
                <a:gd name="T4" fmla="*/ 34 w 390"/>
                <a:gd name="T5" fmla="*/ 353 h 495"/>
                <a:gd name="T6" fmla="*/ 73 w 390"/>
                <a:gd name="T7" fmla="*/ 353 h 495"/>
                <a:gd name="T8" fmla="*/ 73 w 390"/>
                <a:gd name="T9" fmla="*/ 450 h 495"/>
                <a:gd name="T10" fmla="*/ 117 w 390"/>
                <a:gd name="T11" fmla="*/ 495 h 495"/>
                <a:gd name="T12" fmla="*/ 161 w 390"/>
                <a:gd name="T13" fmla="*/ 450 h 495"/>
                <a:gd name="T14" fmla="*/ 161 w 390"/>
                <a:gd name="T15" fmla="*/ 353 h 495"/>
                <a:gd name="T16" fmla="*/ 229 w 390"/>
                <a:gd name="T17" fmla="*/ 353 h 495"/>
                <a:gd name="T18" fmla="*/ 229 w 390"/>
                <a:gd name="T19" fmla="*/ 450 h 495"/>
                <a:gd name="T20" fmla="*/ 273 w 390"/>
                <a:gd name="T21" fmla="*/ 495 h 495"/>
                <a:gd name="T22" fmla="*/ 317 w 390"/>
                <a:gd name="T23" fmla="*/ 450 h 495"/>
                <a:gd name="T24" fmla="*/ 317 w 390"/>
                <a:gd name="T25" fmla="*/ 353 h 495"/>
                <a:gd name="T26" fmla="*/ 356 w 390"/>
                <a:gd name="T27" fmla="*/ 353 h 495"/>
                <a:gd name="T28" fmla="*/ 390 w 390"/>
                <a:gd name="T29" fmla="*/ 319 h 495"/>
                <a:gd name="T30" fmla="*/ 390 w 390"/>
                <a:gd name="T31" fmla="*/ 0 h 495"/>
                <a:gd name="T32" fmla="*/ 0 w 390"/>
                <a:gd name="T33" fmla="*/ 0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0" h="495">
                  <a:moveTo>
                    <a:pt x="0" y="0"/>
                  </a:moveTo>
                  <a:cubicBezTo>
                    <a:pt x="0" y="319"/>
                    <a:pt x="0" y="319"/>
                    <a:pt x="0" y="319"/>
                  </a:cubicBezTo>
                  <a:cubicBezTo>
                    <a:pt x="0" y="338"/>
                    <a:pt x="15" y="353"/>
                    <a:pt x="34" y="353"/>
                  </a:cubicBezTo>
                  <a:cubicBezTo>
                    <a:pt x="73" y="353"/>
                    <a:pt x="73" y="353"/>
                    <a:pt x="73" y="353"/>
                  </a:cubicBezTo>
                  <a:cubicBezTo>
                    <a:pt x="73" y="450"/>
                    <a:pt x="73" y="450"/>
                    <a:pt x="73" y="450"/>
                  </a:cubicBezTo>
                  <a:cubicBezTo>
                    <a:pt x="73" y="475"/>
                    <a:pt x="93" y="495"/>
                    <a:pt x="117" y="495"/>
                  </a:cubicBezTo>
                  <a:cubicBezTo>
                    <a:pt x="141" y="495"/>
                    <a:pt x="161" y="475"/>
                    <a:pt x="161" y="450"/>
                  </a:cubicBezTo>
                  <a:cubicBezTo>
                    <a:pt x="161" y="353"/>
                    <a:pt x="161" y="353"/>
                    <a:pt x="161" y="353"/>
                  </a:cubicBezTo>
                  <a:cubicBezTo>
                    <a:pt x="229" y="353"/>
                    <a:pt x="229" y="353"/>
                    <a:pt x="229" y="353"/>
                  </a:cubicBezTo>
                  <a:cubicBezTo>
                    <a:pt x="229" y="450"/>
                    <a:pt x="229" y="450"/>
                    <a:pt x="229" y="450"/>
                  </a:cubicBezTo>
                  <a:cubicBezTo>
                    <a:pt x="229" y="475"/>
                    <a:pt x="249" y="495"/>
                    <a:pt x="273" y="495"/>
                  </a:cubicBezTo>
                  <a:cubicBezTo>
                    <a:pt x="297" y="495"/>
                    <a:pt x="317" y="475"/>
                    <a:pt x="317" y="450"/>
                  </a:cubicBezTo>
                  <a:cubicBezTo>
                    <a:pt x="317" y="353"/>
                    <a:pt x="317" y="353"/>
                    <a:pt x="317" y="353"/>
                  </a:cubicBezTo>
                  <a:cubicBezTo>
                    <a:pt x="356" y="353"/>
                    <a:pt x="356" y="353"/>
                    <a:pt x="356" y="353"/>
                  </a:cubicBezTo>
                  <a:cubicBezTo>
                    <a:pt x="375" y="353"/>
                    <a:pt x="390" y="338"/>
                    <a:pt x="390" y="319"/>
                  </a:cubicBezTo>
                  <a:cubicBezTo>
                    <a:pt x="390" y="0"/>
                    <a:pt x="390" y="0"/>
                    <a:pt x="390" y="0"/>
                  </a:cubicBezTo>
                  <a:lnTo>
                    <a:pt x="0" y="0"/>
                  </a:lnTo>
                  <a:close/>
                </a:path>
              </a:pathLst>
            </a:custGeom>
            <a:grpFill/>
            <a:ln>
              <a:noFill/>
            </a:ln>
            <a:effectLs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3" name="Freeform 27"/>
            <p:cNvSpPr>
              <a:spLocks noEditPoints="1"/>
            </p:cNvSpPr>
            <p:nvPr/>
          </p:nvSpPr>
          <p:spPr bwMode="auto">
            <a:xfrm>
              <a:off x="1796479" y="238442"/>
              <a:ext cx="1007065" cy="517201"/>
            </a:xfrm>
            <a:custGeom>
              <a:avLst/>
              <a:gdLst>
                <a:gd name="T0" fmla="*/ 288 w 390"/>
                <a:gd name="T1" fmla="*/ 63 h 200"/>
                <a:gd name="T2" fmla="*/ 324 w 390"/>
                <a:gd name="T3" fmla="*/ 11 h 200"/>
                <a:gd name="T4" fmla="*/ 323 w 390"/>
                <a:gd name="T5" fmla="*/ 2 h 200"/>
                <a:gd name="T6" fmla="*/ 314 w 390"/>
                <a:gd name="T7" fmla="*/ 4 h 200"/>
                <a:gd name="T8" fmla="*/ 276 w 390"/>
                <a:gd name="T9" fmla="*/ 59 h 200"/>
                <a:gd name="T10" fmla="*/ 195 w 390"/>
                <a:gd name="T11" fmla="*/ 43 h 200"/>
                <a:gd name="T12" fmla="*/ 114 w 390"/>
                <a:gd name="T13" fmla="*/ 59 h 200"/>
                <a:gd name="T14" fmla="*/ 76 w 390"/>
                <a:gd name="T15" fmla="*/ 4 h 200"/>
                <a:gd name="T16" fmla="*/ 67 w 390"/>
                <a:gd name="T17" fmla="*/ 2 h 200"/>
                <a:gd name="T18" fmla="*/ 66 w 390"/>
                <a:gd name="T19" fmla="*/ 11 h 200"/>
                <a:gd name="T20" fmla="*/ 102 w 390"/>
                <a:gd name="T21" fmla="*/ 63 h 200"/>
                <a:gd name="T22" fmla="*/ 0 w 390"/>
                <a:gd name="T23" fmla="*/ 200 h 200"/>
                <a:gd name="T24" fmla="*/ 390 w 390"/>
                <a:gd name="T25" fmla="*/ 200 h 200"/>
                <a:gd name="T26" fmla="*/ 288 w 390"/>
                <a:gd name="T27" fmla="*/ 63 h 200"/>
                <a:gd name="T28" fmla="*/ 113 w 390"/>
                <a:gd name="T29" fmla="*/ 146 h 200"/>
                <a:gd name="T30" fmla="*/ 91 w 390"/>
                <a:gd name="T31" fmla="*/ 124 h 200"/>
                <a:gd name="T32" fmla="*/ 113 w 390"/>
                <a:gd name="T33" fmla="*/ 103 h 200"/>
                <a:gd name="T34" fmla="*/ 134 w 390"/>
                <a:gd name="T35" fmla="*/ 124 h 200"/>
                <a:gd name="T36" fmla="*/ 113 w 390"/>
                <a:gd name="T37" fmla="*/ 146 h 200"/>
                <a:gd name="T38" fmla="*/ 280 w 390"/>
                <a:gd name="T39" fmla="*/ 146 h 200"/>
                <a:gd name="T40" fmla="*/ 259 w 390"/>
                <a:gd name="T41" fmla="*/ 124 h 200"/>
                <a:gd name="T42" fmla="*/ 280 w 390"/>
                <a:gd name="T43" fmla="*/ 103 h 200"/>
                <a:gd name="T44" fmla="*/ 302 w 390"/>
                <a:gd name="T45" fmla="*/ 124 h 200"/>
                <a:gd name="T46" fmla="*/ 280 w 390"/>
                <a:gd name="T47" fmla="*/ 14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0" h="200">
                  <a:moveTo>
                    <a:pt x="288" y="63"/>
                  </a:moveTo>
                  <a:cubicBezTo>
                    <a:pt x="324" y="11"/>
                    <a:pt x="324" y="11"/>
                    <a:pt x="324" y="11"/>
                  </a:cubicBezTo>
                  <a:cubicBezTo>
                    <a:pt x="326" y="8"/>
                    <a:pt x="325" y="4"/>
                    <a:pt x="323" y="2"/>
                  </a:cubicBezTo>
                  <a:cubicBezTo>
                    <a:pt x="320" y="0"/>
                    <a:pt x="316" y="1"/>
                    <a:pt x="314" y="4"/>
                  </a:cubicBezTo>
                  <a:cubicBezTo>
                    <a:pt x="276" y="59"/>
                    <a:pt x="276" y="59"/>
                    <a:pt x="276" y="59"/>
                  </a:cubicBezTo>
                  <a:cubicBezTo>
                    <a:pt x="251" y="49"/>
                    <a:pt x="224" y="43"/>
                    <a:pt x="195" y="43"/>
                  </a:cubicBezTo>
                  <a:cubicBezTo>
                    <a:pt x="166" y="43"/>
                    <a:pt x="139" y="49"/>
                    <a:pt x="114" y="59"/>
                  </a:cubicBezTo>
                  <a:cubicBezTo>
                    <a:pt x="76" y="4"/>
                    <a:pt x="76" y="4"/>
                    <a:pt x="76" y="4"/>
                  </a:cubicBezTo>
                  <a:cubicBezTo>
                    <a:pt x="74" y="1"/>
                    <a:pt x="70" y="0"/>
                    <a:pt x="67" y="2"/>
                  </a:cubicBezTo>
                  <a:cubicBezTo>
                    <a:pt x="65" y="4"/>
                    <a:pt x="64" y="8"/>
                    <a:pt x="66" y="11"/>
                  </a:cubicBezTo>
                  <a:cubicBezTo>
                    <a:pt x="102" y="63"/>
                    <a:pt x="102" y="63"/>
                    <a:pt x="102" y="63"/>
                  </a:cubicBezTo>
                  <a:cubicBezTo>
                    <a:pt x="45" y="90"/>
                    <a:pt x="5" y="141"/>
                    <a:pt x="0" y="200"/>
                  </a:cubicBezTo>
                  <a:cubicBezTo>
                    <a:pt x="390" y="200"/>
                    <a:pt x="390" y="200"/>
                    <a:pt x="390" y="200"/>
                  </a:cubicBezTo>
                  <a:cubicBezTo>
                    <a:pt x="385" y="141"/>
                    <a:pt x="345" y="90"/>
                    <a:pt x="288" y="63"/>
                  </a:cubicBezTo>
                  <a:close/>
                  <a:moveTo>
                    <a:pt x="113" y="146"/>
                  </a:moveTo>
                  <a:cubicBezTo>
                    <a:pt x="101" y="146"/>
                    <a:pt x="91" y="136"/>
                    <a:pt x="91" y="124"/>
                  </a:cubicBezTo>
                  <a:cubicBezTo>
                    <a:pt x="91" y="113"/>
                    <a:pt x="101" y="103"/>
                    <a:pt x="113" y="103"/>
                  </a:cubicBezTo>
                  <a:cubicBezTo>
                    <a:pt x="125" y="103"/>
                    <a:pt x="134" y="113"/>
                    <a:pt x="134" y="124"/>
                  </a:cubicBezTo>
                  <a:cubicBezTo>
                    <a:pt x="134" y="136"/>
                    <a:pt x="125" y="146"/>
                    <a:pt x="113" y="146"/>
                  </a:cubicBezTo>
                  <a:close/>
                  <a:moveTo>
                    <a:pt x="280" y="146"/>
                  </a:moveTo>
                  <a:cubicBezTo>
                    <a:pt x="268" y="146"/>
                    <a:pt x="259" y="136"/>
                    <a:pt x="259" y="124"/>
                  </a:cubicBezTo>
                  <a:cubicBezTo>
                    <a:pt x="259" y="113"/>
                    <a:pt x="268" y="103"/>
                    <a:pt x="280" y="103"/>
                  </a:cubicBezTo>
                  <a:cubicBezTo>
                    <a:pt x="292" y="103"/>
                    <a:pt x="302" y="113"/>
                    <a:pt x="302" y="124"/>
                  </a:cubicBezTo>
                  <a:cubicBezTo>
                    <a:pt x="302" y="136"/>
                    <a:pt x="292" y="146"/>
                    <a:pt x="280" y="146"/>
                  </a:cubicBezTo>
                  <a:close/>
                </a:path>
              </a:pathLst>
            </a:custGeom>
            <a:grpFill/>
            <a:ln>
              <a:noFill/>
            </a:ln>
            <a:effectLs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25" name="Picture 24"/>
          <p:cNvPicPr>
            <a:picLocks noChangeAspect="1"/>
          </p:cNvPicPr>
          <p:nvPr userDrawn="1"/>
        </p:nvPicPr>
        <p:blipFill>
          <a:blip r:embed="rId6" cstate="print">
            <a:lum bright="70000" contrast="-70000"/>
            <a:extLst>
              <a:ext uri="{28A0092B-C50C-407E-A947-70E740481C1C}">
                <a14:useLocalDpi xmlns:a14="http://schemas.microsoft.com/office/drawing/2010/main" val="0"/>
              </a:ext>
            </a:extLst>
          </a:blip>
          <a:stretch>
            <a:fillRect/>
          </a:stretch>
        </p:blipFill>
        <p:spPr>
          <a:xfrm>
            <a:off x="10720505" y="1992531"/>
            <a:ext cx="448668" cy="549106"/>
          </a:xfrm>
          <a:prstGeom prst="rect">
            <a:avLst/>
          </a:prstGeom>
        </p:spPr>
      </p:pic>
      <p:pic>
        <p:nvPicPr>
          <p:cNvPr id="15" name="Picture 14"/>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gray">
          <a:xfrm>
            <a:off x="449322" y="471251"/>
            <a:ext cx="1522404" cy="326167"/>
          </a:xfrm>
          <a:prstGeom prst="rect">
            <a:avLst/>
          </a:prstGeom>
        </p:spPr>
      </p:pic>
      <p:sp>
        <p:nvSpPr>
          <p:cNvPr id="16" name="Freeform 15"/>
          <p:cNvSpPr>
            <a:spLocks noChangeAspect="1" noEditPoints="1"/>
          </p:cNvSpPr>
          <p:nvPr userDrawn="1"/>
        </p:nvSpPr>
        <p:spPr bwMode="auto">
          <a:xfrm>
            <a:off x="-342355" y="5928340"/>
            <a:ext cx="12876710" cy="1816774"/>
          </a:xfrm>
          <a:custGeom>
            <a:avLst/>
            <a:gdLst>
              <a:gd name="T0" fmla="*/ 1088 w 2202"/>
              <a:gd name="T1" fmla="*/ 0 h 277"/>
              <a:gd name="T2" fmla="*/ 261 w 2202"/>
              <a:gd name="T3" fmla="*/ 273 h 277"/>
              <a:gd name="T4" fmla="*/ 560 w 2202"/>
              <a:gd name="T5" fmla="*/ 241 h 277"/>
              <a:gd name="T6" fmla="*/ 886 w 2202"/>
              <a:gd name="T7" fmla="*/ 185 h 277"/>
              <a:gd name="T8" fmla="*/ 1315 w 2202"/>
              <a:gd name="T9" fmla="*/ 185 h 277"/>
              <a:gd name="T10" fmla="*/ 1642 w 2202"/>
              <a:gd name="T11" fmla="*/ 241 h 277"/>
              <a:gd name="T12" fmla="*/ 1941 w 2202"/>
              <a:gd name="T13" fmla="*/ 273 h 277"/>
              <a:gd name="T14" fmla="*/ 248 w 2202"/>
              <a:gd name="T15" fmla="*/ 238 h 277"/>
              <a:gd name="T16" fmla="*/ 258 w 2202"/>
              <a:gd name="T17" fmla="*/ 231 h 277"/>
              <a:gd name="T18" fmla="*/ 246 w 2202"/>
              <a:gd name="T19" fmla="*/ 120 h 277"/>
              <a:gd name="T20" fmla="*/ 158 w 2202"/>
              <a:gd name="T21" fmla="*/ 95 h 277"/>
              <a:gd name="T22" fmla="*/ 294 w 2202"/>
              <a:gd name="T23" fmla="*/ 74 h 277"/>
              <a:gd name="T24" fmla="*/ 294 w 2202"/>
              <a:gd name="T25" fmla="*/ 99 h 277"/>
              <a:gd name="T26" fmla="*/ 293 w 2202"/>
              <a:gd name="T27" fmla="*/ 184 h 277"/>
              <a:gd name="T28" fmla="*/ 351 w 2202"/>
              <a:gd name="T29" fmla="*/ 174 h 277"/>
              <a:gd name="T30" fmla="*/ 410 w 2202"/>
              <a:gd name="T31" fmla="*/ 129 h 277"/>
              <a:gd name="T32" fmla="*/ 402 w 2202"/>
              <a:gd name="T33" fmla="*/ 186 h 277"/>
              <a:gd name="T34" fmla="*/ 535 w 2202"/>
              <a:gd name="T35" fmla="*/ 151 h 277"/>
              <a:gd name="T36" fmla="*/ 492 w 2202"/>
              <a:gd name="T37" fmla="*/ 102 h 277"/>
              <a:gd name="T38" fmla="*/ 569 w 2202"/>
              <a:gd name="T39" fmla="*/ 71 h 277"/>
              <a:gd name="T40" fmla="*/ 558 w 2202"/>
              <a:gd name="T41" fmla="*/ 78 h 277"/>
              <a:gd name="T42" fmla="*/ 697 w 2202"/>
              <a:gd name="T43" fmla="*/ 153 h 277"/>
              <a:gd name="T44" fmla="*/ 764 w 2202"/>
              <a:gd name="T45" fmla="*/ 166 h 277"/>
              <a:gd name="T46" fmla="*/ 811 w 2202"/>
              <a:gd name="T47" fmla="*/ 101 h 277"/>
              <a:gd name="T48" fmla="*/ 700 w 2202"/>
              <a:gd name="T49" fmla="*/ 125 h 277"/>
              <a:gd name="T50" fmla="*/ 811 w 2202"/>
              <a:gd name="T51" fmla="*/ 101 h 277"/>
              <a:gd name="T52" fmla="*/ 846 w 2202"/>
              <a:gd name="T53" fmla="*/ 101 h 277"/>
              <a:gd name="T54" fmla="*/ 846 w 2202"/>
              <a:gd name="T55" fmla="*/ 171 h 277"/>
              <a:gd name="T56" fmla="*/ 879 w 2202"/>
              <a:gd name="T57" fmla="*/ 152 h 277"/>
              <a:gd name="T58" fmla="*/ 1020 w 2202"/>
              <a:gd name="T59" fmla="*/ 64 h 277"/>
              <a:gd name="T60" fmla="*/ 934 w 2202"/>
              <a:gd name="T61" fmla="*/ 151 h 277"/>
              <a:gd name="T62" fmla="*/ 1112 w 2202"/>
              <a:gd name="T63" fmla="*/ 172 h 277"/>
              <a:gd name="T64" fmla="*/ 1125 w 2202"/>
              <a:gd name="T65" fmla="*/ 183 h 277"/>
              <a:gd name="T66" fmla="*/ 1355 w 2202"/>
              <a:gd name="T67" fmla="*/ 171 h 277"/>
              <a:gd name="T68" fmla="*/ 1299 w 2202"/>
              <a:gd name="T69" fmla="*/ 146 h 277"/>
              <a:gd name="T70" fmla="*/ 1368 w 2202"/>
              <a:gd name="T71" fmla="*/ 92 h 277"/>
              <a:gd name="T72" fmla="*/ 1368 w 2202"/>
              <a:gd name="T73" fmla="*/ 41 h 277"/>
              <a:gd name="T74" fmla="*/ 1403 w 2202"/>
              <a:gd name="T75" fmla="*/ 164 h 277"/>
              <a:gd name="T76" fmla="*/ 1435 w 2202"/>
              <a:gd name="T77" fmla="*/ 131 h 277"/>
              <a:gd name="T78" fmla="*/ 1618 w 2202"/>
              <a:gd name="T79" fmla="*/ 43 h 277"/>
              <a:gd name="T80" fmla="*/ 1643 w 2202"/>
              <a:gd name="T81" fmla="*/ 204 h 277"/>
              <a:gd name="T82" fmla="*/ 1643 w 2202"/>
              <a:gd name="T83" fmla="*/ 152 h 277"/>
              <a:gd name="T84" fmla="*/ 1555 w 2202"/>
              <a:gd name="T85" fmla="*/ 119 h 277"/>
              <a:gd name="T86" fmla="*/ 1677 w 2202"/>
              <a:gd name="T87" fmla="*/ 77 h 277"/>
              <a:gd name="T88" fmla="*/ 1666 w 2202"/>
              <a:gd name="T89" fmla="*/ 81 h 277"/>
              <a:gd name="T90" fmla="*/ 1734 w 2202"/>
              <a:gd name="T91" fmla="*/ 132 h 277"/>
              <a:gd name="T92" fmla="*/ 1921 w 2202"/>
              <a:gd name="T93" fmla="*/ 230 h 277"/>
              <a:gd name="T94" fmla="*/ 1921 w 2202"/>
              <a:gd name="T95" fmla="*/ 195 h 277"/>
              <a:gd name="T96" fmla="*/ 1827 w 2202"/>
              <a:gd name="T97" fmla="*/ 168 h 277"/>
              <a:gd name="T98" fmla="*/ 1921 w 2202"/>
              <a:gd name="T99" fmla="*/ 144 h 277"/>
              <a:gd name="T100" fmla="*/ 1686 w 2202"/>
              <a:gd name="T101" fmla="*/ 57 h 277"/>
              <a:gd name="T102" fmla="*/ 1956 w 2202"/>
              <a:gd name="T103" fmla="*/ 80 h 277"/>
              <a:gd name="T104" fmla="*/ 1943 w 2202"/>
              <a:gd name="T105" fmla="*/ 134 h 277"/>
              <a:gd name="T106" fmla="*/ 1943 w 2202"/>
              <a:gd name="T107" fmla="*/ 140 h 277"/>
              <a:gd name="T108" fmla="*/ 1955 w 2202"/>
              <a:gd name="T109" fmla="*/ 17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02" h="277">
                <a:moveTo>
                  <a:pt x="2199" y="107"/>
                </a:moveTo>
                <a:cubicBezTo>
                  <a:pt x="2197" y="100"/>
                  <a:pt x="2190" y="93"/>
                  <a:pt x="2182" y="92"/>
                </a:cubicBezTo>
                <a:cubicBezTo>
                  <a:pt x="1829" y="31"/>
                  <a:pt x="1471" y="1"/>
                  <a:pt x="1114" y="0"/>
                </a:cubicBezTo>
                <a:cubicBezTo>
                  <a:pt x="1107" y="0"/>
                  <a:pt x="1101" y="0"/>
                  <a:pt x="1101" y="0"/>
                </a:cubicBezTo>
                <a:cubicBezTo>
                  <a:pt x="1101" y="0"/>
                  <a:pt x="1095" y="0"/>
                  <a:pt x="1088" y="0"/>
                </a:cubicBezTo>
                <a:cubicBezTo>
                  <a:pt x="730" y="1"/>
                  <a:pt x="373" y="31"/>
                  <a:pt x="19" y="92"/>
                </a:cubicBezTo>
                <a:cubicBezTo>
                  <a:pt x="12" y="93"/>
                  <a:pt x="5" y="100"/>
                  <a:pt x="3" y="107"/>
                </a:cubicBezTo>
                <a:cubicBezTo>
                  <a:pt x="2" y="108"/>
                  <a:pt x="2" y="109"/>
                  <a:pt x="2" y="110"/>
                </a:cubicBezTo>
                <a:cubicBezTo>
                  <a:pt x="0" y="117"/>
                  <a:pt x="3" y="126"/>
                  <a:pt x="9" y="129"/>
                </a:cubicBezTo>
                <a:cubicBezTo>
                  <a:pt x="92" y="175"/>
                  <a:pt x="176" y="224"/>
                  <a:pt x="261" y="273"/>
                </a:cubicBezTo>
                <a:cubicBezTo>
                  <a:pt x="266" y="277"/>
                  <a:pt x="276" y="276"/>
                  <a:pt x="282" y="271"/>
                </a:cubicBezTo>
                <a:cubicBezTo>
                  <a:pt x="307" y="250"/>
                  <a:pt x="332" y="230"/>
                  <a:pt x="357" y="210"/>
                </a:cubicBezTo>
                <a:cubicBezTo>
                  <a:pt x="362" y="205"/>
                  <a:pt x="373" y="203"/>
                  <a:pt x="379" y="204"/>
                </a:cubicBezTo>
                <a:cubicBezTo>
                  <a:pt x="431" y="217"/>
                  <a:pt x="483" y="229"/>
                  <a:pt x="535" y="243"/>
                </a:cubicBezTo>
                <a:cubicBezTo>
                  <a:pt x="542" y="245"/>
                  <a:pt x="553" y="244"/>
                  <a:pt x="560" y="241"/>
                </a:cubicBezTo>
                <a:cubicBezTo>
                  <a:pt x="612" y="218"/>
                  <a:pt x="664" y="196"/>
                  <a:pt x="717" y="175"/>
                </a:cubicBezTo>
                <a:cubicBezTo>
                  <a:pt x="724" y="172"/>
                  <a:pt x="734" y="173"/>
                  <a:pt x="740" y="177"/>
                </a:cubicBezTo>
                <a:cubicBezTo>
                  <a:pt x="764" y="192"/>
                  <a:pt x="788" y="208"/>
                  <a:pt x="812" y="223"/>
                </a:cubicBezTo>
                <a:cubicBezTo>
                  <a:pt x="818" y="227"/>
                  <a:pt x="827" y="227"/>
                  <a:pt x="833" y="222"/>
                </a:cubicBezTo>
                <a:cubicBezTo>
                  <a:pt x="851" y="210"/>
                  <a:pt x="868" y="197"/>
                  <a:pt x="886" y="185"/>
                </a:cubicBezTo>
                <a:cubicBezTo>
                  <a:pt x="892" y="181"/>
                  <a:pt x="903" y="178"/>
                  <a:pt x="910" y="179"/>
                </a:cubicBezTo>
                <a:cubicBezTo>
                  <a:pt x="969" y="188"/>
                  <a:pt x="1028" y="197"/>
                  <a:pt x="1088" y="208"/>
                </a:cubicBezTo>
                <a:cubicBezTo>
                  <a:pt x="1095" y="209"/>
                  <a:pt x="1107" y="209"/>
                  <a:pt x="1114" y="208"/>
                </a:cubicBezTo>
                <a:cubicBezTo>
                  <a:pt x="1173" y="197"/>
                  <a:pt x="1232" y="188"/>
                  <a:pt x="1292" y="179"/>
                </a:cubicBezTo>
                <a:cubicBezTo>
                  <a:pt x="1299" y="178"/>
                  <a:pt x="1309" y="181"/>
                  <a:pt x="1315" y="185"/>
                </a:cubicBezTo>
                <a:cubicBezTo>
                  <a:pt x="1333" y="197"/>
                  <a:pt x="1351" y="210"/>
                  <a:pt x="1368" y="222"/>
                </a:cubicBezTo>
                <a:cubicBezTo>
                  <a:pt x="1374" y="227"/>
                  <a:pt x="1384" y="227"/>
                  <a:pt x="1390" y="223"/>
                </a:cubicBezTo>
                <a:cubicBezTo>
                  <a:pt x="1414" y="208"/>
                  <a:pt x="1438" y="192"/>
                  <a:pt x="1462" y="177"/>
                </a:cubicBezTo>
                <a:cubicBezTo>
                  <a:pt x="1468" y="173"/>
                  <a:pt x="1478" y="172"/>
                  <a:pt x="1485" y="175"/>
                </a:cubicBezTo>
                <a:cubicBezTo>
                  <a:pt x="1537" y="196"/>
                  <a:pt x="1590" y="218"/>
                  <a:pt x="1642" y="241"/>
                </a:cubicBezTo>
                <a:cubicBezTo>
                  <a:pt x="1649" y="244"/>
                  <a:pt x="1660" y="245"/>
                  <a:pt x="1667" y="243"/>
                </a:cubicBezTo>
                <a:cubicBezTo>
                  <a:pt x="1719" y="229"/>
                  <a:pt x="1770" y="217"/>
                  <a:pt x="1822" y="204"/>
                </a:cubicBezTo>
                <a:cubicBezTo>
                  <a:pt x="1829" y="203"/>
                  <a:pt x="1839" y="205"/>
                  <a:pt x="1845" y="210"/>
                </a:cubicBezTo>
                <a:cubicBezTo>
                  <a:pt x="1870" y="230"/>
                  <a:pt x="1895" y="250"/>
                  <a:pt x="1920" y="271"/>
                </a:cubicBezTo>
                <a:cubicBezTo>
                  <a:pt x="1926" y="276"/>
                  <a:pt x="1935" y="277"/>
                  <a:pt x="1941" y="273"/>
                </a:cubicBezTo>
                <a:cubicBezTo>
                  <a:pt x="2025" y="224"/>
                  <a:pt x="2109" y="175"/>
                  <a:pt x="2193" y="129"/>
                </a:cubicBezTo>
                <a:cubicBezTo>
                  <a:pt x="2199" y="126"/>
                  <a:pt x="2202" y="117"/>
                  <a:pt x="2200" y="110"/>
                </a:cubicBezTo>
                <a:cubicBezTo>
                  <a:pt x="2199" y="109"/>
                  <a:pt x="2199" y="108"/>
                  <a:pt x="2199" y="107"/>
                </a:cubicBezTo>
                <a:close/>
                <a:moveTo>
                  <a:pt x="258" y="231"/>
                </a:moveTo>
                <a:cubicBezTo>
                  <a:pt x="258" y="238"/>
                  <a:pt x="254" y="241"/>
                  <a:pt x="248" y="238"/>
                </a:cubicBezTo>
                <a:cubicBezTo>
                  <a:pt x="194" y="206"/>
                  <a:pt x="141" y="175"/>
                  <a:pt x="87" y="145"/>
                </a:cubicBezTo>
                <a:cubicBezTo>
                  <a:pt x="81" y="142"/>
                  <a:pt x="82" y="140"/>
                  <a:pt x="89" y="142"/>
                </a:cubicBezTo>
                <a:cubicBezTo>
                  <a:pt x="141" y="152"/>
                  <a:pt x="194" y="162"/>
                  <a:pt x="246" y="174"/>
                </a:cubicBezTo>
                <a:cubicBezTo>
                  <a:pt x="253" y="175"/>
                  <a:pt x="258" y="182"/>
                  <a:pt x="258" y="190"/>
                </a:cubicBezTo>
                <a:cubicBezTo>
                  <a:pt x="258" y="203"/>
                  <a:pt x="258" y="217"/>
                  <a:pt x="258" y="231"/>
                </a:cubicBezTo>
                <a:close/>
                <a:moveTo>
                  <a:pt x="258" y="140"/>
                </a:moveTo>
                <a:cubicBezTo>
                  <a:pt x="258" y="147"/>
                  <a:pt x="253" y="151"/>
                  <a:pt x="246" y="150"/>
                </a:cubicBezTo>
                <a:cubicBezTo>
                  <a:pt x="196" y="139"/>
                  <a:pt x="145" y="129"/>
                  <a:pt x="95" y="119"/>
                </a:cubicBezTo>
                <a:cubicBezTo>
                  <a:pt x="88" y="117"/>
                  <a:pt x="88" y="116"/>
                  <a:pt x="95" y="117"/>
                </a:cubicBezTo>
                <a:cubicBezTo>
                  <a:pt x="145" y="117"/>
                  <a:pt x="195" y="118"/>
                  <a:pt x="246" y="120"/>
                </a:cubicBezTo>
                <a:cubicBezTo>
                  <a:pt x="253" y="121"/>
                  <a:pt x="258" y="127"/>
                  <a:pt x="258" y="134"/>
                </a:cubicBezTo>
                <a:cubicBezTo>
                  <a:pt x="258" y="136"/>
                  <a:pt x="258" y="138"/>
                  <a:pt x="258" y="140"/>
                </a:cubicBezTo>
                <a:close/>
                <a:moveTo>
                  <a:pt x="258" y="88"/>
                </a:moveTo>
                <a:cubicBezTo>
                  <a:pt x="258" y="93"/>
                  <a:pt x="253" y="97"/>
                  <a:pt x="246" y="97"/>
                </a:cubicBezTo>
                <a:cubicBezTo>
                  <a:pt x="216" y="96"/>
                  <a:pt x="187" y="95"/>
                  <a:pt x="158" y="95"/>
                </a:cubicBezTo>
                <a:cubicBezTo>
                  <a:pt x="151" y="94"/>
                  <a:pt x="151" y="93"/>
                  <a:pt x="158" y="92"/>
                </a:cubicBezTo>
                <a:cubicBezTo>
                  <a:pt x="187" y="88"/>
                  <a:pt x="216" y="84"/>
                  <a:pt x="245" y="80"/>
                </a:cubicBezTo>
                <a:cubicBezTo>
                  <a:pt x="253" y="79"/>
                  <a:pt x="258" y="83"/>
                  <a:pt x="258" y="88"/>
                </a:cubicBezTo>
                <a:close/>
                <a:moveTo>
                  <a:pt x="281" y="87"/>
                </a:moveTo>
                <a:cubicBezTo>
                  <a:pt x="281" y="81"/>
                  <a:pt x="287" y="75"/>
                  <a:pt x="294" y="74"/>
                </a:cubicBezTo>
                <a:cubicBezTo>
                  <a:pt x="367" y="64"/>
                  <a:pt x="440" y="56"/>
                  <a:pt x="513" y="50"/>
                </a:cubicBezTo>
                <a:cubicBezTo>
                  <a:pt x="520" y="49"/>
                  <a:pt x="521" y="52"/>
                  <a:pt x="515" y="57"/>
                </a:cubicBezTo>
                <a:cubicBezTo>
                  <a:pt x="497" y="71"/>
                  <a:pt x="479" y="85"/>
                  <a:pt x="460" y="100"/>
                </a:cubicBezTo>
                <a:cubicBezTo>
                  <a:pt x="454" y="104"/>
                  <a:pt x="444" y="108"/>
                  <a:pt x="437" y="107"/>
                </a:cubicBezTo>
                <a:cubicBezTo>
                  <a:pt x="389" y="104"/>
                  <a:pt x="341" y="101"/>
                  <a:pt x="294" y="99"/>
                </a:cubicBezTo>
                <a:cubicBezTo>
                  <a:pt x="287" y="99"/>
                  <a:pt x="281" y="94"/>
                  <a:pt x="281" y="87"/>
                </a:cubicBezTo>
                <a:close/>
                <a:moveTo>
                  <a:pt x="291" y="235"/>
                </a:moveTo>
                <a:cubicBezTo>
                  <a:pt x="286" y="240"/>
                  <a:pt x="281" y="238"/>
                  <a:pt x="281" y="230"/>
                </a:cubicBezTo>
                <a:cubicBezTo>
                  <a:pt x="281" y="218"/>
                  <a:pt x="281" y="207"/>
                  <a:pt x="281" y="195"/>
                </a:cubicBezTo>
                <a:cubicBezTo>
                  <a:pt x="281" y="187"/>
                  <a:pt x="286" y="183"/>
                  <a:pt x="293" y="184"/>
                </a:cubicBezTo>
                <a:cubicBezTo>
                  <a:pt x="305" y="187"/>
                  <a:pt x="316" y="190"/>
                  <a:pt x="328" y="192"/>
                </a:cubicBezTo>
                <a:cubicBezTo>
                  <a:pt x="335" y="194"/>
                  <a:pt x="335" y="199"/>
                  <a:pt x="330" y="204"/>
                </a:cubicBezTo>
                <a:cubicBezTo>
                  <a:pt x="317" y="214"/>
                  <a:pt x="304" y="224"/>
                  <a:pt x="291" y="235"/>
                </a:cubicBezTo>
                <a:close/>
                <a:moveTo>
                  <a:pt x="374" y="168"/>
                </a:moveTo>
                <a:cubicBezTo>
                  <a:pt x="368" y="173"/>
                  <a:pt x="358" y="175"/>
                  <a:pt x="351" y="174"/>
                </a:cubicBezTo>
                <a:cubicBezTo>
                  <a:pt x="332" y="169"/>
                  <a:pt x="312" y="165"/>
                  <a:pt x="293" y="160"/>
                </a:cubicBezTo>
                <a:cubicBezTo>
                  <a:pt x="286" y="159"/>
                  <a:pt x="281" y="152"/>
                  <a:pt x="281" y="144"/>
                </a:cubicBezTo>
                <a:cubicBezTo>
                  <a:pt x="281" y="141"/>
                  <a:pt x="281" y="138"/>
                  <a:pt x="281" y="135"/>
                </a:cubicBezTo>
                <a:cubicBezTo>
                  <a:pt x="281" y="127"/>
                  <a:pt x="287" y="122"/>
                  <a:pt x="294" y="122"/>
                </a:cubicBezTo>
                <a:cubicBezTo>
                  <a:pt x="332" y="124"/>
                  <a:pt x="371" y="126"/>
                  <a:pt x="410" y="129"/>
                </a:cubicBezTo>
                <a:cubicBezTo>
                  <a:pt x="417" y="129"/>
                  <a:pt x="418" y="133"/>
                  <a:pt x="412" y="138"/>
                </a:cubicBezTo>
                <a:cubicBezTo>
                  <a:pt x="399" y="148"/>
                  <a:pt x="387" y="158"/>
                  <a:pt x="374" y="168"/>
                </a:cubicBezTo>
                <a:close/>
                <a:moveTo>
                  <a:pt x="535" y="206"/>
                </a:moveTo>
                <a:cubicBezTo>
                  <a:pt x="535" y="213"/>
                  <a:pt x="530" y="218"/>
                  <a:pt x="523" y="216"/>
                </a:cubicBezTo>
                <a:cubicBezTo>
                  <a:pt x="483" y="206"/>
                  <a:pt x="442" y="195"/>
                  <a:pt x="402" y="186"/>
                </a:cubicBezTo>
                <a:cubicBezTo>
                  <a:pt x="395" y="184"/>
                  <a:pt x="395" y="179"/>
                  <a:pt x="401" y="174"/>
                </a:cubicBezTo>
                <a:cubicBezTo>
                  <a:pt x="415" y="163"/>
                  <a:pt x="430" y="151"/>
                  <a:pt x="444" y="140"/>
                </a:cubicBezTo>
                <a:cubicBezTo>
                  <a:pt x="450" y="135"/>
                  <a:pt x="461" y="132"/>
                  <a:pt x="468" y="132"/>
                </a:cubicBezTo>
                <a:cubicBezTo>
                  <a:pt x="486" y="134"/>
                  <a:pt x="504" y="135"/>
                  <a:pt x="523" y="137"/>
                </a:cubicBezTo>
                <a:cubicBezTo>
                  <a:pt x="530" y="137"/>
                  <a:pt x="535" y="143"/>
                  <a:pt x="535" y="151"/>
                </a:cubicBezTo>
                <a:cubicBezTo>
                  <a:pt x="535" y="169"/>
                  <a:pt x="535" y="188"/>
                  <a:pt x="535" y="206"/>
                </a:cubicBezTo>
                <a:close/>
                <a:moveTo>
                  <a:pt x="535" y="101"/>
                </a:moveTo>
                <a:cubicBezTo>
                  <a:pt x="535" y="109"/>
                  <a:pt x="530" y="114"/>
                  <a:pt x="523" y="113"/>
                </a:cubicBezTo>
                <a:cubicBezTo>
                  <a:pt x="513" y="113"/>
                  <a:pt x="504" y="112"/>
                  <a:pt x="494" y="111"/>
                </a:cubicBezTo>
                <a:cubicBezTo>
                  <a:pt x="487" y="111"/>
                  <a:pt x="486" y="107"/>
                  <a:pt x="492" y="102"/>
                </a:cubicBezTo>
                <a:cubicBezTo>
                  <a:pt x="503" y="94"/>
                  <a:pt x="514" y="85"/>
                  <a:pt x="525" y="77"/>
                </a:cubicBezTo>
                <a:cubicBezTo>
                  <a:pt x="531" y="72"/>
                  <a:pt x="535" y="74"/>
                  <a:pt x="535" y="81"/>
                </a:cubicBezTo>
                <a:cubicBezTo>
                  <a:pt x="535" y="88"/>
                  <a:pt x="535" y="95"/>
                  <a:pt x="535" y="101"/>
                </a:cubicBezTo>
                <a:close/>
                <a:moveTo>
                  <a:pt x="558" y="78"/>
                </a:moveTo>
                <a:cubicBezTo>
                  <a:pt x="558" y="71"/>
                  <a:pt x="563" y="68"/>
                  <a:pt x="569" y="71"/>
                </a:cubicBezTo>
                <a:cubicBezTo>
                  <a:pt x="595" y="87"/>
                  <a:pt x="621" y="103"/>
                  <a:pt x="647" y="119"/>
                </a:cubicBezTo>
                <a:cubicBezTo>
                  <a:pt x="653" y="123"/>
                  <a:pt x="652" y="125"/>
                  <a:pt x="645" y="125"/>
                </a:cubicBezTo>
                <a:cubicBezTo>
                  <a:pt x="620" y="122"/>
                  <a:pt x="595" y="120"/>
                  <a:pt x="571" y="118"/>
                </a:cubicBezTo>
                <a:cubicBezTo>
                  <a:pt x="564" y="117"/>
                  <a:pt x="558" y="111"/>
                  <a:pt x="558" y="104"/>
                </a:cubicBezTo>
                <a:cubicBezTo>
                  <a:pt x="558" y="95"/>
                  <a:pt x="558" y="86"/>
                  <a:pt x="558" y="78"/>
                </a:cubicBezTo>
                <a:close/>
                <a:moveTo>
                  <a:pt x="570" y="211"/>
                </a:moveTo>
                <a:cubicBezTo>
                  <a:pt x="564" y="214"/>
                  <a:pt x="558" y="211"/>
                  <a:pt x="558" y="204"/>
                </a:cubicBezTo>
                <a:cubicBezTo>
                  <a:pt x="558" y="187"/>
                  <a:pt x="558" y="170"/>
                  <a:pt x="558" y="152"/>
                </a:cubicBezTo>
                <a:cubicBezTo>
                  <a:pt x="558" y="145"/>
                  <a:pt x="564" y="140"/>
                  <a:pt x="571" y="141"/>
                </a:cubicBezTo>
                <a:cubicBezTo>
                  <a:pt x="613" y="144"/>
                  <a:pt x="655" y="148"/>
                  <a:pt x="697" y="153"/>
                </a:cubicBezTo>
                <a:cubicBezTo>
                  <a:pt x="704" y="153"/>
                  <a:pt x="704" y="156"/>
                  <a:pt x="697" y="159"/>
                </a:cubicBezTo>
                <a:cubicBezTo>
                  <a:pt x="655" y="176"/>
                  <a:pt x="613" y="194"/>
                  <a:pt x="570" y="211"/>
                </a:cubicBezTo>
                <a:close/>
                <a:moveTo>
                  <a:pt x="811" y="182"/>
                </a:moveTo>
                <a:cubicBezTo>
                  <a:pt x="811" y="190"/>
                  <a:pt x="806" y="192"/>
                  <a:pt x="800" y="189"/>
                </a:cubicBezTo>
                <a:cubicBezTo>
                  <a:pt x="788" y="181"/>
                  <a:pt x="776" y="173"/>
                  <a:pt x="764" y="166"/>
                </a:cubicBezTo>
                <a:cubicBezTo>
                  <a:pt x="758" y="162"/>
                  <a:pt x="759" y="160"/>
                  <a:pt x="766" y="161"/>
                </a:cubicBezTo>
                <a:cubicBezTo>
                  <a:pt x="777" y="162"/>
                  <a:pt x="787" y="163"/>
                  <a:pt x="798" y="164"/>
                </a:cubicBezTo>
                <a:cubicBezTo>
                  <a:pt x="805" y="165"/>
                  <a:pt x="811" y="172"/>
                  <a:pt x="811" y="179"/>
                </a:cubicBezTo>
                <a:cubicBezTo>
                  <a:pt x="811" y="180"/>
                  <a:pt x="811" y="181"/>
                  <a:pt x="811" y="182"/>
                </a:cubicBezTo>
                <a:close/>
                <a:moveTo>
                  <a:pt x="811" y="101"/>
                </a:moveTo>
                <a:cubicBezTo>
                  <a:pt x="811" y="108"/>
                  <a:pt x="805" y="116"/>
                  <a:pt x="799" y="119"/>
                </a:cubicBezTo>
                <a:cubicBezTo>
                  <a:pt x="788" y="123"/>
                  <a:pt x="777" y="127"/>
                  <a:pt x="766" y="131"/>
                </a:cubicBezTo>
                <a:cubicBezTo>
                  <a:pt x="760" y="134"/>
                  <a:pt x="748" y="136"/>
                  <a:pt x="741" y="135"/>
                </a:cubicBezTo>
                <a:cubicBezTo>
                  <a:pt x="735" y="134"/>
                  <a:pt x="729" y="133"/>
                  <a:pt x="723" y="133"/>
                </a:cubicBezTo>
                <a:cubicBezTo>
                  <a:pt x="716" y="132"/>
                  <a:pt x="705" y="128"/>
                  <a:pt x="700" y="125"/>
                </a:cubicBezTo>
                <a:cubicBezTo>
                  <a:pt x="660" y="100"/>
                  <a:pt x="621" y="75"/>
                  <a:pt x="581" y="51"/>
                </a:cubicBezTo>
                <a:cubicBezTo>
                  <a:pt x="575" y="47"/>
                  <a:pt x="576" y="44"/>
                  <a:pt x="583" y="43"/>
                </a:cubicBezTo>
                <a:cubicBezTo>
                  <a:pt x="655" y="38"/>
                  <a:pt x="726" y="33"/>
                  <a:pt x="798" y="30"/>
                </a:cubicBezTo>
                <a:cubicBezTo>
                  <a:pt x="805" y="29"/>
                  <a:pt x="811" y="35"/>
                  <a:pt x="811" y="42"/>
                </a:cubicBezTo>
                <a:cubicBezTo>
                  <a:pt x="811" y="62"/>
                  <a:pt x="811" y="81"/>
                  <a:pt x="811" y="101"/>
                </a:cubicBezTo>
                <a:close/>
                <a:moveTo>
                  <a:pt x="834" y="41"/>
                </a:moveTo>
                <a:cubicBezTo>
                  <a:pt x="834" y="34"/>
                  <a:pt x="839" y="28"/>
                  <a:pt x="847" y="28"/>
                </a:cubicBezTo>
                <a:cubicBezTo>
                  <a:pt x="914" y="25"/>
                  <a:pt x="981" y="23"/>
                  <a:pt x="1048" y="23"/>
                </a:cubicBezTo>
                <a:cubicBezTo>
                  <a:pt x="1055" y="23"/>
                  <a:pt x="1055" y="25"/>
                  <a:pt x="1049" y="27"/>
                </a:cubicBezTo>
                <a:cubicBezTo>
                  <a:pt x="981" y="50"/>
                  <a:pt x="913" y="75"/>
                  <a:pt x="846" y="101"/>
                </a:cubicBezTo>
                <a:cubicBezTo>
                  <a:pt x="839" y="103"/>
                  <a:pt x="834" y="100"/>
                  <a:pt x="834" y="92"/>
                </a:cubicBezTo>
                <a:cubicBezTo>
                  <a:pt x="834" y="75"/>
                  <a:pt x="834" y="58"/>
                  <a:pt x="834" y="41"/>
                </a:cubicBezTo>
                <a:close/>
                <a:moveTo>
                  <a:pt x="844" y="187"/>
                </a:moveTo>
                <a:cubicBezTo>
                  <a:pt x="838" y="191"/>
                  <a:pt x="833" y="189"/>
                  <a:pt x="833" y="182"/>
                </a:cubicBezTo>
                <a:cubicBezTo>
                  <a:pt x="833" y="175"/>
                  <a:pt x="839" y="170"/>
                  <a:pt x="846" y="171"/>
                </a:cubicBezTo>
                <a:cubicBezTo>
                  <a:pt x="848" y="171"/>
                  <a:pt x="849" y="171"/>
                  <a:pt x="851" y="171"/>
                </a:cubicBezTo>
                <a:cubicBezTo>
                  <a:pt x="858" y="172"/>
                  <a:pt x="859" y="176"/>
                  <a:pt x="853" y="181"/>
                </a:cubicBezTo>
                <a:cubicBezTo>
                  <a:pt x="850" y="183"/>
                  <a:pt x="847" y="185"/>
                  <a:pt x="844" y="187"/>
                </a:cubicBezTo>
                <a:close/>
                <a:moveTo>
                  <a:pt x="902" y="146"/>
                </a:moveTo>
                <a:cubicBezTo>
                  <a:pt x="896" y="150"/>
                  <a:pt x="886" y="153"/>
                  <a:pt x="879" y="152"/>
                </a:cubicBezTo>
                <a:cubicBezTo>
                  <a:pt x="868" y="151"/>
                  <a:pt x="857" y="149"/>
                  <a:pt x="846" y="148"/>
                </a:cubicBezTo>
                <a:cubicBezTo>
                  <a:pt x="839" y="147"/>
                  <a:pt x="834" y="142"/>
                  <a:pt x="834" y="138"/>
                </a:cubicBezTo>
                <a:cubicBezTo>
                  <a:pt x="834" y="133"/>
                  <a:pt x="839" y="127"/>
                  <a:pt x="846" y="125"/>
                </a:cubicBezTo>
                <a:cubicBezTo>
                  <a:pt x="903" y="103"/>
                  <a:pt x="961" y="82"/>
                  <a:pt x="1019" y="61"/>
                </a:cubicBezTo>
                <a:cubicBezTo>
                  <a:pt x="1025" y="59"/>
                  <a:pt x="1026" y="60"/>
                  <a:pt x="1020" y="64"/>
                </a:cubicBezTo>
                <a:cubicBezTo>
                  <a:pt x="981" y="91"/>
                  <a:pt x="942" y="119"/>
                  <a:pt x="902" y="146"/>
                </a:cubicBezTo>
                <a:close/>
                <a:moveTo>
                  <a:pt x="1089" y="172"/>
                </a:moveTo>
                <a:cubicBezTo>
                  <a:pt x="1089" y="179"/>
                  <a:pt x="1083" y="184"/>
                  <a:pt x="1076" y="183"/>
                </a:cubicBezTo>
                <a:cubicBezTo>
                  <a:pt x="1030" y="175"/>
                  <a:pt x="983" y="167"/>
                  <a:pt x="937" y="160"/>
                </a:cubicBezTo>
                <a:cubicBezTo>
                  <a:pt x="929" y="159"/>
                  <a:pt x="929" y="155"/>
                  <a:pt x="934" y="151"/>
                </a:cubicBezTo>
                <a:cubicBezTo>
                  <a:pt x="982" y="117"/>
                  <a:pt x="1030" y="84"/>
                  <a:pt x="1078" y="51"/>
                </a:cubicBezTo>
                <a:cubicBezTo>
                  <a:pt x="1084" y="47"/>
                  <a:pt x="1089" y="49"/>
                  <a:pt x="1089" y="57"/>
                </a:cubicBezTo>
                <a:cubicBezTo>
                  <a:pt x="1089" y="95"/>
                  <a:pt x="1089" y="133"/>
                  <a:pt x="1089" y="172"/>
                </a:cubicBezTo>
                <a:close/>
                <a:moveTo>
                  <a:pt x="1125" y="183"/>
                </a:moveTo>
                <a:cubicBezTo>
                  <a:pt x="1118" y="184"/>
                  <a:pt x="1112" y="179"/>
                  <a:pt x="1112" y="172"/>
                </a:cubicBezTo>
                <a:cubicBezTo>
                  <a:pt x="1112" y="133"/>
                  <a:pt x="1112" y="95"/>
                  <a:pt x="1112" y="57"/>
                </a:cubicBezTo>
                <a:cubicBezTo>
                  <a:pt x="1112" y="49"/>
                  <a:pt x="1117" y="47"/>
                  <a:pt x="1123" y="51"/>
                </a:cubicBezTo>
                <a:cubicBezTo>
                  <a:pt x="1171" y="84"/>
                  <a:pt x="1219" y="117"/>
                  <a:pt x="1267" y="151"/>
                </a:cubicBezTo>
                <a:cubicBezTo>
                  <a:pt x="1273" y="155"/>
                  <a:pt x="1272" y="159"/>
                  <a:pt x="1265" y="160"/>
                </a:cubicBezTo>
                <a:cubicBezTo>
                  <a:pt x="1218" y="167"/>
                  <a:pt x="1171" y="175"/>
                  <a:pt x="1125" y="183"/>
                </a:cubicBezTo>
                <a:close/>
                <a:moveTo>
                  <a:pt x="1368" y="182"/>
                </a:moveTo>
                <a:cubicBezTo>
                  <a:pt x="1368" y="189"/>
                  <a:pt x="1363" y="191"/>
                  <a:pt x="1357" y="187"/>
                </a:cubicBezTo>
                <a:cubicBezTo>
                  <a:pt x="1354" y="185"/>
                  <a:pt x="1351" y="183"/>
                  <a:pt x="1348" y="181"/>
                </a:cubicBezTo>
                <a:cubicBezTo>
                  <a:pt x="1342" y="176"/>
                  <a:pt x="1343" y="172"/>
                  <a:pt x="1350" y="171"/>
                </a:cubicBezTo>
                <a:cubicBezTo>
                  <a:pt x="1352" y="171"/>
                  <a:pt x="1353" y="171"/>
                  <a:pt x="1355" y="171"/>
                </a:cubicBezTo>
                <a:cubicBezTo>
                  <a:pt x="1362" y="170"/>
                  <a:pt x="1368" y="175"/>
                  <a:pt x="1368" y="182"/>
                </a:cubicBezTo>
                <a:close/>
                <a:moveTo>
                  <a:pt x="1368" y="138"/>
                </a:moveTo>
                <a:cubicBezTo>
                  <a:pt x="1368" y="142"/>
                  <a:pt x="1362" y="147"/>
                  <a:pt x="1355" y="148"/>
                </a:cubicBezTo>
                <a:cubicBezTo>
                  <a:pt x="1344" y="149"/>
                  <a:pt x="1333" y="151"/>
                  <a:pt x="1323" y="152"/>
                </a:cubicBezTo>
                <a:cubicBezTo>
                  <a:pt x="1316" y="153"/>
                  <a:pt x="1305" y="150"/>
                  <a:pt x="1299" y="146"/>
                </a:cubicBezTo>
                <a:cubicBezTo>
                  <a:pt x="1260" y="119"/>
                  <a:pt x="1220" y="91"/>
                  <a:pt x="1181" y="64"/>
                </a:cubicBezTo>
                <a:cubicBezTo>
                  <a:pt x="1175" y="60"/>
                  <a:pt x="1176" y="59"/>
                  <a:pt x="1183" y="61"/>
                </a:cubicBezTo>
                <a:cubicBezTo>
                  <a:pt x="1240" y="82"/>
                  <a:pt x="1298" y="103"/>
                  <a:pt x="1355" y="125"/>
                </a:cubicBezTo>
                <a:cubicBezTo>
                  <a:pt x="1362" y="127"/>
                  <a:pt x="1368" y="133"/>
                  <a:pt x="1368" y="138"/>
                </a:cubicBezTo>
                <a:close/>
                <a:moveTo>
                  <a:pt x="1368" y="92"/>
                </a:moveTo>
                <a:cubicBezTo>
                  <a:pt x="1368" y="100"/>
                  <a:pt x="1362" y="103"/>
                  <a:pt x="1355" y="101"/>
                </a:cubicBezTo>
                <a:cubicBezTo>
                  <a:pt x="1288" y="75"/>
                  <a:pt x="1220" y="50"/>
                  <a:pt x="1153" y="27"/>
                </a:cubicBezTo>
                <a:cubicBezTo>
                  <a:pt x="1146" y="25"/>
                  <a:pt x="1146" y="23"/>
                  <a:pt x="1154" y="23"/>
                </a:cubicBezTo>
                <a:cubicBezTo>
                  <a:pt x="1221" y="23"/>
                  <a:pt x="1288" y="25"/>
                  <a:pt x="1355" y="28"/>
                </a:cubicBezTo>
                <a:cubicBezTo>
                  <a:pt x="1362" y="28"/>
                  <a:pt x="1368" y="34"/>
                  <a:pt x="1368" y="41"/>
                </a:cubicBezTo>
                <a:cubicBezTo>
                  <a:pt x="1368" y="58"/>
                  <a:pt x="1368" y="75"/>
                  <a:pt x="1368" y="92"/>
                </a:cubicBezTo>
                <a:close/>
                <a:moveTo>
                  <a:pt x="1401" y="189"/>
                </a:moveTo>
                <a:cubicBezTo>
                  <a:pt x="1395" y="192"/>
                  <a:pt x="1390" y="190"/>
                  <a:pt x="1390" y="182"/>
                </a:cubicBezTo>
                <a:cubicBezTo>
                  <a:pt x="1390" y="181"/>
                  <a:pt x="1390" y="180"/>
                  <a:pt x="1390" y="179"/>
                </a:cubicBezTo>
                <a:cubicBezTo>
                  <a:pt x="1390" y="172"/>
                  <a:pt x="1396" y="165"/>
                  <a:pt x="1403" y="164"/>
                </a:cubicBezTo>
                <a:cubicBezTo>
                  <a:pt x="1414" y="163"/>
                  <a:pt x="1424" y="162"/>
                  <a:pt x="1435" y="161"/>
                </a:cubicBezTo>
                <a:cubicBezTo>
                  <a:pt x="1442" y="160"/>
                  <a:pt x="1443" y="162"/>
                  <a:pt x="1437" y="166"/>
                </a:cubicBezTo>
                <a:cubicBezTo>
                  <a:pt x="1425" y="173"/>
                  <a:pt x="1413" y="181"/>
                  <a:pt x="1401" y="189"/>
                </a:cubicBezTo>
                <a:close/>
                <a:moveTo>
                  <a:pt x="1460" y="135"/>
                </a:moveTo>
                <a:cubicBezTo>
                  <a:pt x="1453" y="136"/>
                  <a:pt x="1441" y="134"/>
                  <a:pt x="1435" y="131"/>
                </a:cubicBezTo>
                <a:cubicBezTo>
                  <a:pt x="1424" y="127"/>
                  <a:pt x="1413" y="123"/>
                  <a:pt x="1403" y="119"/>
                </a:cubicBezTo>
                <a:cubicBezTo>
                  <a:pt x="1396" y="116"/>
                  <a:pt x="1390" y="108"/>
                  <a:pt x="1390" y="101"/>
                </a:cubicBezTo>
                <a:cubicBezTo>
                  <a:pt x="1390" y="81"/>
                  <a:pt x="1390" y="62"/>
                  <a:pt x="1390" y="42"/>
                </a:cubicBezTo>
                <a:cubicBezTo>
                  <a:pt x="1390" y="35"/>
                  <a:pt x="1396" y="29"/>
                  <a:pt x="1403" y="30"/>
                </a:cubicBezTo>
                <a:cubicBezTo>
                  <a:pt x="1475" y="33"/>
                  <a:pt x="1546" y="38"/>
                  <a:pt x="1618" y="43"/>
                </a:cubicBezTo>
                <a:cubicBezTo>
                  <a:pt x="1625" y="44"/>
                  <a:pt x="1626" y="47"/>
                  <a:pt x="1620" y="51"/>
                </a:cubicBezTo>
                <a:cubicBezTo>
                  <a:pt x="1581" y="75"/>
                  <a:pt x="1541" y="100"/>
                  <a:pt x="1502" y="125"/>
                </a:cubicBezTo>
                <a:cubicBezTo>
                  <a:pt x="1496" y="128"/>
                  <a:pt x="1485" y="132"/>
                  <a:pt x="1478" y="133"/>
                </a:cubicBezTo>
                <a:cubicBezTo>
                  <a:pt x="1472" y="133"/>
                  <a:pt x="1466" y="134"/>
                  <a:pt x="1460" y="135"/>
                </a:cubicBezTo>
                <a:close/>
                <a:moveTo>
                  <a:pt x="1643" y="204"/>
                </a:moveTo>
                <a:cubicBezTo>
                  <a:pt x="1643" y="211"/>
                  <a:pt x="1638" y="214"/>
                  <a:pt x="1631" y="211"/>
                </a:cubicBezTo>
                <a:cubicBezTo>
                  <a:pt x="1589" y="194"/>
                  <a:pt x="1546" y="176"/>
                  <a:pt x="1504" y="159"/>
                </a:cubicBezTo>
                <a:cubicBezTo>
                  <a:pt x="1497" y="156"/>
                  <a:pt x="1498" y="153"/>
                  <a:pt x="1505" y="153"/>
                </a:cubicBezTo>
                <a:cubicBezTo>
                  <a:pt x="1547" y="148"/>
                  <a:pt x="1589" y="144"/>
                  <a:pt x="1630" y="141"/>
                </a:cubicBezTo>
                <a:cubicBezTo>
                  <a:pt x="1638" y="140"/>
                  <a:pt x="1643" y="145"/>
                  <a:pt x="1643" y="152"/>
                </a:cubicBezTo>
                <a:cubicBezTo>
                  <a:pt x="1643" y="170"/>
                  <a:pt x="1643" y="187"/>
                  <a:pt x="1643" y="204"/>
                </a:cubicBezTo>
                <a:close/>
                <a:moveTo>
                  <a:pt x="1643" y="104"/>
                </a:moveTo>
                <a:cubicBezTo>
                  <a:pt x="1643" y="111"/>
                  <a:pt x="1638" y="117"/>
                  <a:pt x="1630" y="118"/>
                </a:cubicBezTo>
                <a:cubicBezTo>
                  <a:pt x="1606" y="120"/>
                  <a:pt x="1581" y="122"/>
                  <a:pt x="1557" y="125"/>
                </a:cubicBezTo>
                <a:cubicBezTo>
                  <a:pt x="1550" y="125"/>
                  <a:pt x="1549" y="123"/>
                  <a:pt x="1555" y="119"/>
                </a:cubicBezTo>
                <a:cubicBezTo>
                  <a:pt x="1581" y="103"/>
                  <a:pt x="1607" y="87"/>
                  <a:pt x="1633" y="71"/>
                </a:cubicBezTo>
                <a:cubicBezTo>
                  <a:pt x="1638" y="68"/>
                  <a:pt x="1643" y="71"/>
                  <a:pt x="1643" y="78"/>
                </a:cubicBezTo>
                <a:cubicBezTo>
                  <a:pt x="1643" y="86"/>
                  <a:pt x="1643" y="95"/>
                  <a:pt x="1643" y="104"/>
                </a:cubicBezTo>
                <a:close/>
                <a:moveTo>
                  <a:pt x="1666" y="81"/>
                </a:moveTo>
                <a:cubicBezTo>
                  <a:pt x="1666" y="74"/>
                  <a:pt x="1671" y="72"/>
                  <a:pt x="1677" y="77"/>
                </a:cubicBezTo>
                <a:cubicBezTo>
                  <a:pt x="1687" y="85"/>
                  <a:pt x="1698" y="93"/>
                  <a:pt x="1709" y="102"/>
                </a:cubicBezTo>
                <a:cubicBezTo>
                  <a:pt x="1715" y="106"/>
                  <a:pt x="1714" y="111"/>
                  <a:pt x="1707" y="111"/>
                </a:cubicBezTo>
                <a:cubicBezTo>
                  <a:pt x="1697" y="112"/>
                  <a:pt x="1688" y="113"/>
                  <a:pt x="1679" y="113"/>
                </a:cubicBezTo>
                <a:cubicBezTo>
                  <a:pt x="1672" y="114"/>
                  <a:pt x="1666" y="109"/>
                  <a:pt x="1666" y="101"/>
                </a:cubicBezTo>
                <a:cubicBezTo>
                  <a:pt x="1666" y="95"/>
                  <a:pt x="1666" y="88"/>
                  <a:pt x="1666" y="81"/>
                </a:cubicBezTo>
                <a:close/>
                <a:moveTo>
                  <a:pt x="1678" y="216"/>
                </a:moveTo>
                <a:cubicBezTo>
                  <a:pt x="1671" y="218"/>
                  <a:pt x="1666" y="213"/>
                  <a:pt x="1666" y="206"/>
                </a:cubicBezTo>
                <a:cubicBezTo>
                  <a:pt x="1666" y="188"/>
                  <a:pt x="1666" y="169"/>
                  <a:pt x="1666" y="151"/>
                </a:cubicBezTo>
                <a:cubicBezTo>
                  <a:pt x="1666" y="143"/>
                  <a:pt x="1672" y="137"/>
                  <a:pt x="1679" y="137"/>
                </a:cubicBezTo>
                <a:cubicBezTo>
                  <a:pt x="1697" y="135"/>
                  <a:pt x="1715" y="134"/>
                  <a:pt x="1734" y="132"/>
                </a:cubicBezTo>
                <a:cubicBezTo>
                  <a:pt x="1741" y="132"/>
                  <a:pt x="1751" y="135"/>
                  <a:pt x="1757" y="140"/>
                </a:cubicBezTo>
                <a:cubicBezTo>
                  <a:pt x="1772" y="151"/>
                  <a:pt x="1786" y="163"/>
                  <a:pt x="1801" y="174"/>
                </a:cubicBezTo>
                <a:cubicBezTo>
                  <a:pt x="1806" y="179"/>
                  <a:pt x="1806" y="184"/>
                  <a:pt x="1799" y="186"/>
                </a:cubicBezTo>
                <a:cubicBezTo>
                  <a:pt x="1759" y="195"/>
                  <a:pt x="1718" y="206"/>
                  <a:pt x="1678" y="216"/>
                </a:cubicBezTo>
                <a:close/>
                <a:moveTo>
                  <a:pt x="1921" y="230"/>
                </a:moveTo>
                <a:cubicBezTo>
                  <a:pt x="1921" y="238"/>
                  <a:pt x="1916" y="240"/>
                  <a:pt x="1910" y="235"/>
                </a:cubicBezTo>
                <a:cubicBezTo>
                  <a:pt x="1897" y="224"/>
                  <a:pt x="1884" y="214"/>
                  <a:pt x="1871" y="204"/>
                </a:cubicBezTo>
                <a:cubicBezTo>
                  <a:pt x="1866" y="199"/>
                  <a:pt x="1866" y="194"/>
                  <a:pt x="1873" y="192"/>
                </a:cubicBezTo>
                <a:cubicBezTo>
                  <a:pt x="1885" y="190"/>
                  <a:pt x="1897" y="187"/>
                  <a:pt x="1908" y="184"/>
                </a:cubicBezTo>
                <a:cubicBezTo>
                  <a:pt x="1915" y="183"/>
                  <a:pt x="1921" y="187"/>
                  <a:pt x="1921" y="195"/>
                </a:cubicBezTo>
                <a:cubicBezTo>
                  <a:pt x="1921" y="207"/>
                  <a:pt x="1921" y="218"/>
                  <a:pt x="1921" y="230"/>
                </a:cubicBezTo>
                <a:close/>
                <a:moveTo>
                  <a:pt x="1921" y="144"/>
                </a:moveTo>
                <a:cubicBezTo>
                  <a:pt x="1921" y="152"/>
                  <a:pt x="1915" y="159"/>
                  <a:pt x="1908" y="160"/>
                </a:cubicBezTo>
                <a:cubicBezTo>
                  <a:pt x="1889" y="165"/>
                  <a:pt x="1869" y="169"/>
                  <a:pt x="1850" y="174"/>
                </a:cubicBezTo>
                <a:cubicBezTo>
                  <a:pt x="1843" y="175"/>
                  <a:pt x="1833" y="173"/>
                  <a:pt x="1827" y="168"/>
                </a:cubicBezTo>
                <a:cubicBezTo>
                  <a:pt x="1814" y="158"/>
                  <a:pt x="1802" y="148"/>
                  <a:pt x="1789" y="138"/>
                </a:cubicBezTo>
                <a:cubicBezTo>
                  <a:pt x="1783" y="133"/>
                  <a:pt x="1784" y="129"/>
                  <a:pt x="1791" y="128"/>
                </a:cubicBezTo>
                <a:cubicBezTo>
                  <a:pt x="1830" y="126"/>
                  <a:pt x="1869" y="124"/>
                  <a:pt x="1908" y="122"/>
                </a:cubicBezTo>
                <a:cubicBezTo>
                  <a:pt x="1915" y="122"/>
                  <a:pt x="1921" y="127"/>
                  <a:pt x="1921" y="135"/>
                </a:cubicBezTo>
                <a:cubicBezTo>
                  <a:pt x="1921" y="138"/>
                  <a:pt x="1921" y="141"/>
                  <a:pt x="1921" y="144"/>
                </a:cubicBezTo>
                <a:close/>
                <a:moveTo>
                  <a:pt x="1921" y="87"/>
                </a:moveTo>
                <a:cubicBezTo>
                  <a:pt x="1921" y="93"/>
                  <a:pt x="1915" y="99"/>
                  <a:pt x="1908" y="99"/>
                </a:cubicBezTo>
                <a:cubicBezTo>
                  <a:pt x="1860" y="101"/>
                  <a:pt x="1812" y="104"/>
                  <a:pt x="1764" y="107"/>
                </a:cubicBezTo>
                <a:cubicBezTo>
                  <a:pt x="1757" y="108"/>
                  <a:pt x="1747" y="104"/>
                  <a:pt x="1741" y="99"/>
                </a:cubicBezTo>
                <a:cubicBezTo>
                  <a:pt x="1723" y="85"/>
                  <a:pt x="1704" y="71"/>
                  <a:pt x="1686" y="57"/>
                </a:cubicBezTo>
                <a:cubicBezTo>
                  <a:pt x="1680" y="52"/>
                  <a:pt x="1681" y="49"/>
                  <a:pt x="1689" y="50"/>
                </a:cubicBezTo>
                <a:cubicBezTo>
                  <a:pt x="1762" y="56"/>
                  <a:pt x="1835" y="64"/>
                  <a:pt x="1908" y="74"/>
                </a:cubicBezTo>
                <a:cubicBezTo>
                  <a:pt x="1915" y="74"/>
                  <a:pt x="1921" y="81"/>
                  <a:pt x="1921" y="87"/>
                </a:cubicBezTo>
                <a:close/>
                <a:moveTo>
                  <a:pt x="1943" y="88"/>
                </a:moveTo>
                <a:cubicBezTo>
                  <a:pt x="1943" y="83"/>
                  <a:pt x="1949" y="79"/>
                  <a:pt x="1956" y="80"/>
                </a:cubicBezTo>
                <a:cubicBezTo>
                  <a:pt x="1985" y="84"/>
                  <a:pt x="2014" y="88"/>
                  <a:pt x="2043" y="92"/>
                </a:cubicBezTo>
                <a:cubicBezTo>
                  <a:pt x="2050" y="93"/>
                  <a:pt x="2050" y="94"/>
                  <a:pt x="2043" y="95"/>
                </a:cubicBezTo>
                <a:cubicBezTo>
                  <a:pt x="2014" y="95"/>
                  <a:pt x="1985" y="96"/>
                  <a:pt x="1956" y="97"/>
                </a:cubicBezTo>
                <a:cubicBezTo>
                  <a:pt x="1949" y="97"/>
                  <a:pt x="1943" y="93"/>
                  <a:pt x="1943" y="88"/>
                </a:cubicBezTo>
                <a:close/>
                <a:moveTo>
                  <a:pt x="1943" y="134"/>
                </a:moveTo>
                <a:cubicBezTo>
                  <a:pt x="1943" y="127"/>
                  <a:pt x="1949" y="121"/>
                  <a:pt x="1956" y="120"/>
                </a:cubicBezTo>
                <a:cubicBezTo>
                  <a:pt x="2006" y="118"/>
                  <a:pt x="2056" y="117"/>
                  <a:pt x="2106" y="116"/>
                </a:cubicBezTo>
                <a:cubicBezTo>
                  <a:pt x="2113" y="116"/>
                  <a:pt x="2113" y="117"/>
                  <a:pt x="2106" y="119"/>
                </a:cubicBezTo>
                <a:cubicBezTo>
                  <a:pt x="2056" y="128"/>
                  <a:pt x="2006" y="139"/>
                  <a:pt x="1955" y="150"/>
                </a:cubicBezTo>
                <a:cubicBezTo>
                  <a:pt x="1948" y="151"/>
                  <a:pt x="1943" y="147"/>
                  <a:pt x="1943" y="140"/>
                </a:cubicBezTo>
                <a:cubicBezTo>
                  <a:pt x="1943" y="138"/>
                  <a:pt x="1943" y="136"/>
                  <a:pt x="1943" y="134"/>
                </a:cubicBezTo>
                <a:close/>
                <a:moveTo>
                  <a:pt x="1953" y="238"/>
                </a:moveTo>
                <a:cubicBezTo>
                  <a:pt x="1948" y="241"/>
                  <a:pt x="1943" y="238"/>
                  <a:pt x="1943" y="231"/>
                </a:cubicBezTo>
                <a:cubicBezTo>
                  <a:pt x="1943" y="217"/>
                  <a:pt x="1943" y="203"/>
                  <a:pt x="1943" y="189"/>
                </a:cubicBezTo>
                <a:cubicBezTo>
                  <a:pt x="1943" y="182"/>
                  <a:pt x="1948" y="175"/>
                  <a:pt x="1955" y="174"/>
                </a:cubicBezTo>
                <a:cubicBezTo>
                  <a:pt x="2008" y="162"/>
                  <a:pt x="2060" y="152"/>
                  <a:pt x="2112" y="142"/>
                </a:cubicBezTo>
                <a:cubicBezTo>
                  <a:pt x="2119" y="140"/>
                  <a:pt x="2120" y="142"/>
                  <a:pt x="2114" y="145"/>
                </a:cubicBezTo>
                <a:cubicBezTo>
                  <a:pt x="2061" y="175"/>
                  <a:pt x="2007" y="206"/>
                  <a:pt x="1953" y="238"/>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pic>
        <p:nvPicPr>
          <p:cNvPr id="17" name="Picture 16"/>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191937" y="979099"/>
            <a:ext cx="544787" cy="785218"/>
          </a:xfrm>
          <a:prstGeom prst="rect">
            <a:avLst/>
          </a:prstGeom>
        </p:spPr>
      </p:pic>
      <p:pic>
        <p:nvPicPr>
          <p:cNvPr id="18" name="Picture 2"/>
          <p:cNvPicPr>
            <a:picLocks noChangeAspect="1" noChangeArrowheads="1"/>
          </p:cNvPicPr>
          <p:nvPr userDrawn="1"/>
        </p:nvPicPr>
        <p:blipFill>
          <a:blip r:embed="rId9" cstate="print">
            <a:extLst>
              <a:ext uri="{28A0092B-C50C-407E-A947-70E740481C1C}">
                <a14:useLocalDpi xmlns:a14="http://schemas.microsoft.com/office/drawing/2010/main" val="0"/>
              </a:ext>
            </a:extLst>
          </a:blip>
          <a:stretch>
            <a:fillRect/>
          </a:stretch>
        </p:blipFill>
        <p:spPr bwMode="auto">
          <a:xfrm>
            <a:off x="9463621" y="578757"/>
            <a:ext cx="567728" cy="567808"/>
          </a:xfrm>
          <a:prstGeom prst="rect">
            <a:avLst/>
          </a:prstGeom>
          <a:noFill/>
          <a:ln>
            <a:noFill/>
          </a:ln>
          <a:extLst/>
        </p:spPr>
      </p:pic>
      <p:pic>
        <p:nvPicPr>
          <p:cNvPr id="28" name="Picture 2" descr="http://upload.wikimedia.org/wikipedia/commons/thumb/2/27/PHP-logo.svg/1000px-PHP-logo.svg.png"/>
          <p:cNvPicPr>
            <a:picLocks noChangeAspect="1" noChangeArrowheads="1"/>
          </p:cNvPicPr>
          <p:nvPr/>
        </p:nvPicPr>
        <p:blipFill>
          <a:blip r:embed="rId10" cstate="print">
            <a:lum bright="70000" contrast="-70000"/>
            <a:extLst>
              <a:ext uri="{28A0092B-C50C-407E-A947-70E740481C1C}">
                <a14:useLocalDpi xmlns:a14="http://schemas.microsoft.com/office/drawing/2010/main" val="0"/>
              </a:ext>
            </a:extLst>
          </a:blip>
          <a:srcRect/>
          <a:stretch>
            <a:fillRect/>
          </a:stretch>
        </p:blipFill>
        <p:spPr bwMode="auto">
          <a:xfrm>
            <a:off x="6719836" y="4144666"/>
            <a:ext cx="758444" cy="401975"/>
          </a:xfrm>
          <a:prstGeom prst="rect">
            <a:avLst/>
          </a:prstGeom>
          <a:noFill/>
          <a:extLst/>
        </p:spPr>
      </p:pic>
      <p:pic>
        <p:nvPicPr>
          <p:cNvPr id="31" name="Picture 2">
            <a:hlinkClick r:id="rId11"/>
          </p:cNvPr>
          <p:cNvPicPr>
            <a:picLocks noChangeAspect="1" noChangeArrowheads="1"/>
          </p:cNvPicPr>
          <p:nvPr userDrawn="1"/>
        </p:nvPicPr>
        <p:blipFill>
          <a:blip r:embed="rId12" cstate="print">
            <a:biLevel thresh="25000"/>
            <a:extLst>
              <a:ext uri="{28A0092B-C50C-407E-A947-70E740481C1C}">
                <a14:useLocalDpi xmlns:a14="http://schemas.microsoft.com/office/drawing/2010/main" val="0"/>
              </a:ext>
            </a:extLst>
          </a:blip>
          <a:stretch>
            <a:fillRect/>
          </a:stretch>
        </p:blipFill>
        <p:spPr bwMode="auto">
          <a:xfrm>
            <a:off x="6216053" y="1070381"/>
            <a:ext cx="1441603" cy="493344"/>
          </a:xfrm>
          <a:prstGeom prst="rect">
            <a:avLst/>
          </a:prstGeom>
          <a:noFill/>
          <a:extLst/>
        </p:spPr>
      </p:pic>
      <p:pic>
        <p:nvPicPr>
          <p:cNvPr id="34" name="Picture 2" descr="C:\Users\claudette\Documents\2011 Jobs\Kelly Young\02-Crystal\graphics\java.png"/>
          <p:cNvPicPr>
            <a:picLocks noChangeAspect="1" noChangeArrowheads="1"/>
          </p:cNvPicPr>
          <p:nvPr/>
        </p:nvPicPr>
        <p:blipFill>
          <a:blip r:embed="rId13" cstate="print">
            <a:biLevel thresh="50000"/>
            <a:extLst>
              <a:ext uri="{28A0092B-C50C-407E-A947-70E740481C1C}">
                <a14:useLocalDpi xmlns:a14="http://schemas.microsoft.com/office/drawing/2010/main" val="0"/>
              </a:ext>
            </a:extLst>
          </a:blip>
          <a:srcRect/>
          <a:stretch>
            <a:fillRect/>
          </a:stretch>
        </p:blipFill>
        <p:spPr bwMode="auto">
          <a:xfrm>
            <a:off x="9711462" y="4620679"/>
            <a:ext cx="375449" cy="690611"/>
          </a:xfrm>
          <a:prstGeom prst="rect">
            <a:avLst/>
          </a:prstGeom>
          <a:noFill/>
          <a:extLst/>
        </p:spPr>
      </p:pic>
      <p:pic>
        <p:nvPicPr>
          <p:cNvPr id="2" name="Picture 1"/>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7435694" y="622181"/>
            <a:ext cx="1774792" cy="408332"/>
          </a:xfrm>
          <a:prstGeom prst="rect">
            <a:avLst/>
          </a:prstGeom>
        </p:spPr>
      </p:pic>
      <p:sp>
        <p:nvSpPr>
          <p:cNvPr id="24" name="Oval 23"/>
          <p:cNvSpPr/>
          <p:nvPr userDrawn="1"/>
        </p:nvSpPr>
        <p:spPr bwMode="auto">
          <a:xfrm>
            <a:off x="7282718" y="1376290"/>
            <a:ext cx="3181612" cy="3182063"/>
          </a:xfrm>
          <a:prstGeom prst="ellipse">
            <a:avLst/>
          </a:prstGeom>
          <a:noFill/>
          <a:ln w="57150" cap="rnd">
            <a:solidFill>
              <a:srgbClr val="6DC2E9"/>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1663995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Title Slide Photo">
    <p:bg>
      <p:bgPr>
        <a:solidFill>
          <a:srgbClr val="0072C6"/>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ltGray">
          <a:xfrm>
            <a:off x="267683" y="2084173"/>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4146244"/>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49322" y="471251"/>
            <a:ext cx="1522404" cy="326167"/>
          </a:xfrm>
          <a:prstGeom prst="rect">
            <a:avLst/>
          </a:prstGeom>
        </p:spPr>
      </p:pic>
      <p:pic>
        <p:nvPicPr>
          <p:cNvPr id="6" name="Picture 5"/>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57551" y="4950224"/>
            <a:ext cx="11276899" cy="1415713"/>
          </a:xfrm>
          <a:prstGeom prst="rect">
            <a:avLst/>
          </a:prstGeom>
        </p:spPr>
      </p:pic>
    </p:spTree>
    <p:extLst>
      <p:ext uri="{BB962C8B-B14F-4D97-AF65-F5344CB8AC3E}">
        <p14:creationId xmlns:p14="http://schemas.microsoft.com/office/powerpoint/2010/main" val="7063152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51639" y="470067"/>
            <a:ext cx="1517768" cy="326167"/>
          </a:xfrm>
          <a:prstGeom prst="rect">
            <a:avLst/>
          </a:prstGeom>
        </p:spPr>
      </p:pic>
      <p:sp>
        <p:nvSpPr>
          <p:cNvPr id="7" name="Freeform 6"/>
          <p:cNvSpPr>
            <a:spLocks noChangeAspect="1" noEditPoints="1"/>
          </p:cNvSpPr>
          <p:nvPr userDrawn="1"/>
        </p:nvSpPr>
        <p:spPr bwMode="auto">
          <a:xfrm>
            <a:off x="-342355" y="5928340"/>
            <a:ext cx="12876710" cy="1816774"/>
          </a:xfrm>
          <a:custGeom>
            <a:avLst/>
            <a:gdLst>
              <a:gd name="T0" fmla="*/ 1088 w 2202"/>
              <a:gd name="T1" fmla="*/ 0 h 277"/>
              <a:gd name="T2" fmla="*/ 261 w 2202"/>
              <a:gd name="T3" fmla="*/ 273 h 277"/>
              <a:gd name="T4" fmla="*/ 560 w 2202"/>
              <a:gd name="T5" fmla="*/ 241 h 277"/>
              <a:gd name="T6" fmla="*/ 886 w 2202"/>
              <a:gd name="T7" fmla="*/ 185 h 277"/>
              <a:gd name="T8" fmla="*/ 1315 w 2202"/>
              <a:gd name="T9" fmla="*/ 185 h 277"/>
              <a:gd name="T10" fmla="*/ 1642 w 2202"/>
              <a:gd name="T11" fmla="*/ 241 h 277"/>
              <a:gd name="T12" fmla="*/ 1941 w 2202"/>
              <a:gd name="T13" fmla="*/ 273 h 277"/>
              <a:gd name="T14" fmla="*/ 248 w 2202"/>
              <a:gd name="T15" fmla="*/ 238 h 277"/>
              <a:gd name="T16" fmla="*/ 258 w 2202"/>
              <a:gd name="T17" fmla="*/ 231 h 277"/>
              <a:gd name="T18" fmla="*/ 246 w 2202"/>
              <a:gd name="T19" fmla="*/ 120 h 277"/>
              <a:gd name="T20" fmla="*/ 158 w 2202"/>
              <a:gd name="T21" fmla="*/ 95 h 277"/>
              <a:gd name="T22" fmla="*/ 294 w 2202"/>
              <a:gd name="T23" fmla="*/ 74 h 277"/>
              <a:gd name="T24" fmla="*/ 294 w 2202"/>
              <a:gd name="T25" fmla="*/ 99 h 277"/>
              <a:gd name="T26" fmla="*/ 293 w 2202"/>
              <a:gd name="T27" fmla="*/ 184 h 277"/>
              <a:gd name="T28" fmla="*/ 351 w 2202"/>
              <a:gd name="T29" fmla="*/ 174 h 277"/>
              <a:gd name="T30" fmla="*/ 410 w 2202"/>
              <a:gd name="T31" fmla="*/ 129 h 277"/>
              <a:gd name="T32" fmla="*/ 402 w 2202"/>
              <a:gd name="T33" fmla="*/ 186 h 277"/>
              <a:gd name="T34" fmla="*/ 535 w 2202"/>
              <a:gd name="T35" fmla="*/ 151 h 277"/>
              <a:gd name="T36" fmla="*/ 492 w 2202"/>
              <a:gd name="T37" fmla="*/ 102 h 277"/>
              <a:gd name="T38" fmla="*/ 569 w 2202"/>
              <a:gd name="T39" fmla="*/ 71 h 277"/>
              <a:gd name="T40" fmla="*/ 558 w 2202"/>
              <a:gd name="T41" fmla="*/ 78 h 277"/>
              <a:gd name="T42" fmla="*/ 697 w 2202"/>
              <a:gd name="T43" fmla="*/ 153 h 277"/>
              <a:gd name="T44" fmla="*/ 764 w 2202"/>
              <a:gd name="T45" fmla="*/ 166 h 277"/>
              <a:gd name="T46" fmla="*/ 811 w 2202"/>
              <a:gd name="T47" fmla="*/ 101 h 277"/>
              <a:gd name="T48" fmla="*/ 700 w 2202"/>
              <a:gd name="T49" fmla="*/ 125 h 277"/>
              <a:gd name="T50" fmla="*/ 811 w 2202"/>
              <a:gd name="T51" fmla="*/ 101 h 277"/>
              <a:gd name="T52" fmla="*/ 846 w 2202"/>
              <a:gd name="T53" fmla="*/ 101 h 277"/>
              <a:gd name="T54" fmla="*/ 846 w 2202"/>
              <a:gd name="T55" fmla="*/ 171 h 277"/>
              <a:gd name="T56" fmla="*/ 879 w 2202"/>
              <a:gd name="T57" fmla="*/ 152 h 277"/>
              <a:gd name="T58" fmla="*/ 1020 w 2202"/>
              <a:gd name="T59" fmla="*/ 64 h 277"/>
              <a:gd name="T60" fmla="*/ 934 w 2202"/>
              <a:gd name="T61" fmla="*/ 151 h 277"/>
              <a:gd name="T62" fmla="*/ 1112 w 2202"/>
              <a:gd name="T63" fmla="*/ 172 h 277"/>
              <a:gd name="T64" fmla="*/ 1125 w 2202"/>
              <a:gd name="T65" fmla="*/ 183 h 277"/>
              <a:gd name="T66" fmla="*/ 1355 w 2202"/>
              <a:gd name="T67" fmla="*/ 171 h 277"/>
              <a:gd name="T68" fmla="*/ 1299 w 2202"/>
              <a:gd name="T69" fmla="*/ 146 h 277"/>
              <a:gd name="T70" fmla="*/ 1368 w 2202"/>
              <a:gd name="T71" fmla="*/ 92 h 277"/>
              <a:gd name="T72" fmla="*/ 1368 w 2202"/>
              <a:gd name="T73" fmla="*/ 41 h 277"/>
              <a:gd name="T74" fmla="*/ 1403 w 2202"/>
              <a:gd name="T75" fmla="*/ 164 h 277"/>
              <a:gd name="T76" fmla="*/ 1435 w 2202"/>
              <a:gd name="T77" fmla="*/ 131 h 277"/>
              <a:gd name="T78" fmla="*/ 1618 w 2202"/>
              <a:gd name="T79" fmla="*/ 43 h 277"/>
              <a:gd name="T80" fmla="*/ 1643 w 2202"/>
              <a:gd name="T81" fmla="*/ 204 h 277"/>
              <a:gd name="T82" fmla="*/ 1643 w 2202"/>
              <a:gd name="T83" fmla="*/ 152 h 277"/>
              <a:gd name="T84" fmla="*/ 1555 w 2202"/>
              <a:gd name="T85" fmla="*/ 119 h 277"/>
              <a:gd name="T86" fmla="*/ 1677 w 2202"/>
              <a:gd name="T87" fmla="*/ 77 h 277"/>
              <a:gd name="T88" fmla="*/ 1666 w 2202"/>
              <a:gd name="T89" fmla="*/ 81 h 277"/>
              <a:gd name="T90" fmla="*/ 1734 w 2202"/>
              <a:gd name="T91" fmla="*/ 132 h 277"/>
              <a:gd name="T92" fmla="*/ 1921 w 2202"/>
              <a:gd name="T93" fmla="*/ 230 h 277"/>
              <a:gd name="T94" fmla="*/ 1921 w 2202"/>
              <a:gd name="T95" fmla="*/ 195 h 277"/>
              <a:gd name="T96" fmla="*/ 1827 w 2202"/>
              <a:gd name="T97" fmla="*/ 168 h 277"/>
              <a:gd name="T98" fmla="*/ 1921 w 2202"/>
              <a:gd name="T99" fmla="*/ 144 h 277"/>
              <a:gd name="T100" fmla="*/ 1686 w 2202"/>
              <a:gd name="T101" fmla="*/ 57 h 277"/>
              <a:gd name="T102" fmla="*/ 1956 w 2202"/>
              <a:gd name="T103" fmla="*/ 80 h 277"/>
              <a:gd name="T104" fmla="*/ 1943 w 2202"/>
              <a:gd name="T105" fmla="*/ 134 h 277"/>
              <a:gd name="T106" fmla="*/ 1943 w 2202"/>
              <a:gd name="T107" fmla="*/ 140 h 277"/>
              <a:gd name="T108" fmla="*/ 1955 w 2202"/>
              <a:gd name="T109" fmla="*/ 17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02" h="277">
                <a:moveTo>
                  <a:pt x="2199" y="107"/>
                </a:moveTo>
                <a:cubicBezTo>
                  <a:pt x="2197" y="100"/>
                  <a:pt x="2190" y="93"/>
                  <a:pt x="2182" y="92"/>
                </a:cubicBezTo>
                <a:cubicBezTo>
                  <a:pt x="1829" y="31"/>
                  <a:pt x="1471" y="1"/>
                  <a:pt x="1114" y="0"/>
                </a:cubicBezTo>
                <a:cubicBezTo>
                  <a:pt x="1107" y="0"/>
                  <a:pt x="1101" y="0"/>
                  <a:pt x="1101" y="0"/>
                </a:cubicBezTo>
                <a:cubicBezTo>
                  <a:pt x="1101" y="0"/>
                  <a:pt x="1095" y="0"/>
                  <a:pt x="1088" y="0"/>
                </a:cubicBezTo>
                <a:cubicBezTo>
                  <a:pt x="730" y="1"/>
                  <a:pt x="373" y="31"/>
                  <a:pt x="19" y="92"/>
                </a:cubicBezTo>
                <a:cubicBezTo>
                  <a:pt x="12" y="93"/>
                  <a:pt x="5" y="100"/>
                  <a:pt x="3" y="107"/>
                </a:cubicBezTo>
                <a:cubicBezTo>
                  <a:pt x="2" y="108"/>
                  <a:pt x="2" y="109"/>
                  <a:pt x="2" y="110"/>
                </a:cubicBezTo>
                <a:cubicBezTo>
                  <a:pt x="0" y="117"/>
                  <a:pt x="3" y="126"/>
                  <a:pt x="9" y="129"/>
                </a:cubicBezTo>
                <a:cubicBezTo>
                  <a:pt x="92" y="175"/>
                  <a:pt x="176" y="224"/>
                  <a:pt x="261" y="273"/>
                </a:cubicBezTo>
                <a:cubicBezTo>
                  <a:pt x="266" y="277"/>
                  <a:pt x="276" y="276"/>
                  <a:pt x="282" y="271"/>
                </a:cubicBezTo>
                <a:cubicBezTo>
                  <a:pt x="307" y="250"/>
                  <a:pt x="332" y="230"/>
                  <a:pt x="357" y="210"/>
                </a:cubicBezTo>
                <a:cubicBezTo>
                  <a:pt x="362" y="205"/>
                  <a:pt x="373" y="203"/>
                  <a:pt x="379" y="204"/>
                </a:cubicBezTo>
                <a:cubicBezTo>
                  <a:pt x="431" y="217"/>
                  <a:pt x="483" y="229"/>
                  <a:pt x="535" y="243"/>
                </a:cubicBezTo>
                <a:cubicBezTo>
                  <a:pt x="542" y="245"/>
                  <a:pt x="553" y="244"/>
                  <a:pt x="560" y="241"/>
                </a:cubicBezTo>
                <a:cubicBezTo>
                  <a:pt x="612" y="218"/>
                  <a:pt x="664" y="196"/>
                  <a:pt x="717" y="175"/>
                </a:cubicBezTo>
                <a:cubicBezTo>
                  <a:pt x="724" y="172"/>
                  <a:pt x="734" y="173"/>
                  <a:pt x="740" y="177"/>
                </a:cubicBezTo>
                <a:cubicBezTo>
                  <a:pt x="764" y="192"/>
                  <a:pt x="788" y="208"/>
                  <a:pt x="812" y="223"/>
                </a:cubicBezTo>
                <a:cubicBezTo>
                  <a:pt x="818" y="227"/>
                  <a:pt x="827" y="227"/>
                  <a:pt x="833" y="222"/>
                </a:cubicBezTo>
                <a:cubicBezTo>
                  <a:pt x="851" y="210"/>
                  <a:pt x="868" y="197"/>
                  <a:pt x="886" y="185"/>
                </a:cubicBezTo>
                <a:cubicBezTo>
                  <a:pt x="892" y="181"/>
                  <a:pt x="903" y="178"/>
                  <a:pt x="910" y="179"/>
                </a:cubicBezTo>
                <a:cubicBezTo>
                  <a:pt x="969" y="188"/>
                  <a:pt x="1028" y="197"/>
                  <a:pt x="1088" y="208"/>
                </a:cubicBezTo>
                <a:cubicBezTo>
                  <a:pt x="1095" y="209"/>
                  <a:pt x="1107" y="209"/>
                  <a:pt x="1114" y="208"/>
                </a:cubicBezTo>
                <a:cubicBezTo>
                  <a:pt x="1173" y="197"/>
                  <a:pt x="1232" y="188"/>
                  <a:pt x="1292" y="179"/>
                </a:cubicBezTo>
                <a:cubicBezTo>
                  <a:pt x="1299" y="178"/>
                  <a:pt x="1309" y="181"/>
                  <a:pt x="1315" y="185"/>
                </a:cubicBezTo>
                <a:cubicBezTo>
                  <a:pt x="1333" y="197"/>
                  <a:pt x="1351" y="210"/>
                  <a:pt x="1368" y="222"/>
                </a:cubicBezTo>
                <a:cubicBezTo>
                  <a:pt x="1374" y="227"/>
                  <a:pt x="1384" y="227"/>
                  <a:pt x="1390" y="223"/>
                </a:cubicBezTo>
                <a:cubicBezTo>
                  <a:pt x="1414" y="208"/>
                  <a:pt x="1438" y="192"/>
                  <a:pt x="1462" y="177"/>
                </a:cubicBezTo>
                <a:cubicBezTo>
                  <a:pt x="1468" y="173"/>
                  <a:pt x="1478" y="172"/>
                  <a:pt x="1485" y="175"/>
                </a:cubicBezTo>
                <a:cubicBezTo>
                  <a:pt x="1537" y="196"/>
                  <a:pt x="1590" y="218"/>
                  <a:pt x="1642" y="241"/>
                </a:cubicBezTo>
                <a:cubicBezTo>
                  <a:pt x="1649" y="244"/>
                  <a:pt x="1660" y="245"/>
                  <a:pt x="1667" y="243"/>
                </a:cubicBezTo>
                <a:cubicBezTo>
                  <a:pt x="1719" y="229"/>
                  <a:pt x="1770" y="217"/>
                  <a:pt x="1822" y="204"/>
                </a:cubicBezTo>
                <a:cubicBezTo>
                  <a:pt x="1829" y="203"/>
                  <a:pt x="1839" y="205"/>
                  <a:pt x="1845" y="210"/>
                </a:cubicBezTo>
                <a:cubicBezTo>
                  <a:pt x="1870" y="230"/>
                  <a:pt x="1895" y="250"/>
                  <a:pt x="1920" y="271"/>
                </a:cubicBezTo>
                <a:cubicBezTo>
                  <a:pt x="1926" y="276"/>
                  <a:pt x="1935" y="277"/>
                  <a:pt x="1941" y="273"/>
                </a:cubicBezTo>
                <a:cubicBezTo>
                  <a:pt x="2025" y="224"/>
                  <a:pt x="2109" y="175"/>
                  <a:pt x="2193" y="129"/>
                </a:cubicBezTo>
                <a:cubicBezTo>
                  <a:pt x="2199" y="126"/>
                  <a:pt x="2202" y="117"/>
                  <a:pt x="2200" y="110"/>
                </a:cubicBezTo>
                <a:cubicBezTo>
                  <a:pt x="2199" y="109"/>
                  <a:pt x="2199" y="108"/>
                  <a:pt x="2199" y="107"/>
                </a:cubicBezTo>
                <a:close/>
                <a:moveTo>
                  <a:pt x="258" y="231"/>
                </a:moveTo>
                <a:cubicBezTo>
                  <a:pt x="258" y="238"/>
                  <a:pt x="254" y="241"/>
                  <a:pt x="248" y="238"/>
                </a:cubicBezTo>
                <a:cubicBezTo>
                  <a:pt x="194" y="206"/>
                  <a:pt x="141" y="175"/>
                  <a:pt x="87" y="145"/>
                </a:cubicBezTo>
                <a:cubicBezTo>
                  <a:pt x="81" y="142"/>
                  <a:pt x="82" y="140"/>
                  <a:pt x="89" y="142"/>
                </a:cubicBezTo>
                <a:cubicBezTo>
                  <a:pt x="141" y="152"/>
                  <a:pt x="194" y="162"/>
                  <a:pt x="246" y="174"/>
                </a:cubicBezTo>
                <a:cubicBezTo>
                  <a:pt x="253" y="175"/>
                  <a:pt x="258" y="182"/>
                  <a:pt x="258" y="190"/>
                </a:cubicBezTo>
                <a:cubicBezTo>
                  <a:pt x="258" y="203"/>
                  <a:pt x="258" y="217"/>
                  <a:pt x="258" y="231"/>
                </a:cubicBezTo>
                <a:close/>
                <a:moveTo>
                  <a:pt x="258" y="140"/>
                </a:moveTo>
                <a:cubicBezTo>
                  <a:pt x="258" y="147"/>
                  <a:pt x="253" y="151"/>
                  <a:pt x="246" y="150"/>
                </a:cubicBezTo>
                <a:cubicBezTo>
                  <a:pt x="196" y="139"/>
                  <a:pt x="145" y="129"/>
                  <a:pt x="95" y="119"/>
                </a:cubicBezTo>
                <a:cubicBezTo>
                  <a:pt x="88" y="117"/>
                  <a:pt x="88" y="116"/>
                  <a:pt x="95" y="117"/>
                </a:cubicBezTo>
                <a:cubicBezTo>
                  <a:pt x="145" y="117"/>
                  <a:pt x="195" y="118"/>
                  <a:pt x="246" y="120"/>
                </a:cubicBezTo>
                <a:cubicBezTo>
                  <a:pt x="253" y="121"/>
                  <a:pt x="258" y="127"/>
                  <a:pt x="258" y="134"/>
                </a:cubicBezTo>
                <a:cubicBezTo>
                  <a:pt x="258" y="136"/>
                  <a:pt x="258" y="138"/>
                  <a:pt x="258" y="140"/>
                </a:cubicBezTo>
                <a:close/>
                <a:moveTo>
                  <a:pt x="258" y="88"/>
                </a:moveTo>
                <a:cubicBezTo>
                  <a:pt x="258" y="93"/>
                  <a:pt x="253" y="97"/>
                  <a:pt x="246" y="97"/>
                </a:cubicBezTo>
                <a:cubicBezTo>
                  <a:pt x="216" y="96"/>
                  <a:pt x="187" y="95"/>
                  <a:pt x="158" y="95"/>
                </a:cubicBezTo>
                <a:cubicBezTo>
                  <a:pt x="151" y="94"/>
                  <a:pt x="151" y="93"/>
                  <a:pt x="158" y="92"/>
                </a:cubicBezTo>
                <a:cubicBezTo>
                  <a:pt x="187" y="88"/>
                  <a:pt x="216" y="84"/>
                  <a:pt x="245" y="80"/>
                </a:cubicBezTo>
                <a:cubicBezTo>
                  <a:pt x="253" y="79"/>
                  <a:pt x="258" y="83"/>
                  <a:pt x="258" y="88"/>
                </a:cubicBezTo>
                <a:close/>
                <a:moveTo>
                  <a:pt x="281" y="87"/>
                </a:moveTo>
                <a:cubicBezTo>
                  <a:pt x="281" y="81"/>
                  <a:pt x="287" y="75"/>
                  <a:pt x="294" y="74"/>
                </a:cubicBezTo>
                <a:cubicBezTo>
                  <a:pt x="367" y="64"/>
                  <a:pt x="440" y="56"/>
                  <a:pt x="513" y="50"/>
                </a:cubicBezTo>
                <a:cubicBezTo>
                  <a:pt x="520" y="49"/>
                  <a:pt x="521" y="52"/>
                  <a:pt x="515" y="57"/>
                </a:cubicBezTo>
                <a:cubicBezTo>
                  <a:pt x="497" y="71"/>
                  <a:pt x="479" y="85"/>
                  <a:pt x="460" y="100"/>
                </a:cubicBezTo>
                <a:cubicBezTo>
                  <a:pt x="454" y="104"/>
                  <a:pt x="444" y="108"/>
                  <a:pt x="437" y="107"/>
                </a:cubicBezTo>
                <a:cubicBezTo>
                  <a:pt x="389" y="104"/>
                  <a:pt x="341" y="101"/>
                  <a:pt x="294" y="99"/>
                </a:cubicBezTo>
                <a:cubicBezTo>
                  <a:pt x="287" y="99"/>
                  <a:pt x="281" y="94"/>
                  <a:pt x="281" y="87"/>
                </a:cubicBezTo>
                <a:close/>
                <a:moveTo>
                  <a:pt x="291" y="235"/>
                </a:moveTo>
                <a:cubicBezTo>
                  <a:pt x="286" y="240"/>
                  <a:pt x="281" y="238"/>
                  <a:pt x="281" y="230"/>
                </a:cubicBezTo>
                <a:cubicBezTo>
                  <a:pt x="281" y="218"/>
                  <a:pt x="281" y="207"/>
                  <a:pt x="281" y="195"/>
                </a:cubicBezTo>
                <a:cubicBezTo>
                  <a:pt x="281" y="187"/>
                  <a:pt x="286" y="183"/>
                  <a:pt x="293" y="184"/>
                </a:cubicBezTo>
                <a:cubicBezTo>
                  <a:pt x="305" y="187"/>
                  <a:pt x="316" y="190"/>
                  <a:pt x="328" y="192"/>
                </a:cubicBezTo>
                <a:cubicBezTo>
                  <a:pt x="335" y="194"/>
                  <a:pt x="335" y="199"/>
                  <a:pt x="330" y="204"/>
                </a:cubicBezTo>
                <a:cubicBezTo>
                  <a:pt x="317" y="214"/>
                  <a:pt x="304" y="224"/>
                  <a:pt x="291" y="235"/>
                </a:cubicBezTo>
                <a:close/>
                <a:moveTo>
                  <a:pt x="374" y="168"/>
                </a:moveTo>
                <a:cubicBezTo>
                  <a:pt x="368" y="173"/>
                  <a:pt x="358" y="175"/>
                  <a:pt x="351" y="174"/>
                </a:cubicBezTo>
                <a:cubicBezTo>
                  <a:pt x="332" y="169"/>
                  <a:pt x="312" y="165"/>
                  <a:pt x="293" y="160"/>
                </a:cubicBezTo>
                <a:cubicBezTo>
                  <a:pt x="286" y="159"/>
                  <a:pt x="281" y="152"/>
                  <a:pt x="281" y="144"/>
                </a:cubicBezTo>
                <a:cubicBezTo>
                  <a:pt x="281" y="141"/>
                  <a:pt x="281" y="138"/>
                  <a:pt x="281" y="135"/>
                </a:cubicBezTo>
                <a:cubicBezTo>
                  <a:pt x="281" y="127"/>
                  <a:pt x="287" y="122"/>
                  <a:pt x="294" y="122"/>
                </a:cubicBezTo>
                <a:cubicBezTo>
                  <a:pt x="332" y="124"/>
                  <a:pt x="371" y="126"/>
                  <a:pt x="410" y="129"/>
                </a:cubicBezTo>
                <a:cubicBezTo>
                  <a:pt x="417" y="129"/>
                  <a:pt x="418" y="133"/>
                  <a:pt x="412" y="138"/>
                </a:cubicBezTo>
                <a:cubicBezTo>
                  <a:pt x="399" y="148"/>
                  <a:pt x="387" y="158"/>
                  <a:pt x="374" y="168"/>
                </a:cubicBezTo>
                <a:close/>
                <a:moveTo>
                  <a:pt x="535" y="206"/>
                </a:moveTo>
                <a:cubicBezTo>
                  <a:pt x="535" y="213"/>
                  <a:pt x="530" y="218"/>
                  <a:pt x="523" y="216"/>
                </a:cubicBezTo>
                <a:cubicBezTo>
                  <a:pt x="483" y="206"/>
                  <a:pt x="442" y="195"/>
                  <a:pt x="402" y="186"/>
                </a:cubicBezTo>
                <a:cubicBezTo>
                  <a:pt x="395" y="184"/>
                  <a:pt x="395" y="179"/>
                  <a:pt x="401" y="174"/>
                </a:cubicBezTo>
                <a:cubicBezTo>
                  <a:pt x="415" y="163"/>
                  <a:pt x="430" y="151"/>
                  <a:pt x="444" y="140"/>
                </a:cubicBezTo>
                <a:cubicBezTo>
                  <a:pt x="450" y="135"/>
                  <a:pt x="461" y="132"/>
                  <a:pt x="468" y="132"/>
                </a:cubicBezTo>
                <a:cubicBezTo>
                  <a:pt x="486" y="134"/>
                  <a:pt x="504" y="135"/>
                  <a:pt x="523" y="137"/>
                </a:cubicBezTo>
                <a:cubicBezTo>
                  <a:pt x="530" y="137"/>
                  <a:pt x="535" y="143"/>
                  <a:pt x="535" y="151"/>
                </a:cubicBezTo>
                <a:cubicBezTo>
                  <a:pt x="535" y="169"/>
                  <a:pt x="535" y="188"/>
                  <a:pt x="535" y="206"/>
                </a:cubicBezTo>
                <a:close/>
                <a:moveTo>
                  <a:pt x="535" y="101"/>
                </a:moveTo>
                <a:cubicBezTo>
                  <a:pt x="535" y="109"/>
                  <a:pt x="530" y="114"/>
                  <a:pt x="523" y="113"/>
                </a:cubicBezTo>
                <a:cubicBezTo>
                  <a:pt x="513" y="113"/>
                  <a:pt x="504" y="112"/>
                  <a:pt x="494" y="111"/>
                </a:cubicBezTo>
                <a:cubicBezTo>
                  <a:pt x="487" y="111"/>
                  <a:pt x="486" y="107"/>
                  <a:pt x="492" y="102"/>
                </a:cubicBezTo>
                <a:cubicBezTo>
                  <a:pt x="503" y="94"/>
                  <a:pt x="514" y="85"/>
                  <a:pt x="525" y="77"/>
                </a:cubicBezTo>
                <a:cubicBezTo>
                  <a:pt x="531" y="72"/>
                  <a:pt x="535" y="74"/>
                  <a:pt x="535" y="81"/>
                </a:cubicBezTo>
                <a:cubicBezTo>
                  <a:pt x="535" y="88"/>
                  <a:pt x="535" y="95"/>
                  <a:pt x="535" y="101"/>
                </a:cubicBezTo>
                <a:close/>
                <a:moveTo>
                  <a:pt x="558" y="78"/>
                </a:moveTo>
                <a:cubicBezTo>
                  <a:pt x="558" y="71"/>
                  <a:pt x="563" y="68"/>
                  <a:pt x="569" y="71"/>
                </a:cubicBezTo>
                <a:cubicBezTo>
                  <a:pt x="595" y="87"/>
                  <a:pt x="621" y="103"/>
                  <a:pt x="647" y="119"/>
                </a:cubicBezTo>
                <a:cubicBezTo>
                  <a:pt x="653" y="123"/>
                  <a:pt x="652" y="125"/>
                  <a:pt x="645" y="125"/>
                </a:cubicBezTo>
                <a:cubicBezTo>
                  <a:pt x="620" y="122"/>
                  <a:pt x="595" y="120"/>
                  <a:pt x="571" y="118"/>
                </a:cubicBezTo>
                <a:cubicBezTo>
                  <a:pt x="564" y="117"/>
                  <a:pt x="558" y="111"/>
                  <a:pt x="558" y="104"/>
                </a:cubicBezTo>
                <a:cubicBezTo>
                  <a:pt x="558" y="95"/>
                  <a:pt x="558" y="86"/>
                  <a:pt x="558" y="78"/>
                </a:cubicBezTo>
                <a:close/>
                <a:moveTo>
                  <a:pt x="570" y="211"/>
                </a:moveTo>
                <a:cubicBezTo>
                  <a:pt x="564" y="214"/>
                  <a:pt x="558" y="211"/>
                  <a:pt x="558" y="204"/>
                </a:cubicBezTo>
                <a:cubicBezTo>
                  <a:pt x="558" y="187"/>
                  <a:pt x="558" y="170"/>
                  <a:pt x="558" y="152"/>
                </a:cubicBezTo>
                <a:cubicBezTo>
                  <a:pt x="558" y="145"/>
                  <a:pt x="564" y="140"/>
                  <a:pt x="571" y="141"/>
                </a:cubicBezTo>
                <a:cubicBezTo>
                  <a:pt x="613" y="144"/>
                  <a:pt x="655" y="148"/>
                  <a:pt x="697" y="153"/>
                </a:cubicBezTo>
                <a:cubicBezTo>
                  <a:pt x="704" y="153"/>
                  <a:pt x="704" y="156"/>
                  <a:pt x="697" y="159"/>
                </a:cubicBezTo>
                <a:cubicBezTo>
                  <a:pt x="655" y="176"/>
                  <a:pt x="613" y="194"/>
                  <a:pt x="570" y="211"/>
                </a:cubicBezTo>
                <a:close/>
                <a:moveTo>
                  <a:pt x="811" y="182"/>
                </a:moveTo>
                <a:cubicBezTo>
                  <a:pt x="811" y="190"/>
                  <a:pt x="806" y="192"/>
                  <a:pt x="800" y="189"/>
                </a:cubicBezTo>
                <a:cubicBezTo>
                  <a:pt x="788" y="181"/>
                  <a:pt x="776" y="173"/>
                  <a:pt x="764" y="166"/>
                </a:cubicBezTo>
                <a:cubicBezTo>
                  <a:pt x="758" y="162"/>
                  <a:pt x="759" y="160"/>
                  <a:pt x="766" y="161"/>
                </a:cubicBezTo>
                <a:cubicBezTo>
                  <a:pt x="777" y="162"/>
                  <a:pt x="787" y="163"/>
                  <a:pt x="798" y="164"/>
                </a:cubicBezTo>
                <a:cubicBezTo>
                  <a:pt x="805" y="165"/>
                  <a:pt x="811" y="172"/>
                  <a:pt x="811" y="179"/>
                </a:cubicBezTo>
                <a:cubicBezTo>
                  <a:pt x="811" y="180"/>
                  <a:pt x="811" y="181"/>
                  <a:pt x="811" y="182"/>
                </a:cubicBezTo>
                <a:close/>
                <a:moveTo>
                  <a:pt x="811" y="101"/>
                </a:moveTo>
                <a:cubicBezTo>
                  <a:pt x="811" y="108"/>
                  <a:pt x="805" y="116"/>
                  <a:pt x="799" y="119"/>
                </a:cubicBezTo>
                <a:cubicBezTo>
                  <a:pt x="788" y="123"/>
                  <a:pt x="777" y="127"/>
                  <a:pt x="766" y="131"/>
                </a:cubicBezTo>
                <a:cubicBezTo>
                  <a:pt x="760" y="134"/>
                  <a:pt x="748" y="136"/>
                  <a:pt x="741" y="135"/>
                </a:cubicBezTo>
                <a:cubicBezTo>
                  <a:pt x="735" y="134"/>
                  <a:pt x="729" y="133"/>
                  <a:pt x="723" y="133"/>
                </a:cubicBezTo>
                <a:cubicBezTo>
                  <a:pt x="716" y="132"/>
                  <a:pt x="705" y="128"/>
                  <a:pt x="700" y="125"/>
                </a:cubicBezTo>
                <a:cubicBezTo>
                  <a:pt x="660" y="100"/>
                  <a:pt x="621" y="75"/>
                  <a:pt x="581" y="51"/>
                </a:cubicBezTo>
                <a:cubicBezTo>
                  <a:pt x="575" y="47"/>
                  <a:pt x="576" y="44"/>
                  <a:pt x="583" y="43"/>
                </a:cubicBezTo>
                <a:cubicBezTo>
                  <a:pt x="655" y="38"/>
                  <a:pt x="726" y="33"/>
                  <a:pt x="798" y="30"/>
                </a:cubicBezTo>
                <a:cubicBezTo>
                  <a:pt x="805" y="29"/>
                  <a:pt x="811" y="35"/>
                  <a:pt x="811" y="42"/>
                </a:cubicBezTo>
                <a:cubicBezTo>
                  <a:pt x="811" y="62"/>
                  <a:pt x="811" y="81"/>
                  <a:pt x="811" y="101"/>
                </a:cubicBezTo>
                <a:close/>
                <a:moveTo>
                  <a:pt x="834" y="41"/>
                </a:moveTo>
                <a:cubicBezTo>
                  <a:pt x="834" y="34"/>
                  <a:pt x="839" y="28"/>
                  <a:pt x="847" y="28"/>
                </a:cubicBezTo>
                <a:cubicBezTo>
                  <a:pt x="914" y="25"/>
                  <a:pt x="981" y="23"/>
                  <a:pt x="1048" y="23"/>
                </a:cubicBezTo>
                <a:cubicBezTo>
                  <a:pt x="1055" y="23"/>
                  <a:pt x="1055" y="25"/>
                  <a:pt x="1049" y="27"/>
                </a:cubicBezTo>
                <a:cubicBezTo>
                  <a:pt x="981" y="50"/>
                  <a:pt x="913" y="75"/>
                  <a:pt x="846" y="101"/>
                </a:cubicBezTo>
                <a:cubicBezTo>
                  <a:pt x="839" y="103"/>
                  <a:pt x="834" y="100"/>
                  <a:pt x="834" y="92"/>
                </a:cubicBezTo>
                <a:cubicBezTo>
                  <a:pt x="834" y="75"/>
                  <a:pt x="834" y="58"/>
                  <a:pt x="834" y="41"/>
                </a:cubicBezTo>
                <a:close/>
                <a:moveTo>
                  <a:pt x="844" y="187"/>
                </a:moveTo>
                <a:cubicBezTo>
                  <a:pt x="838" y="191"/>
                  <a:pt x="833" y="189"/>
                  <a:pt x="833" y="182"/>
                </a:cubicBezTo>
                <a:cubicBezTo>
                  <a:pt x="833" y="175"/>
                  <a:pt x="839" y="170"/>
                  <a:pt x="846" y="171"/>
                </a:cubicBezTo>
                <a:cubicBezTo>
                  <a:pt x="848" y="171"/>
                  <a:pt x="849" y="171"/>
                  <a:pt x="851" y="171"/>
                </a:cubicBezTo>
                <a:cubicBezTo>
                  <a:pt x="858" y="172"/>
                  <a:pt x="859" y="176"/>
                  <a:pt x="853" y="181"/>
                </a:cubicBezTo>
                <a:cubicBezTo>
                  <a:pt x="850" y="183"/>
                  <a:pt x="847" y="185"/>
                  <a:pt x="844" y="187"/>
                </a:cubicBezTo>
                <a:close/>
                <a:moveTo>
                  <a:pt x="902" y="146"/>
                </a:moveTo>
                <a:cubicBezTo>
                  <a:pt x="896" y="150"/>
                  <a:pt x="886" y="153"/>
                  <a:pt x="879" y="152"/>
                </a:cubicBezTo>
                <a:cubicBezTo>
                  <a:pt x="868" y="151"/>
                  <a:pt x="857" y="149"/>
                  <a:pt x="846" y="148"/>
                </a:cubicBezTo>
                <a:cubicBezTo>
                  <a:pt x="839" y="147"/>
                  <a:pt x="834" y="142"/>
                  <a:pt x="834" y="138"/>
                </a:cubicBezTo>
                <a:cubicBezTo>
                  <a:pt x="834" y="133"/>
                  <a:pt x="839" y="127"/>
                  <a:pt x="846" y="125"/>
                </a:cubicBezTo>
                <a:cubicBezTo>
                  <a:pt x="903" y="103"/>
                  <a:pt x="961" y="82"/>
                  <a:pt x="1019" y="61"/>
                </a:cubicBezTo>
                <a:cubicBezTo>
                  <a:pt x="1025" y="59"/>
                  <a:pt x="1026" y="60"/>
                  <a:pt x="1020" y="64"/>
                </a:cubicBezTo>
                <a:cubicBezTo>
                  <a:pt x="981" y="91"/>
                  <a:pt x="942" y="119"/>
                  <a:pt x="902" y="146"/>
                </a:cubicBezTo>
                <a:close/>
                <a:moveTo>
                  <a:pt x="1089" y="172"/>
                </a:moveTo>
                <a:cubicBezTo>
                  <a:pt x="1089" y="179"/>
                  <a:pt x="1083" y="184"/>
                  <a:pt x="1076" y="183"/>
                </a:cubicBezTo>
                <a:cubicBezTo>
                  <a:pt x="1030" y="175"/>
                  <a:pt x="983" y="167"/>
                  <a:pt x="937" y="160"/>
                </a:cubicBezTo>
                <a:cubicBezTo>
                  <a:pt x="929" y="159"/>
                  <a:pt x="929" y="155"/>
                  <a:pt x="934" y="151"/>
                </a:cubicBezTo>
                <a:cubicBezTo>
                  <a:pt x="982" y="117"/>
                  <a:pt x="1030" y="84"/>
                  <a:pt x="1078" y="51"/>
                </a:cubicBezTo>
                <a:cubicBezTo>
                  <a:pt x="1084" y="47"/>
                  <a:pt x="1089" y="49"/>
                  <a:pt x="1089" y="57"/>
                </a:cubicBezTo>
                <a:cubicBezTo>
                  <a:pt x="1089" y="95"/>
                  <a:pt x="1089" y="133"/>
                  <a:pt x="1089" y="172"/>
                </a:cubicBezTo>
                <a:close/>
                <a:moveTo>
                  <a:pt x="1125" y="183"/>
                </a:moveTo>
                <a:cubicBezTo>
                  <a:pt x="1118" y="184"/>
                  <a:pt x="1112" y="179"/>
                  <a:pt x="1112" y="172"/>
                </a:cubicBezTo>
                <a:cubicBezTo>
                  <a:pt x="1112" y="133"/>
                  <a:pt x="1112" y="95"/>
                  <a:pt x="1112" y="57"/>
                </a:cubicBezTo>
                <a:cubicBezTo>
                  <a:pt x="1112" y="49"/>
                  <a:pt x="1117" y="47"/>
                  <a:pt x="1123" y="51"/>
                </a:cubicBezTo>
                <a:cubicBezTo>
                  <a:pt x="1171" y="84"/>
                  <a:pt x="1219" y="117"/>
                  <a:pt x="1267" y="151"/>
                </a:cubicBezTo>
                <a:cubicBezTo>
                  <a:pt x="1273" y="155"/>
                  <a:pt x="1272" y="159"/>
                  <a:pt x="1265" y="160"/>
                </a:cubicBezTo>
                <a:cubicBezTo>
                  <a:pt x="1218" y="167"/>
                  <a:pt x="1171" y="175"/>
                  <a:pt x="1125" y="183"/>
                </a:cubicBezTo>
                <a:close/>
                <a:moveTo>
                  <a:pt x="1368" y="182"/>
                </a:moveTo>
                <a:cubicBezTo>
                  <a:pt x="1368" y="189"/>
                  <a:pt x="1363" y="191"/>
                  <a:pt x="1357" y="187"/>
                </a:cubicBezTo>
                <a:cubicBezTo>
                  <a:pt x="1354" y="185"/>
                  <a:pt x="1351" y="183"/>
                  <a:pt x="1348" y="181"/>
                </a:cubicBezTo>
                <a:cubicBezTo>
                  <a:pt x="1342" y="176"/>
                  <a:pt x="1343" y="172"/>
                  <a:pt x="1350" y="171"/>
                </a:cubicBezTo>
                <a:cubicBezTo>
                  <a:pt x="1352" y="171"/>
                  <a:pt x="1353" y="171"/>
                  <a:pt x="1355" y="171"/>
                </a:cubicBezTo>
                <a:cubicBezTo>
                  <a:pt x="1362" y="170"/>
                  <a:pt x="1368" y="175"/>
                  <a:pt x="1368" y="182"/>
                </a:cubicBezTo>
                <a:close/>
                <a:moveTo>
                  <a:pt x="1368" y="138"/>
                </a:moveTo>
                <a:cubicBezTo>
                  <a:pt x="1368" y="142"/>
                  <a:pt x="1362" y="147"/>
                  <a:pt x="1355" y="148"/>
                </a:cubicBezTo>
                <a:cubicBezTo>
                  <a:pt x="1344" y="149"/>
                  <a:pt x="1333" y="151"/>
                  <a:pt x="1323" y="152"/>
                </a:cubicBezTo>
                <a:cubicBezTo>
                  <a:pt x="1316" y="153"/>
                  <a:pt x="1305" y="150"/>
                  <a:pt x="1299" y="146"/>
                </a:cubicBezTo>
                <a:cubicBezTo>
                  <a:pt x="1260" y="119"/>
                  <a:pt x="1220" y="91"/>
                  <a:pt x="1181" y="64"/>
                </a:cubicBezTo>
                <a:cubicBezTo>
                  <a:pt x="1175" y="60"/>
                  <a:pt x="1176" y="59"/>
                  <a:pt x="1183" y="61"/>
                </a:cubicBezTo>
                <a:cubicBezTo>
                  <a:pt x="1240" y="82"/>
                  <a:pt x="1298" y="103"/>
                  <a:pt x="1355" y="125"/>
                </a:cubicBezTo>
                <a:cubicBezTo>
                  <a:pt x="1362" y="127"/>
                  <a:pt x="1368" y="133"/>
                  <a:pt x="1368" y="138"/>
                </a:cubicBezTo>
                <a:close/>
                <a:moveTo>
                  <a:pt x="1368" y="92"/>
                </a:moveTo>
                <a:cubicBezTo>
                  <a:pt x="1368" y="100"/>
                  <a:pt x="1362" y="103"/>
                  <a:pt x="1355" y="101"/>
                </a:cubicBezTo>
                <a:cubicBezTo>
                  <a:pt x="1288" y="75"/>
                  <a:pt x="1220" y="50"/>
                  <a:pt x="1153" y="27"/>
                </a:cubicBezTo>
                <a:cubicBezTo>
                  <a:pt x="1146" y="25"/>
                  <a:pt x="1146" y="23"/>
                  <a:pt x="1154" y="23"/>
                </a:cubicBezTo>
                <a:cubicBezTo>
                  <a:pt x="1221" y="23"/>
                  <a:pt x="1288" y="25"/>
                  <a:pt x="1355" y="28"/>
                </a:cubicBezTo>
                <a:cubicBezTo>
                  <a:pt x="1362" y="28"/>
                  <a:pt x="1368" y="34"/>
                  <a:pt x="1368" y="41"/>
                </a:cubicBezTo>
                <a:cubicBezTo>
                  <a:pt x="1368" y="58"/>
                  <a:pt x="1368" y="75"/>
                  <a:pt x="1368" y="92"/>
                </a:cubicBezTo>
                <a:close/>
                <a:moveTo>
                  <a:pt x="1401" y="189"/>
                </a:moveTo>
                <a:cubicBezTo>
                  <a:pt x="1395" y="192"/>
                  <a:pt x="1390" y="190"/>
                  <a:pt x="1390" y="182"/>
                </a:cubicBezTo>
                <a:cubicBezTo>
                  <a:pt x="1390" y="181"/>
                  <a:pt x="1390" y="180"/>
                  <a:pt x="1390" y="179"/>
                </a:cubicBezTo>
                <a:cubicBezTo>
                  <a:pt x="1390" y="172"/>
                  <a:pt x="1396" y="165"/>
                  <a:pt x="1403" y="164"/>
                </a:cubicBezTo>
                <a:cubicBezTo>
                  <a:pt x="1414" y="163"/>
                  <a:pt x="1424" y="162"/>
                  <a:pt x="1435" y="161"/>
                </a:cubicBezTo>
                <a:cubicBezTo>
                  <a:pt x="1442" y="160"/>
                  <a:pt x="1443" y="162"/>
                  <a:pt x="1437" y="166"/>
                </a:cubicBezTo>
                <a:cubicBezTo>
                  <a:pt x="1425" y="173"/>
                  <a:pt x="1413" y="181"/>
                  <a:pt x="1401" y="189"/>
                </a:cubicBezTo>
                <a:close/>
                <a:moveTo>
                  <a:pt x="1460" y="135"/>
                </a:moveTo>
                <a:cubicBezTo>
                  <a:pt x="1453" y="136"/>
                  <a:pt x="1441" y="134"/>
                  <a:pt x="1435" y="131"/>
                </a:cubicBezTo>
                <a:cubicBezTo>
                  <a:pt x="1424" y="127"/>
                  <a:pt x="1413" y="123"/>
                  <a:pt x="1403" y="119"/>
                </a:cubicBezTo>
                <a:cubicBezTo>
                  <a:pt x="1396" y="116"/>
                  <a:pt x="1390" y="108"/>
                  <a:pt x="1390" y="101"/>
                </a:cubicBezTo>
                <a:cubicBezTo>
                  <a:pt x="1390" y="81"/>
                  <a:pt x="1390" y="62"/>
                  <a:pt x="1390" y="42"/>
                </a:cubicBezTo>
                <a:cubicBezTo>
                  <a:pt x="1390" y="35"/>
                  <a:pt x="1396" y="29"/>
                  <a:pt x="1403" y="30"/>
                </a:cubicBezTo>
                <a:cubicBezTo>
                  <a:pt x="1475" y="33"/>
                  <a:pt x="1546" y="38"/>
                  <a:pt x="1618" y="43"/>
                </a:cubicBezTo>
                <a:cubicBezTo>
                  <a:pt x="1625" y="44"/>
                  <a:pt x="1626" y="47"/>
                  <a:pt x="1620" y="51"/>
                </a:cubicBezTo>
                <a:cubicBezTo>
                  <a:pt x="1581" y="75"/>
                  <a:pt x="1541" y="100"/>
                  <a:pt x="1502" y="125"/>
                </a:cubicBezTo>
                <a:cubicBezTo>
                  <a:pt x="1496" y="128"/>
                  <a:pt x="1485" y="132"/>
                  <a:pt x="1478" y="133"/>
                </a:cubicBezTo>
                <a:cubicBezTo>
                  <a:pt x="1472" y="133"/>
                  <a:pt x="1466" y="134"/>
                  <a:pt x="1460" y="135"/>
                </a:cubicBezTo>
                <a:close/>
                <a:moveTo>
                  <a:pt x="1643" y="204"/>
                </a:moveTo>
                <a:cubicBezTo>
                  <a:pt x="1643" y="211"/>
                  <a:pt x="1638" y="214"/>
                  <a:pt x="1631" y="211"/>
                </a:cubicBezTo>
                <a:cubicBezTo>
                  <a:pt x="1589" y="194"/>
                  <a:pt x="1546" y="176"/>
                  <a:pt x="1504" y="159"/>
                </a:cubicBezTo>
                <a:cubicBezTo>
                  <a:pt x="1497" y="156"/>
                  <a:pt x="1498" y="153"/>
                  <a:pt x="1505" y="153"/>
                </a:cubicBezTo>
                <a:cubicBezTo>
                  <a:pt x="1547" y="148"/>
                  <a:pt x="1589" y="144"/>
                  <a:pt x="1630" y="141"/>
                </a:cubicBezTo>
                <a:cubicBezTo>
                  <a:pt x="1638" y="140"/>
                  <a:pt x="1643" y="145"/>
                  <a:pt x="1643" y="152"/>
                </a:cubicBezTo>
                <a:cubicBezTo>
                  <a:pt x="1643" y="170"/>
                  <a:pt x="1643" y="187"/>
                  <a:pt x="1643" y="204"/>
                </a:cubicBezTo>
                <a:close/>
                <a:moveTo>
                  <a:pt x="1643" y="104"/>
                </a:moveTo>
                <a:cubicBezTo>
                  <a:pt x="1643" y="111"/>
                  <a:pt x="1638" y="117"/>
                  <a:pt x="1630" y="118"/>
                </a:cubicBezTo>
                <a:cubicBezTo>
                  <a:pt x="1606" y="120"/>
                  <a:pt x="1581" y="122"/>
                  <a:pt x="1557" y="125"/>
                </a:cubicBezTo>
                <a:cubicBezTo>
                  <a:pt x="1550" y="125"/>
                  <a:pt x="1549" y="123"/>
                  <a:pt x="1555" y="119"/>
                </a:cubicBezTo>
                <a:cubicBezTo>
                  <a:pt x="1581" y="103"/>
                  <a:pt x="1607" y="87"/>
                  <a:pt x="1633" y="71"/>
                </a:cubicBezTo>
                <a:cubicBezTo>
                  <a:pt x="1638" y="68"/>
                  <a:pt x="1643" y="71"/>
                  <a:pt x="1643" y="78"/>
                </a:cubicBezTo>
                <a:cubicBezTo>
                  <a:pt x="1643" y="86"/>
                  <a:pt x="1643" y="95"/>
                  <a:pt x="1643" y="104"/>
                </a:cubicBezTo>
                <a:close/>
                <a:moveTo>
                  <a:pt x="1666" y="81"/>
                </a:moveTo>
                <a:cubicBezTo>
                  <a:pt x="1666" y="74"/>
                  <a:pt x="1671" y="72"/>
                  <a:pt x="1677" y="77"/>
                </a:cubicBezTo>
                <a:cubicBezTo>
                  <a:pt x="1687" y="85"/>
                  <a:pt x="1698" y="93"/>
                  <a:pt x="1709" y="102"/>
                </a:cubicBezTo>
                <a:cubicBezTo>
                  <a:pt x="1715" y="106"/>
                  <a:pt x="1714" y="111"/>
                  <a:pt x="1707" y="111"/>
                </a:cubicBezTo>
                <a:cubicBezTo>
                  <a:pt x="1697" y="112"/>
                  <a:pt x="1688" y="113"/>
                  <a:pt x="1679" y="113"/>
                </a:cubicBezTo>
                <a:cubicBezTo>
                  <a:pt x="1672" y="114"/>
                  <a:pt x="1666" y="109"/>
                  <a:pt x="1666" y="101"/>
                </a:cubicBezTo>
                <a:cubicBezTo>
                  <a:pt x="1666" y="95"/>
                  <a:pt x="1666" y="88"/>
                  <a:pt x="1666" y="81"/>
                </a:cubicBezTo>
                <a:close/>
                <a:moveTo>
                  <a:pt x="1678" y="216"/>
                </a:moveTo>
                <a:cubicBezTo>
                  <a:pt x="1671" y="218"/>
                  <a:pt x="1666" y="213"/>
                  <a:pt x="1666" y="206"/>
                </a:cubicBezTo>
                <a:cubicBezTo>
                  <a:pt x="1666" y="188"/>
                  <a:pt x="1666" y="169"/>
                  <a:pt x="1666" y="151"/>
                </a:cubicBezTo>
                <a:cubicBezTo>
                  <a:pt x="1666" y="143"/>
                  <a:pt x="1672" y="137"/>
                  <a:pt x="1679" y="137"/>
                </a:cubicBezTo>
                <a:cubicBezTo>
                  <a:pt x="1697" y="135"/>
                  <a:pt x="1715" y="134"/>
                  <a:pt x="1734" y="132"/>
                </a:cubicBezTo>
                <a:cubicBezTo>
                  <a:pt x="1741" y="132"/>
                  <a:pt x="1751" y="135"/>
                  <a:pt x="1757" y="140"/>
                </a:cubicBezTo>
                <a:cubicBezTo>
                  <a:pt x="1772" y="151"/>
                  <a:pt x="1786" y="163"/>
                  <a:pt x="1801" y="174"/>
                </a:cubicBezTo>
                <a:cubicBezTo>
                  <a:pt x="1806" y="179"/>
                  <a:pt x="1806" y="184"/>
                  <a:pt x="1799" y="186"/>
                </a:cubicBezTo>
                <a:cubicBezTo>
                  <a:pt x="1759" y="195"/>
                  <a:pt x="1718" y="206"/>
                  <a:pt x="1678" y="216"/>
                </a:cubicBezTo>
                <a:close/>
                <a:moveTo>
                  <a:pt x="1921" y="230"/>
                </a:moveTo>
                <a:cubicBezTo>
                  <a:pt x="1921" y="238"/>
                  <a:pt x="1916" y="240"/>
                  <a:pt x="1910" y="235"/>
                </a:cubicBezTo>
                <a:cubicBezTo>
                  <a:pt x="1897" y="224"/>
                  <a:pt x="1884" y="214"/>
                  <a:pt x="1871" y="204"/>
                </a:cubicBezTo>
                <a:cubicBezTo>
                  <a:pt x="1866" y="199"/>
                  <a:pt x="1866" y="194"/>
                  <a:pt x="1873" y="192"/>
                </a:cubicBezTo>
                <a:cubicBezTo>
                  <a:pt x="1885" y="190"/>
                  <a:pt x="1897" y="187"/>
                  <a:pt x="1908" y="184"/>
                </a:cubicBezTo>
                <a:cubicBezTo>
                  <a:pt x="1915" y="183"/>
                  <a:pt x="1921" y="187"/>
                  <a:pt x="1921" y="195"/>
                </a:cubicBezTo>
                <a:cubicBezTo>
                  <a:pt x="1921" y="207"/>
                  <a:pt x="1921" y="218"/>
                  <a:pt x="1921" y="230"/>
                </a:cubicBezTo>
                <a:close/>
                <a:moveTo>
                  <a:pt x="1921" y="144"/>
                </a:moveTo>
                <a:cubicBezTo>
                  <a:pt x="1921" y="152"/>
                  <a:pt x="1915" y="159"/>
                  <a:pt x="1908" y="160"/>
                </a:cubicBezTo>
                <a:cubicBezTo>
                  <a:pt x="1889" y="165"/>
                  <a:pt x="1869" y="169"/>
                  <a:pt x="1850" y="174"/>
                </a:cubicBezTo>
                <a:cubicBezTo>
                  <a:pt x="1843" y="175"/>
                  <a:pt x="1833" y="173"/>
                  <a:pt x="1827" y="168"/>
                </a:cubicBezTo>
                <a:cubicBezTo>
                  <a:pt x="1814" y="158"/>
                  <a:pt x="1802" y="148"/>
                  <a:pt x="1789" y="138"/>
                </a:cubicBezTo>
                <a:cubicBezTo>
                  <a:pt x="1783" y="133"/>
                  <a:pt x="1784" y="129"/>
                  <a:pt x="1791" y="128"/>
                </a:cubicBezTo>
                <a:cubicBezTo>
                  <a:pt x="1830" y="126"/>
                  <a:pt x="1869" y="124"/>
                  <a:pt x="1908" y="122"/>
                </a:cubicBezTo>
                <a:cubicBezTo>
                  <a:pt x="1915" y="122"/>
                  <a:pt x="1921" y="127"/>
                  <a:pt x="1921" y="135"/>
                </a:cubicBezTo>
                <a:cubicBezTo>
                  <a:pt x="1921" y="138"/>
                  <a:pt x="1921" y="141"/>
                  <a:pt x="1921" y="144"/>
                </a:cubicBezTo>
                <a:close/>
                <a:moveTo>
                  <a:pt x="1921" y="87"/>
                </a:moveTo>
                <a:cubicBezTo>
                  <a:pt x="1921" y="93"/>
                  <a:pt x="1915" y="99"/>
                  <a:pt x="1908" y="99"/>
                </a:cubicBezTo>
                <a:cubicBezTo>
                  <a:pt x="1860" y="101"/>
                  <a:pt x="1812" y="104"/>
                  <a:pt x="1764" y="107"/>
                </a:cubicBezTo>
                <a:cubicBezTo>
                  <a:pt x="1757" y="108"/>
                  <a:pt x="1747" y="104"/>
                  <a:pt x="1741" y="99"/>
                </a:cubicBezTo>
                <a:cubicBezTo>
                  <a:pt x="1723" y="85"/>
                  <a:pt x="1704" y="71"/>
                  <a:pt x="1686" y="57"/>
                </a:cubicBezTo>
                <a:cubicBezTo>
                  <a:pt x="1680" y="52"/>
                  <a:pt x="1681" y="49"/>
                  <a:pt x="1689" y="50"/>
                </a:cubicBezTo>
                <a:cubicBezTo>
                  <a:pt x="1762" y="56"/>
                  <a:pt x="1835" y="64"/>
                  <a:pt x="1908" y="74"/>
                </a:cubicBezTo>
                <a:cubicBezTo>
                  <a:pt x="1915" y="74"/>
                  <a:pt x="1921" y="81"/>
                  <a:pt x="1921" y="87"/>
                </a:cubicBezTo>
                <a:close/>
                <a:moveTo>
                  <a:pt x="1943" y="88"/>
                </a:moveTo>
                <a:cubicBezTo>
                  <a:pt x="1943" y="83"/>
                  <a:pt x="1949" y="79"/>
                  <a:pt x="1956" y="80"/>
                </a:cubicBezTo>
                <a:cubicBezTo>
                  <a:pt x="1985" y="84"/>
                  <a:pt x="2014" y="88"/>
                  <a:pt x="2043" y="92"/>
                </a:cubicBezTo>
                <a:cubicBezTo>
                  <a:pt x="2050" y="93"/>
                  <a:pt x="2050" y="94"/>
                  <a:pt x="2043" y="95"/>
                </a:cubicBezTo>
                <a:cubicBezTo>
                  <a:pt x="2014" y="95"/>
                  <a:pt x="1985" y="96"/>
                  <a:pt x="1956" y="97"/>
                </a:cubicBezTo>
                <a:cubicBezTo>
                  <a:pt x="1949" y="97"/>
                  <a:pt x="1943" y="93"/>
                  <a:pt x="1943" y="88"/>
                </a:cubicBezTo>
                <a:close/>
                <a:moveTo>
                  <a:pt x="1943" y="134"/>
                </a:moveTo>
                <a:cubicBezTo>
                  <a:pt x="1943" y="127"/>
                  <a:pt x="1949" y="121"/>
                  <a:pt x="1956" y="120"/>
                </a:cubicBezTo>
                <a:cubicBezTo>
                  <a:pt x="2006" y="118"/>
                  <a:pt x="2056" y="117"/>
                  <a:pt x="2106" y="116"/>
                </a:cubicBezTo>
                <a:cubicBezTo>
                  <a:pt x="2113" y="116"/>
                  <a:pt x="2113" y="117"/>
                  <a:pt x="2106" y="119"/>
                </a:cubicBezTo>
                <a:cubicBezTo>
                  <a:pt x="2056" y="128"/>
                  <a:pt x="2006" y="139"/>
                  <a:pt x="1955" y="150"/>
                </a:cubicBezTo>
                <a:cubicBezTo>
                  <a:pt x="1948" y="151"/>
                  <a:pt x="1943" y="147"/>
                  <a:pt x="1943" y="140"/>
                </a:cubicBezTo>
                <a:cubicBezTo>
                  <a:pt x="1943" y="138"/>
                  <a:pt x="1943" y="136"/>
                  <a:pt x="1943" y="134"/>
                </a:cubicBezTo>
                <a:close/>
                <a:moveTo>
                  <a:pt x="1953" y="238"/>
                </a:moveTo>
                <a:cubicBezTo>
                  <a:pt x="1948" y="241"/>
                  <a:pt x="1943" y="238"/>
                  <a:pt x="1943" y="231"/>
                </a:cubicBezTo>
                <a:cubicBezTo>
                  <a:pt x="1943" y="217"/>
                  <a:pt x="1943" y="203"/>
                  <a:pt x="1943" y="189"/>
                </a:cubicBezTo>
                <a:cubicBezTo>
                  <a:pt x="1943" y="182"/>
                  <a:pt x="1948" y="175"/>
                  <a:pt x="1955" y="174"/>
                </a:cubicBezTo>
                <a:cubicBezTo>
                  <a:pt x="2008" y="162"/>
                  <a:pt x="2060" y="152"/>
                  <a:pt x="2112" y="142"/>
                </a:cubicBezTo>
                <a:cubicBezTo>
                  <a:pt x="2119" y="140"/>
                  <a:pt x="2120" y="142"/>
                  <a:pt x="2114" y="145"/>
                </a:cubicBezTo>
                <a:cubicBezTo>
                  <a:pt x="2061" y="175"/>
                  <a:pt x="2007" y="206"/>
                  <a:pt x="1953" y="238"/>
                </a:cubicBezTo>
                <a:close/>
              </a:path>
            </a:pathLst>
          </a:custGeom>
          <a:solidFill>
            <a:schemeClr val="accent3"/>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5844854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49322" y="471251"/>
            <a:ext cx="1522404" cy="326167"/>
          </a:xfrm>
          <a:prstGeom prst="rect">
            <a:avLst/>
          </a:prstGeom>
        </p:spPr>
      </p:pic>
      <p:sp>
        <p:nvSpPr>
          <p:cNvPr id="6" name="Freeform 5"/>
          <p:cNvSpPr>
            <a:spLocks noChangeAspect="1" noEditPoints="1"/>
          </p:cNvSpPr>
          <p:nvPr userDrawn="1"/>
        </p:nvSpPr>
        <p:spPr bwMode="auto">
          <a:xfrm>
            <a:off x="-342355" y="5928340"/>
            <a:ext cx="12876710" cy="1816774"/>
          </a:xfrm>
          <a:custGeom>
            <a:avLst/>
            <a:gdLst>
              <a:gd name="T0" fmla="*/ 1088 w 2202"/>
              <a:gd name="T1" fmla="*/ 0 h 277"/>
              <a:gd name="T2" fmla="*/ 261 w 2202"/>
              <a:gd name="T3" fmla="*/ 273 h 277"/>
              <a:gd name="T4" fmla="*/ 560 w 2202"/>
              <a:gd name="T5" fmla="*/ 241 h 277"/>
              <a:gd name="T6" fmla="*/ 886 w 2202"/>
              <a:gd name="T7" fmla="*/ 185 h 277"/>
              <a:gd name="T8" fmla="*/ 1315 w 2202"/>
              <a:gd name="T9" fmla="*/ 185 h 277"/>
              <a:gd name="T10" fmla="*/ 1642 w 2202"/>
              <a:gd name="T11" fmla="*/ 241 h 277"/>
              <a:gd name="T12" fmla="*/ 1941 w 2202"/>
              <a:gd name="T13" fmla="*/ 273 h 277"/>
              <a:gd name="T14" fmla="*/ 248 w 2202"/>
              <a:gd name="T15" fmla="*/ 238 h 277"/>
              <a:gd name="T16" fmla="*/ 258 w 2202"/>
              <a:gd name="T17" fmla="*/ 231 h 277"/>
              <a:gd name="T18" fmla="*/ 246 w 2202"/>
              <a:gd name="T19" fmla="*/ 120 h 277"/>
              <a:gd name="T20" fmla="*/ 158 w 2202"/>
              <a:gd name="T21" fmla="*/ 95 h 277"/>
              <a:gd name="T22" fmla="*/ 294 w 2202"/>
              <a:gd name="T23" fmla="*/ 74 h 277"/>
              <a:gd name="T24" fmla="*/ 294 w 2202"/>
              <a:gd name="T25" fmla="*/ 99 h 277"/>
              <a:gd name="T26" fmla="*/ 293 w 2202"/>
              <a:gd name="T27" fmla="*/ 184 h 277"/>
              <a:gd name="T28" fmla="*/ 351 w 2202"/>
              <a:gd name="T29" fmla="*/ 174 h 277"/>
              <a:gd name="T30" fmla="*/ 410 w 2202"/>
              <a:gd name="T31" fmla="*/ 129 h 277"/>
              <a:gd name="T32" fmla="*/ 402 w 2202"/>
              <a:gd name="T33" fmla="*/ 186 h 277"/>
              <a:gd name="T34" fmla="*/ 535 w 2202"/>
              <a:gd name="T35" fmla="*/ 151 h 277"/>
              <a:gd name="T36" fmla="*/ 492 w 2202"/>
              <a:gd name="T37" fmla="*/ 102 h 277"/>
              <a:gd name="T38" fmla="*/ 569 w 2202"/>
              <a:gd name="T39" fmla="*/ 71 h 277"/>
              <a:gd name="T40" fmla="*/ 558 w 2202"/>
              <a:gd name="T41" fmla="*/ 78 h 277"/>
              <a:gd name="T42" fmla="*/ 697 w 2202"/>
              <a:gd name="T43" fmla="*/ 153 h 277"/>
              <a:gd name="T44" fmla="*/ 764 w 2202"/>
              <a:gd name="T45" fmla="*/ 166 h 277"/>
              <a:gd name="T46" fmla="*/ 811 w 2202"/>
              <a:gd name="T47" fmla="*/ 101 h 277"/>
              <a:gd name="T48" fmla="*/ 700 w 2202"/>
              <a:gd name="T49" fmla="*/ 125 h 277"/>
              <a:gd name="T50" fmla="*/ 811 w 2202"/>
              <a:gd name="T51" fmla="*/ 101 h 277"/>
              <a:gd name="T52" fmla="*/ 846 w 2202"/>
              <a:gd name="T53" fmla="*/ 101 h 277"/>
              <a:gd name="T54" fmla="*/ 846 w 2202"/>
              <a:gd name="T55" fmla="*/ 171 h 277"/>
              <a:gd name="T56" fmla="*/ 879 w 2202"/>
              <a:gd name="T57" fmla="*/ 152 h 277"/>
              <a:gd name="T58" fmla="*/ 1020 w 2202"/>
              <a:gd name="T59" fmla="*/ 64 h 277"/>
              <a:gd name="T60" fmla="*/ 934 w 2202"/>
              <a:gd name="T61" fmla="*/ 151 h 277"/>
              <a:gd name="T62" fmla="*/ 1112 w 2202"/>
              <a:gd name="T63" fmla="*/ 172 h 277"/>
              <a:gd name="T64" fmla="*/ 1125 w 2202"/>
              <a:gd name="T65" fmla="*/ 183 h 277"/>
              <a:gd name="T66" fmla="*/ 1355 w 2202"/>
              <a:gd name="T67" fmla="*/ 171 h 277"/>
              <a:gd name="T68" fmla="*/ 1299 w 2202"/>
              <a:gd name="T69" fmla="*/ 146 h 277"/>
              <a:gd name="T70" fmla="*/ 1368 w 2202"/>
              <a:gd name="T71" fmla="*/ 92 h 277"/>
              <a:gd name="T72" fmla="*/ 1368 w 2202"/>
              <a:gd name="T73" fmla="*/ 41 h 277"/>
              <a:gd name="T74" fmla="*/ 1403 w 2202"/>
              <a:gd name="T75" fmla="*/ 164 h 277"/>
              <a:gd name="T76" fmla="*/ 1435 w 2202"/>
              <a:gd name="T77" fmla="*/ 131 h 277"/>
              <a:gd name="T78" fmla="*/ 1618 w 2202"/>
              <a:gd name="T79" fmla="*/ 43 h 277"/>
              <a:gd name="T80" fmla="*/ 1643 w 2202"/>
              <a:gd name="T81" fmla="*/ 204 h 277"/>
              <a:gd name="T82" fmla="*/ 1643 w 2202"/>
              <a:gd name="T83" fmla="*/ 152 h 277"/>
              <a:gd name="T84" fmla="*/ 1555 w 2202"/>
              <a:gd name="T85" fmla="*/ 119 h 277"/>
              <a:gd name="T86" fmla="*/ 1677 w 2202"/>
              <a:gd name="T87" fmla="*/ 77 h 277"/>
              <a:gd name="T88" fmla="*/ 1666 w 2202"/>
              <a:gd name="T89" fmla="*/ 81 h 277"/>
              <a:gd name="T90" fmla="*/ 1734 w 2202"/>
              <a:gd name="T91" fmla="*/ 132 h 277"/>
              <a:gd name="T92" fmla="*/ 1921 w 2202"/>
              <a:gd name="T93" fmla="*/ 230 h 277"/>
              <a:gd name="T94" fmla="*/ 1921 w 2202"/>
              <a:gd name="T95" fmla="*/ 195 h 277"/>
              <a:gd name="T96" fmla="*/ 1827 w 2202"/>
              <a:gd name="T97" fmla="*/ 168 h 277"/>
              <a:gd name="T98" fmla="*/ 1921 w 2202"/>
              <a:gd name="T99" fmla="*/ 144 h 277"/>
              <a:gd name="T100" fmla="*/ 1686 w 2202"/>
              <a:gd name="T101" fmla="*/ 57 h 277"/>
              <a:gd name="T102" fmla="*/ 1956 w 2202"/>
              <a:gd name="T103" fmla="*/ 80 h 277"/>
              <a:gd name="T104" fmla="*/ 1943 w 2202"/>
              <a:gd name="T105" fmla="*/ 134 h 277"/>
              <a:gd name="T106" fmla="*/ 1943 w 2202"/>
              <a:gd name="T107" fmla="*/ 140 h 277"/>
              <a:gd name="T108" fmla="*/ 1955 w 2202"/>
              <a:gd name="T109" fmla="*/ 17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02" h="277">
                <a:moveTo>
                  <a:pt x="2199" y="107"/>
                </a:moveTo>
                <a:cubicBezTo>
                  <a:pt x="2197" y="100"/>
                  <a:pt x="2190" y="93"/>
                  <a:pt x="2182" y="92"/>
                </a:cubicBezTo>
                <a:cubicBezTo>
                  <a:pt x="1829" y="31"/>
                  <a:pt x="1471" y="1"/>
                  <a:pt x="1114" y="0"/>
                </a:cubicBezTo>
                <a:cubicBezTo>
                  <a:pt x="1107" y="0"/>
                  <a:pt x="1101" y="0"/>
                  <a:pt x="1101" y="0"/>
                </a:cubicBezTo>
                <a:cubicBezTo>
                  <a:pt x="1101" y="0"/>
                  <a:pt x="1095" y="0"/>
                  <a:pt x="1088" y="0"/>
                </a:cubicBezTo>
                <a:cubicBezTo>
                  <a:pt x="730" y="1"/>
                  <a:pt x="373" y="31"/>
                  <a:pt x="19" y="92"/>
                </a:cubicBezTo>
                <a:cubicBezTo>
                  <a:pt x="12" y="93"/>
                  <a:pt x="5" y="100"/>
                  <a:pt x="3" y="107"/>
                </a:cubicBezTo>
                <a:cubicBezTo>
                  <a:pt x="2" y="108"/>
                  <a:pt x="2" y="109"/>
                  <a:pt x="2" y="110"/>
                </a:cubicBezTo>
                <a:cubicBezTo>
                  <a:pt x="0" y="117"/>
                  <a:pt x="3" y="126"/>
                  <a:pt x="9" y="129"/>
                </a:cubicBezTo>
                <a:cubicBezTo>
                  <a:pt x="92" y="175"/>
                  <a:pt x="176" y="224"/>
                  <a:pt x="261" y="273"/>
                </a:cubicBezTo>
                <a:cubicBezTo>
                  <a:pt x="266" y="277"/>
                  <a:pt x="276" y="276"/>
                  <a:pt x="282" y="271"/>
                </a:cubicBezTo>
                <a:cubicBezTo>
                  <a:pt x="307" y="250"/>
                  <a:pt x="332" y="230"/>
                  <a:pt x="357" y="210"/>
                </a:cubicBezTo>
                <a:cubicBezTo>
                  <a:pt x="362" y="205"/>
                  <a:pt x="373" y="203"/>
                  <a:pt x="379" y="204"/>
                </a:cubicBezTo>
                <a:cubicBezTo>
                  <a:pt x="431" y="217"/>
                  <a:pt x="483" y="229"/>
                  <a:pt x="535" y="243"/>
                </a:cubicBezTo>
                <a:cubicBezTo>
                  <a:pt x="542" y="245"/>
                  <a:pt x="553" y="244"/>
                  <a:pt x="560" y="241"/>
                </a:cubicBezTo>
                <a:cubicBezTo>
                  <a:pt x="612" y="218"/>
                  <a:pt x="664" y="196"/>
                  <a:pt x="717" y="175"/>
                </a:cubicBezTo>
                <a:cubicBezTo>
                  <a:pt x="724" y="172"/>
                  <a:pt x="734" y="173"/>
                  <a:pt x="740" y="177"/>
                </a:cubicBezTo>
                <a:cubicBezTo>
                  <a:pt x="764" y="192"/>
                  <a:pt x="788" y="208"/>
                  <a:pt x="812" y="223"/>
                </a:cubicBezTo>
                <a:cubicBezTo>
                  <a:pt x="818" y="227"/>
                  <a:pt x="827" y="227"/>
                  <a:pt x="833" y="222"/>
                </a:cubicBezTo>
                <a:cubicBezTo>
                  <a:pt x="851" y="210"/>
                  <a:pt x="868" y="197"/>
                  <a:pt x="886" y="185"/>
                </a:cubicBezTo>
                <a:cubicBezTo>
                  <a:pt x="892" y="181"/>
                  <a:pt x="903" y="178"/>
                  <a:pt x="910" y="179"/>
                </a:cubicBezTo>
                <a:cubicBezTo>
                  <a:pt x="969" y="188"/>
                  <a:pt x="1028" y="197"/>
                  <a:pt x="1088" y="208"/>
                </a:cubicBezTo>
                <a:cubicBezTo>
                  <a:pt x="1095" y="209"/>
                  <a:pt x="1107" y="209"/>
                  <a:pt x="1114" y="208"/>
                </a:cubicBezTo>
                <a:cubicBezTo>
                  <a:pt x="1173" y="197"/>
                  <a:pt x="1232" y="188"/>
                  <a:pt x="1292" y="179"/>
                </a:cubicBezTo>
                <a:cubicBezTo>
                  <a:pt x="1299" y="178"/>
                  <a:pt x="1309" y="181"/>
                  <a:pt x="1315" y="185"/>
                </a:cubicBezTo>
                <a:cubicBezTo>
                  <a:pt x="1333" y="197"/>
                  <a:pt x="1351" y="210"/>
                  <a:pt x="1368" y="222"/>
                </a:cubicBezTo>
                <a:cubicBezTo>
                  <a:pt x="1374" y="227"/>
                  <a:pt x="1384" y="227"/>
                  <a:pt x="1390" y="223"/>
                </a:cubicBezTo>
                <a:cubicBezTo>
                  <a:pt x="1414" y="208"/>
                  <a:pt x="1438" y="192"/>
                  <a:pt x="1462" y="177"/>
                </a:cubicBezTo>
                <a:cubicBezTo>
                  <a:pt x="1468" y="173"/>
                  <a:pt x="1478" y="172"/>
                  <a:pt x="1485" y="175"/>
                </a:cubicBezTo>
                <a:cubicBezTo>
                  <a:pt x="1537" y="196"/>
                  <a:pt x="1590" y="218"/>
                  <a:pt x="1642" y="241"/>
                </a:cubicBezTo>
                <a:cubicBezTo>
                  <a:pt x="1649" y="244"/>
                  <a:pt x="1660" y="245"/>
                  <a:pt x="1667" y="243"/>
                </a:cubicBezTo>
                <a:cubicBezTo>
                  <a:pt x="1719" y="229"/>
                  <a:pt x="1770" y="217"/>
                  <a:pt x="1822" y="204"/>
                </a:cubicBezTo>
                <a:cubicBezTo>
                  <a:pt x="1829" y="203"/>
                  <a:pt x="1839" y="205"/>
                  <a:pt x="1845" y="210"/>
                </a:cubicBezTo>
                <a:cubicBezTo>
                  <a:pt x="1870" y="230"/>
                  <a:pt x="1895" y="250"/>
                  <a:pt x="1920" y="271"/>
                </a:cubicBezTo>
                <a:cubicBezTo>
                  <a:pt x="1926" y="276"/>
                  <a:pt x="1935" y="277"/>
                  <a:pt x="1941" y="273"/>
                </a:cubicBezTo>
                <a:cubicBezTo>
                  <a:pt x="2025" y="224"/>
                  <a:pt x="2109" y="175"/>
                  <a:pt x="2193" y="129"/>
                </a:cubicBezTo>
                <a:cubicBezTo>
                  <a:pt x="2199" y="126"/>
                  <a:pt x="2202" y="117"/>
                  <a:pt x="2200" y="110"/>
                </a:cubicBezTo>
                <a:cubicBezTo>
                  <a:pt x="2199" y="109"/>
                  <a:pt x="2199" y="108"/>
                  <a:pt x="2199" y="107"/>
                </a:cubicBezTo>
                <a:close/>
                <a:moveTo>
                  <a:pt x="258" y="231"/>
                </a:moveTo>
                <a:cubicBezTo>
                  <a:pt x="258" y="238"/>
                  <a:pt x="254" y="241"/>
                  <a:pt x="248" y="238"/>
                </a:cubicBezTo>
                <a:cubicBezTo>
                  <a:pt x="194" y="206"/>
                  <a:pt x="141" y="175"/>
                  <a:pt x="87" y="145"/>
                </a:cubicBezTo>
                <a:cubicBezTo>
                  <a:pt x="81" y="142"/>
                  <a:pt x="82" y="140"/>
                  <a:pt x="89" y="142"/>
                </a:cubicBezTo>
                <a:cubicBezTo>
                  <a:pt x="141" y="152"/>
                  <a:pt x="194" y="162"/>
                  <a:pt x="246" y="174"/>
                </a:cubicBezTo>
                <a:cubicBezTo>
                  <a:pt x="253" y="175"/>
                  <a:pt x="258" y="182"/>
                  <a:pt x="258" y="190"/>
                </a:cubicBezTo>
                <a:cubicBezTo>
                  <a:pt x="258" y="203"/>
                  <a:pt x="258" y="217"/>
                  <a:pt x="258" y="231"/>
                </a:cubicBezTo>
                <a:close/>
                <a:moveTo>
                  <a:pt x="258" y="140"/>
                </a:moveTo>
                <a:cubicBezTo>
                  <a:pt x="258" y="147"/>
                  <a:pt x="253" y="151"/>
                  <a:pt x="246" y="150"/>
                </a:cubicBezTo>
                <a:cubicBezTo>
                  <a:pt x="196" y="139"/>
                  <a:pt x="145" y="129"/>
                  <a:pt x="95" y="119"/>
                </a:cubicBezTo>
                <a:cubicBezTo>
                  <a:pt x="88" y="117"/>
                  <a:pt x="88" y="116"/>
                  <a:pt x="95" y="117"/>
                </a:cubicBezTo>
                <a:cubicBezTo>
                  <a:pt x="145" y="117"/>
                  <a:pt x="195" y="118"/>
                  <a:pt x="246" y="120"/>
                </a:cubicBezTo>
                <a:cubicBezTo>
                  <a:pt x="253" y="121"/>
                  <a:pt x="258" y="127"/>
                  <a:pt x="258" y="134"/>
                </a:cubicBezTo>
                <a:cubicBezTo>
                  <a:pt x="258" y="136"/>
                  <a:pt x="258" y="138"/>
                  <a:pt x="258" y="140"/>
                </a:cubicBezTo>
                <a:close/>
                <a:moveTo>
                  <a:pt x="258" y="88"/>
                </a:moveTo>
                <a:cubicBezTo>
                  <a:pt x="258" y="93"/>
                  <a:pt x="253" y="97"/>
                  <a:pt x="246" y="97"/>
                </a:cubicBezTo>
                <a:cubicBezTo>
                  <a:pt x="216" y="96"/>
                  <a:pt x="187" y="95"/>
                  <a:pt x="158" y="95"/>
                </a:cubicBezTo>
                <a:cubicBezTo>
                  <a:pt x="151" y="94"/>
                  <a:pt x="151" y="93"/>
                  <a:pt x="158" y="92"/>
                </a:cubicBezTo>
                <a:cubicBezTo>
                  <a:pt x="187" y="88"/>
                  <a:pt x="216" y="84"/>
                  <a:pt x="245" y="80"/>
                </a:cubicBezTo>
                <a:cubicBezTo>
                  <a:pt x="253" y="79"/>
                  <a:pt x="258" y="83"/>
                  <a:pt x="258" y="88"/>
                </a:cubicBezTo>
                <a:close/>
                <a:moveTo>
                  <a:pt x="281" y="87"/>
                </a:moveTo>
                <a:cubicBezTo>
                  <a:pt x="281" y="81"/>
                  <a:pt x="287" y="75"/>
                  <a:pt x="294" y="74"/>
                </a:cubicBezTo>
                <a:cubicBezTo>
                  <a:pt x="367" y="64"/>
                  <a:pt x="440" y="56"/>
                  <a:pt x="513" y="50"/>
                </a:cubicBezTo>
                <a:cubicBezTo>
                  <a:pt x="520" y="49"/>
                  <a:pt x="521" y="52"/>
                  <a:pt x="515" y="57"/>
                </a:cubicBezTo>
                <a:cubicBezTo>
                  <a:pt x="497" y="71"/>
                  <a:pt x="479" y="85"/>
                  <a:pt x="460" y="100"/>
                </a:cubicBezTo>
                <a:cubicBezTo>
                  <a:pt x="454" y="104"/>
                  <a:pt x="444" y="108"/>
                  <a:pt x="437" y="107"/>
                </a:cubicBezTo>
                <a:cubicBezTo>
                  <a:pt x="389" y="104"/>
                  <a:pt x="341" y="101"/>
                  <a:pt x="294" y="99"/>
                </a:cubicBezTo>
                <a:cubicBezTo>
                  <a:pt x="287" y="99"/>
                  <a:pt x="281" y="94"/>
                  <a:pt x="281" y="87"/>
                </a:cubicBezTo>
                <a:close/>
                <a:moveTo>
                  <a:pt x="291" y="235"/>
                </a:moveTo>
                <a:cubicBezTo>
                  <a:pt x="286" y="240"/>
                  <a:pt x="281" y="238"/>
                  <a:pt x="281" y="230"/>
                </a:cubicBezTo>
                <a:cubicBezTo>
                  <a:pt x="281" y="218"/>
                  <a:pt x="281" y="207"/>
                  <a:pt x="281" y="195"/>
                </a:cubicBezTo>
                <a:cubicBezTo>
                  <a:pt x="281" y="187"/>
                  <a:pt x="286" y="183"/>
                  <a:pt x="293" y="184"/>
                </a:cubicBezTo>
                <a:cubicBezTo>
                  <a:pt x="305" y="187"/>
                  <a:pt x="316" y="190"/>
                  <a:pt x="328" y="192"/>
                </a:cubicBezTo>
                <a:cubicBezTo>
                  <a:pt x="335" y="194"/>
                  <a:pt x="335" y="199"/>
                  <a:pt x="330" y="204"/>
                </a:cubicBezTo>
                <a:cubicBezTo>
                  <a:pt x="317" y="214"/>
                  <a:pt x="304" y="224"/>
                  <a:pt x="291" y="235"/>
                </a:cubicBezTo>
                <a:close/>
                <a:moveTo>
                  <a:pt x="374" y="168"/>
                </a:moveTo>
                <a:cubicBezTo>
                  <a:pt x="368" y="173"/>
                  <a:pt x="358" y="175"/>
                  <a:pt x="351" y="174"/>
                </a:cubicBezTo>
                <a:cubicBezTo>
                  <a:pt x="332" y="169"/>
                  <a:pt x="312" y="165"/>
                  <a:pt x="293" y="160"/>
                </a:cubicBezTo>
                <a:cubicBezTo>
                  <a:pt x="286" y="159"/>
                  <a:pt x="281" y="152"/>
                  <a:pt x="281" y="144"/>
                </a:cubicBezTo>
                <a:cubicBezTo>
                  <a:pt x="281" y="141"/>
                  <a:pt x="281" y="138"/>
                  <a:pt x="281" y="135"/>
                </a:cubicBezTo>
                <a:cubicBezTo>
                  <a:pt x="281" y="127"/>
                  <a:pt x="287" y="122"/>
                  <a:pt x="294" y="122"/>
                </a:cubicBezTo>
                <a:cubicBezTo>
                  <a:pt x="332" y="124"/>
                  <a:pt x="371" y="126"/>
                  <a:pt x="410" y="129"/>
                </a:cubicBezTo>
                <a:cubicBezTo>
                  <a:pt x="417" y="129"/>
                  <a:pt x="418" y="133"/>
                  <a:pt x="412" y="138"/>
                </a:cubicBezTo>
                <a:cubicBezTo>
                  <a:pt x="399" y="148"/>
                  <a:pt x="387" y="158"/>
                  <a:pt x="374" y="168"/>
                </a:cubicBezTo>
                <a:close/>
                <a:moveTo>
                  <a:pt x="535" y="206"/>
                </a:moveTo>
                <a:cubicBezTo>
                  <a:pt x="535" y="213"/>
                  <a:pt x="530" y="218"/>
                  <a:pt x="523" y="216"/>
                </a:cubicBezTo>
                <a:cubicBezTo>
                  <a:pt x="483" y="206"/>
                  <a:pt x="442" y="195"/>
                  <a:pt x="402" y="186"/>
                </a:cubicBezTo>
                <a:cubicBezTo>
                  <a:pt x="395" y="184"/>
                  <a:pt x="395" y="179"/>
                  <a:pt x="401" y="174"/>
                </a:cubicBezTo>
                <a:cubicBezTo>
                  <a:pt x="415" y="163"/>
                  <a:pt x="430" y="151"/>
                  <a:pt x="444" y="140"/>
                </a:cubicBezTo>
                <a:cubicBezTo>
                  <a:pt x="450" y="135"/>
                  <a:pt x="461" y="132"/>
                  <a:pt x="468" y="132"/>
                </a:cubicBezTo>
                <a:cubicBezTo>
                  <a:pt x="486" y="134"/>
                  <a:pt x="504" y="135"/>
                  <a:pt x="523" y="137"/>
                </a:cubicBezTo>
                <a:cubicBezTo>
                  <a:pt x="530" y="137"/>
                  <a:pt x="535" y="143"/>
                  <a:pt x="535" y="151"/>
                </a:cubicBezTo>
                <a:cubicBezTo>
                  <a:pt x="535" y="169"/>
                  <a:pt x="535" y="188"/>
                  <a:pt x="535" y="206"/>
                </a:cubicBezTo>
                <a:close/>
                <a:moveTo>
                  <a:pt x="535" y="101"/>
                </a:moveTo>
                <a:cubicBezTo>
                  <a:pt x="535" y="109"/>
                  <a:pt x="530" y="114"/>
                  <a:pt x="523" y="113"/>
                </a:cubicBezTo>
                <a:cubicBezTo>
                  <a:pt x="513" y="113"/>
                  <a:pt x="504" y="112"/>
                  <a:pt x="494" y="111"/>
                </a:cubicBezTo>
                <a:cubicBezTo>
                  <a:pt x="487" y="111"/>
                  <a:pt x="486" y="107"/>
                  <a:pt x="492" y="102"/>
                </a:cubicBezTo>
                <a:cubicBezTo>
                  <a:pt x="503" y="94"/>
                  <a:pt x="514" y="85"/>
                  <a:pt x="525" y="77"/>
                </a:cubicBezTo>
                <a:cubicBezTo>
                  <a:pt x="531" y="72"/>
                  <a:pt x="535" y="74"/>
                  <a:pt x="535" y="81"/>
                </a:cubicBezTo>
                <a:cubicBezTo>
                  <a:pt x="535" y="88"/>
                  <a:pt x="535" y="95"/>
                  <a:pt x="535" y="101"/>
                </a:cubicBezTo>
                <a:close/>
                <a:moveTo>
                  <a:pt x="558" y="78"/>
                </a:moveTo>
                <a:cubicBezTo>
                  <a:pt x="558" y="71"/>
                  <a:pt x="563" y="68"/>
                  <a:pt x="569" y="71"/>
                </a:cubicBezTo>
                <a:cubicBezTo>
                  <a:pt x="595" y="87"/>
                  <a:pt x="621" y="103"/>
                  <a:pt x="647" y="119"/>
                </a:cubicBezTo>
                <a:cubicBezTo>
                  <a:pt x="653" y="123"/>
                  <a:pt x="652" y="125"/>
                  <a:pt x="645" y="125"/>
                </a:cubicBezTo>
                <a:cubicBezTo>
                  <a:pt x="620" y="122"/>
                  <a:pt x="595" y="120"/>
                  <a:pt x="571" y="118"/>
                </a:cubicBezTo>
                <a:cubicBezTo>
                  <a:pt x="564" y="117"/>
                  <a:pt x="558" y="111"/>
                  <a:pt x="558" y="104"/>
                </a:cubicBezTo>
                <a:cubicBezTo>
                  <a:pt x="558" y="95"/>
                  <a:pt x="558" y="86"/>
                  <a:pt x="558" y="78"/>
                </a:cubicBezTo>
                <a:close/>
                <a:moveTo>
                  <a:pt x="570" y="211"/>
                </a:moveTo>
                <a:cubicBezTo>
                  <a:pt x="564" y="214"/>
                  <a:pt x="558" y="211"/>
                  <a:pt x="558" y="204"/>
                </a:cubicBezTo>
                <a:cubicBezTo>
                  <a:pt x="558" y="187"/>
                  <a:pt x="558" y="170"/>
                  <a:pt x="558" y="152"/>
                </a:cubicBezTo>
                <a:cubicBezTo>
                  <a:pt x="558" y="145"/>
                  <a:pt x="564" y="140"/>
                  <a:pt x="571" y="141"/>
                </a:cubicBezTo>
                <a:cubicBezTo>
                  <a:pt x="613" y="144"/>
                  <a:pt x="655" y="148"/>
                  <a:pt x="697" y="153"/>
                </a:cubicBezTo>
                <a:cubicBezTo>
                  <a:pt x="704" y="153"/>
                  <a:pt x="704" y="156"/>
                  <a:pt x="697" y="159"/>
                </a:cubicBezTo>
                <a:cubicBezTo>
                  <a:pt x="655" y="176"/>
                  <a:pt x="613" y="194"/>
                  <a:pt x="570" y="211"/>
                </a:cubicBezTo>
                <a:close/>
                <a:moveTo>
                  <a:pt x="811" y="182"/>
                </a:moveTo>
                <a:cubicBezTo>
                  <a:pt x="811" y="190"/>
                  <a:pt x="806" y="192"/>
                  <a:pt x="800" y="189"/>
                </a:cubicBezTo>
                <a:cubicBezTo>
                  <a:pt x="788" y="181"/>
                  <a:pt x="776" y="173"/>
                  <a:pt x="764" y="166"/>
                </a:cubicBezTo>
                <a:cubicBezTo>
                  <a:pt x="758" y="162"/>
                  <a:pt x="759" y="160"/>
                  <a:pt x="766" y="161"/>
                </a:cubicBezTo>
                <a:cubicBezTo>
                  <a:pt x="777" y="162"/>
                  <a:pt x="787" y="163"/>
                  <a:pt x="798" y="164"/>
                </a:cubicBezTo>
                <a:cubicBezTo>
                  <a:pt x="805" y="165"/>
                  <a:pt x="811" y="172"/>
                  <a:pt x="811" y="179"/>
                </a:cubicBezTo>
                <a:cubicBezTo>
                  <a:pt x="811" y="180"/>
                  <a:pt x="811" y="181"/>
                  <a:pt x="811" y="182"/>
                </a:cubicBezTo>
                <a:close/>
                <a:moveTo>
                  <a:pt x="811" y="101"/>
                </a:moveTo>
                <a:cubicBezTo>
                  <a:pt x="811" y="108"/>
                  <a:pt x="805" y="116"/>
                  <a:pt x="799" y="119"/>
                </a:cubicBezTo>
                <a:cubicBezTo>
                  <a:pt x="788" y="123"/>
                  <a:pt x="777" y="127"/>
                  <a:pt x="766" y="131"/>
                </a:cubicBezTo>
                <a:cubicBezTo>
                  <a:pt x="760" y="134"/>
                  <a:pt x="748" y="136"/>
                  <a:pt x="741" y="135"/>
                </a:cubicBezTo>
                <a:cubicBezTo>
                  <a:pt x="735" y="134"/>
                  <a:pt x="729" y="133"/>
                  <a:pt x="723" y="133"/>
                </a:cubicBezTo>
                <a:cubicBezTo>
                  <a:pt x="716" y="132"/>
                  <a:pt x="705" y="128"/>
                  <a:pt x="700" y="125"/>
                </a:cubicBezTo>
                <a:cubicBezTo>
                  <a:pt x="660" y="100"/>
                  <a:pt x="621" y="75"/>
                  <a:pt x="581" y="51"/>
                </a:cubicBezTo>
                <a:cubicBezTo>
                  <a:pt x="575" y="47"/>
                  <a:pt x="576" y="44"/>
                  <a:pt x="583" y="43"/>
                </a:cubicBezTo>
                <a:cubicBezTo>
                  <a:pt x="655" y="38"/>
                  <a:pt x="726" y="33"/>
                  <a:pt x="798" y="30"/>
                </a:cubicBezTo>
                <a:cubicBezTo>
                  <a:pt x="805" y="29"/>
                  <a:pt x="811" y="35"/>
                  <a:pt x="811" y="42"/>
                </a:cubicBezTo>
                <a:cubicBezTo>
                  <a:pt x="811" y="62"/>
                  <a:pt x="811" y="81"/>
                  <a:pt x="811" y="101"/>
                </a:cubicBezTo>
                <a:close/>
                <a:moveTo>
                  <a:pt x="834" y="41"/>
                </a:moveTo>
                <a:cubicBezTo>
                  <a:pt x="834" y="34"/>
                  <a:pt x="839" y="28"/>
                  <a:pt x="847" y="28"/>
                </a:cubicBezTo>
                <a:cubicBezTo>
                  <a:pt x="914" y="25"/>
                  <a:pt x="981" y="23"/>
                  <a:pt x="1048" y="23"/>
                </a:cubicBezTo>
                <a:cubicBezTo>
                  <a:pt x="1055" y="23"/>
                  <a:pt x="1055" y="25"/>
                  <a:pt x="1049" y="27"/>
                </a:cubicBezTo>
                <a:cubicBezTo>
                  <a:pt x="981" y="50"/>
                  <a:pt x="913" y="75"/>
                  <a:pt x="846" y="101"/>
                </a:cubicBezTo>
                <a:cubicBezTo>
                  <a:pt x="839" y="103"/>
                  <a:pt x="834" y="100"/>
                  <a:pt x="834" y="92"/>
                </a:cubicBezTo>
                <a:cubicBezTo>
                  <a:pt x="834" y="75"/>
                  <a:pt x="834" y="58"/>
                  <a:pt x="834" y="41"/>
                </a:cubicBezTo>
                <a:close/>
                <a:moveTo>
                  <a:pt x="844" y="187"/>
                </a:moveTo>
                <a:cubicBezTo>
                  <a:pt x="838" y="191"/>
                  <a:pt x="833" y="189"/>
                  <a:pt x="833" y="182"/>
                </a:cubicBezTo>
                <a:cubicBezTo>
                  <a:pt x="833" y="175"/>
                  <a:pt x="839" y="170"/>
                  <a:pt x="846" y="171"/>
                </a:cubicBezTo>
                <a:cubicBezTo>
                  <a:pt x="848" y="171"/>
                  <a:pt x="849" y="171"/>
                  <a:pt x="851" y="171"/>
                </a:cubicBezTo>
                <a:cubicBezTo>
                  <a:pt x="858" y="172"/>
                  <a:pt x="859" y="176"/>
                  <a:pt x="853" y="181"/>
                </a:cubicBezTo>
                <a:cubicBezTo>
                  <a:pt x="850" y="183"/>
                  <a:pt x="847" y="185"/>
                  <a:pt x="844" y="187"/>
                </a:cubicBezTo>
                <a:close/>
                <a:moveTo>
                  <a:pt x="902" y="146"/>
                </a:moveTo>
                <a:cubicBezTo>
                  <a:pt x="896" y="150"/>
                  <a:pt x="886" y="153"/>
                  <a:pt x="879" y="152"/>
                </a:cubicBezTo>
                <a:cubicBezTo>
                  <a:pt x="868" y="151"/>
                  <a:pt x="857" y="149"/>
                  <a:pt x="846" y="148"/>
                </a:cubicBezTo>
                <a:cubicBezTo>
                  <a:pt x="839" y="147"/>
                  <a:pt x="834" y="142"/>
                  <a:pt x="834" y="138"/>
                </a:cubicBezTo>
                <a:cubicBezTo>
                  <a:pt x="834" y="133"/>
                  <a:pt x="839" y="127"/>
                  <a:pt x="846" y="125"/>
                </a:cubicBezTo>
                <a:cubicBezTo>
                  <a:pt x="903" y="103"/>
                  <a:pt x="961" y="82"/>
                  <a:pt x="1019" y="61"/>
                </a:cubicBezTo>
                <a:cubicBezTo>
                  <a:pt x="1025" y="59"/>
                  <a:pt x="1026" y="60"/>
                  <a:pt x="1020" y="64"/>
                </a:cubicBezTo>
                <a:cubicBezTo>
                  <a:pt x="981" y="91"/>
                  <a:pt x="942" y="119"/>
                  <a:pt x="902" y="146"/>
                </a:cubicBezTo>
                <a:close/>
                <a:moveTo>
                  <a:pt x="1089" y="172"/>
                </a:moveTo>
                <a:cubicBezTo>
                  <a:pt x="1089" y="179"/>
                  <a:pt x="1083" y="184"/>
                  <a:pt x="1076" y="183"/>
                </a:cubicBezTo>
                <a:cubicBezTo>
                  <a:pt x="1030" y="175"/>
                  <a:pt x="983" y="167"/>
                  <a:pt x="937" y="160"/>
                </a:cubicBezTo>
                <a:cubicBezTo>
                  <a:pt x="929" y="159"/>
                  <a:pt x="929" y="155"/>
                  <a:pt x="934" y="151"/>
                </a:cubicBezTo>
                <a:cubicBezTo>
                  <a:pt x="982" y="117"/>
                  <a:pt x="1030" y="84"/>
                  <a:pt x="1078" y="51"/>
                </a:cubicBezTo>
                <a:cubicBezTo>
                  <a:pt x="1084" y="47"/>
                  <a:pt x="1089" y="49"/>
                  <a:pt x="1089" y="57"/>
                </a:cubicBezTo>
                <a:cubicBezTo>
                  <a:pt x="1089" y="95"/>
                  <a:pt x="1089" y="133"/>
                  <a:pt x="1089" y="172"/>
                </a:cubicBezTo>
                <a:close/>
                <a:moveTo>
                  <a:pt x="1125" y="183"/>
                </a:moveTo>
                <a:cubicBezTo>
                  <a:pt x="1118" y="184"/>
                  <a:pt x="1112" y="179"/>
                  <a:pt x="1112" y="172"/>
                </a:cubicBezTo>
                <a:cubicBezTo>
                  <a:pt x="1112" y="133"/>
                  <a:pt x="1112" y="95"/>
                  <a:pt x="1112" y="57"/>
                </a:cubicBezTo>
                <a:cubicBezTo>
                  <a:pt x="1112" y="49"/>
                  <a:pt x="1117" y="47"/>
                  <a:pt x="1123" y="51"/>
                </a:cubicBezTo>
                <a:cubicBezTo>
                  <a:pt x="1171" y="84"/>
                  <a:pt x="1219" y="117"/>
                  <a:pt x="1267" y="151"/>
                </a:cubicBezTo>
                <a:cubicBezTo>
                  <a:pt x="1273" y="155"/>
                  <a:pt x="1272" y="159"/>
                  <a:pt x="1265" y="160"/>
                </a:cubicBezTo>
                <a:cubicBezTo>
                  <a:pt x="1218" y="167"/>
                  <a:pt x="1171" y="175"/>
                  <a:pt x="1125" y="183"/>
                </a:cubicBezTo>
                <a:close/>
                <a:moveTo>
                  <a:pt x="1368" y="182"/>
                </a:moveTo>
                <a:cubicBezTo>
                  <a:pt x="1368" y="189"/>
                  <a:pt x="1363" y="191"/>
                  <a:pt x="1357" y="187"/>
                </a:cubicBezTo>
                <a:cubicBezTo>
                  <a:pt x="1354" y="185"/>
                  <a:pt x="1351" y="183"/>
                  <a:pt x="1348" y="181"/>
                </a:cubicBezTo>
                <a:cubicBezTo>
                  <a:pt x="1342" y="176"/>
                  <a:pt x="1343" y="172"/>
                  <a:pt x="1350" y="171"/>
                </a:cubicBezTo>
                <a:cubicBezTo>
                  <a:pt x="1352" y="171"/>
                  <a:pt x="1353" y="171"/>
                  <a:pt x="1355" y="171"/>
                </a:cubicBezTo>
                <a:cubicBezTo>
                  <a:pt x="1362" y="170"/>
                  <a:pt x="1368" y="175"/>
                  <a:pt x="1368" y="182"/>
                </a:cubicBezTo>
                <a:close/>
                <a:moveTo>
                  <a:pt x="1368" y="138"/>
                </a:moveTo>
                <a:cubicBezTo>
                  <a:pt x="1368" y="142"/>
                  <a:pt x="1362" y="147"/>
                  <a:pt x="1355" y="148"/>
                </a:cubicBezTo>
                <a:cubicBezTo>
                  <a:pt x="1344" y="149"/>
                  <a:pt x="1333" y="151"/>
                  <a:pt x="1323" y="152"/>
                </a:cubicBezTo>
                <a:cubicBezTo>
                  <a:pt x="1316" y="153"/>
                  <a:pt x="1305" y="150"/>
                  <a:pt x="1299" y="146"/>
                </a:cubicBezTo>
                <a:cubicBezTo>
                  <a:pt x="1260" y="119"/>
                  <a:pt x="1220" y="91"/>
                  <a:pt x="1181" y="64"/>
                </a:cubicBezTo>
                <a:cubicBezTo>
                  <a:pt x="1175" y="60"/>
                  <a:pt x="1176" y="59"/>
                  <a:pt x="1183" y="61"/>
                </a:cubicBezTo>
                <a:cubicBezTo>
                  <a:pt x="1240" y="82"/>
                  <a:pt x="1298" y="103"/>
                  <a:pt x="1355" y="125"/>
                </a:cubicBezTo>
                <a:cubicBezTo>
                  <a:pt x="1362" y="127"/>
                  <a:pt x="1368" y="133"/>
                  <a:pt x="1368" y="138"/>
                </a:cubicBezTo>
                <a:close/>
                <a:moveTo>
                  <a:pt x="1368" y="92"/>
                </a:moveTo>
                <a:cubicBezTo>
                  <a:pt x="1368" y="100"/>
                  <a:pt x="1362" y="103"/>
                  <a:pt x="1355" y="101"/>
                </a:cubicBezTo>
                <a:cubicBezTo>
                  <a:pt x="1288" y="75"/>
                  <a:pt x="1220" y="50"/>
                  <a:pt x="1153" y="27"/>
                </a:cubicBezTo>
                <a:cubicBezTo>
                  <a:pt x="1146" y="25"/>
                  <a:pt x="1146" y="23"/>
                  <a:pt x="1154" y="23"/>
                </a:cubicBezTo>
                <a:cubicBezTo>
                  <a:pt x="1221" y="23"/>
                  <a:pt x="1288" y="25"/>
                  <a:pt x="1355" y="28"/>
                </a:cubicBezTo>
                <a:cubicBezTo>
                  <a:pt x="1362" y="28"/>
                  <a:pt x="1368" y="34"/>
                  <a:pt x="1368" y="41"/>
                </a:cubicBezTo>
                <a:cubicBezTo>
                  <a:pt x="1368" y="58"/>
                  <a:pt x="1368" y="75"/>
                  <a:pt x="1368" y="92"/>
                </a:cubicBezTo>
                <a:close/>
                <a:moveTo>
                  <a:pt x="1401" y="189"/>
                </a:moveTo>
                <a:cubicBezTo>
                  <a:pt x="1395" y="192"/>
                  <a:pt x="1390" y="190"/>
                  <a:pt x="1390" y="182"/>
                </a:cubicBezTo>
                <a:cubicBezTo>
                  <a:pt x="1390" y="181"/>
                  <a:pt x="1390" y="180"/>
                  <a:pt x="1390" y="179"/>
                </a:cubicBezTo>
                <a:cubicBezTo>
                  <a:pt x="1390" y="172"/>
                  <a:pt x="1396" y="165"/>
                  <a:pt x="1403" y="164"/>
                </a:cubicBezTo>
                <a:cubicBezTo>
                  <a:pt x="1414" y="163"/>
                  <a:pt x="1424" y="162"/>
                  <a:pt x="1435" y="161"/>
                </a:cubicBezTo>
                <a:cubicBezTo>
                  <a:pt x="1442" y="160"/>
                  <a:pt x="1443" y="162"/>
                  <a:pt x="1437" y="166"/>
                </a:cubicBezTo>
                <a:cubicBezTo>
                  <a:pt x="1425" y="173"/>
                  <a:pt x="1413" y="181"/>
                  <a:pt x="1401" y="189"/>
                </a:cubicBezTo>
                <a:close/>
                <a:moveTo>
                  <a:pt x="1460" y="135"/>
                </a:moveTo>
                <a:cubicBezTo>
                  <a:pt x="1453" y="136"/>
                  <a:pt x="1441" y="134"/>
                  <a:pt x="1435" y="131"/>
                </a:cubicBezTo>
                <a:cubicBezTo>
                  <a:pt x="1424" y="127"/>
                  <a:pt x="1413" y="123"/>
                  <a:pt x="1403" y="119"/>
                </a:cubicBezTo>
                <a:cubicBezTo>
                  <a:pt x="1396" y="116"/>
                  <a:pt x="1390" y="108"/>
                  <a:pt x="1390" y="101"/>
                </a:cubicBezTo>
                <a:cubicBezTo>
                  <a:pt x="1390" y="81"/>
                  <a:pt x="1390" y="62"/>
                  <a:pt x="1390" y="42"/>
                </a:cubicBezTo>
                <a:cubicBezTo>
                  <a:pt x="1390" y="35"/>
                  <a:pt x="1396" y="29"/>
                  <a:pt x="1403" y="30"/>
                </a:cubicBezTo>
                <a:cubicBezTo>
                  <a:pt x="1475" y="33"/>
                  <a:pt x="1546" y="38"/>
                  <a:pt x="1618" y="43"/>
                </a:cubicBezTo>
                <a:cubicBezTo>
                  <a:pt x="1625" y="44"/>
                  <a:pt x="1626" y="47"/>
                  <a:pt x="1620" y="51"/>
                </a:cubicBezTo>
                <a:cubicBezTo>
                  <a:pt x="1581" y="75"/>
                  <a:pt x="1541" y="100"/>
                  <a:pt x="1502" y="125"/>
                </a:cubicBezTo>
                <a:cubicBezTo>
                  <a:pt x="1496" y="128"/>
                  <a:pt x="1485" y="132"/>
                  <a:pt x="1478" y="133"/>
                </a:cubicBezTo>
                <a:cubicBezTo>
                  <a:pt x="1472" y="133"/>
                  <a:pt x="1466" y="134"/>
                  <a:pt x="1460" y="135"/>
                </a:cubicBezTo>
                <a:close/>
                <a:moveTo>
                  <a:pt x="1643" y="204"/>
                </a:moveTo>
                <a:cubicBezTo>
                  <a:pt x="1643" y="211"/>
                  <a:pt x="1638" y="214"/>
                  <a:pt x="1631" y="211"/>
                </a:cubicBezTo>
                <a:cubicBezTo>
                  <a:pt x="1589" y="194"/>
                  <a:pt x="1546" y="176"/>
                  <a:pt x="1504" y="159"/>
                </a:cubicBezTo>
                <a:cubicBezTo>
                  <a:pt x="1497" y="156"/>
                  <a:pt x="1498" y="153"/>
                  <a:pt x="1505" y="153"/>
                </a:cubicBezTo>
                <a:cubicBezTo>
                  <a:pt x="1547" y="148"/>
                  <a:pt x="1589" y="144"/>
                  <a:pt x="1630" y="141"/>
                </a:cubicBezTo>
                <a:cubicBezTo>
                  <a:pt x="1638" y="140"/>
                  <a:pt x="1643" y="145"/>
                  <a:pt x="1643" y="152"/>
                </a:cubicBezTo>
                <a:cubicBezTo>
                  <a:pt x="1643" y="170"/>
                  <a:pt x="1643" y="187"/>
                  <a:pt x="1643" y="204"/>
                </a:cubicBezTo>
                <a:close/>
                <a:moveTo>
                  <a:pt x="1643" y="104"/>
                </a:moveTo>
                <a:cubicBezTo>
                  <a:pt x="1643" y="111"/>
                  <a:pt x="1638" y="117"/>
                  <a:pt x="1630" y="118"/>
                </a:cubicBezTo>
                <a:cubicBezTo>
                  <a:pt x="1606" y="120"/>
                  <a:pt x="1581" y="122"/>
                  <a:pt x="1557" y="125"/>
                </a:cubicBezTo>
                <a:cubicBezTo>
                  <a:pt x="1550" y="125"/>
                  <a:pt x="1549" y="123"/>
                  <a:pt x="1555" y="119"/>
                </a:cubicBezTo>
                <a:cubicBezTo>
                  <a:pt x="1581" y="103"/>
                  <a:pt x="1607" y="87"/>
                  <a:pt x="1633" y="71"/>
                </a:cubicBezTo>
                <a:cubicBezTo>
                  <a:pt x="1638" y="68"/>
                  <a:pt x="1643" y="71"/>
                  <a:pt x="1643" y="78"/>
                </a:cubicBezTo>
                <a:cubicBezTo>
                  <a:pt x="1643" y="86"/>
                  <a:pt x="1643" y="95"/>
                  <a:pt x="1643" y="104"/>
                </a:cubicBezTo>
                <a:close/>
                <a:moveTo>
                  <a:pt x="1666" y="81"/>
                </a:moveTo>
                <a:cubicBezTo>
                  <a:pt x="1666" y="74"/>
                  <a:pt x="1671" y="72"/>
                  <a:pt x="1677" y="77"/>
                </a:cubicBezTo>
                <a:cubicBezTo>
                  <a:pt x="1687" y="85"/>
                  <a:pt x="1698" y="93"/>
                  <a:pt x="1709" y="102"/>
                </a:cubicBezTo>
                <a:cubicBezTo>
                  <a:pt x="1715" y="106"/>
                  <a:pt x="1714" y="111"/>
                  <a:pt x="1707" y="111"/>
                </a:cubicBezTo>
                <a:cubicBezTo>
                  <a:pt x="1697" y="112"/>
                  <a:pt x="1688" y="113"/>
                  <a:pt x="1679" y="113"/>
                </a:cubicBezTo>
                <a:cubicBezTo>
                  <a:pt x="1672" y="114"/>
                  <a:pt x="1666" y="109"/>
                  <a:pt x="1666" y="101"/>
                </a:cubicBezTo>
                <a:cubicBezTo>
                  <a:pt x="1666" y="95"/>
                  <a:pt x="1666" y="88"/>
                  <a:pt x="1666" y="81"/>
                </a:cubicBezTo>
                <a:close/>
                <a:moveTo>
                  <a:pt x="1678" y="216"/>
                </a:moveTo>
                <a:cubicBezTo>
                  <a:pt x="1671" y="218"/>
                  <a:pt x="1666" y="213"/>
                  <a:pt x="1666" y="206"/>
                </a:cubicBezTo>
                <a:cubicBezTo>
                  <a:pt x="1666" y="188"/>
                  <a:pt x="1666" y="169"/>
                  <a:pt x="1666" y="151"/>
                </a:cubicBezTo>
                <a:cubicBezTo>
                  <a:pt x="1666" y="143"/>
                  <a:pt x="1672" y="137"/>
                  <a:pt x="1679" y="137"/>
                </a:cubicBezTo>
                <a:cubicBezTo>
                  <a:pt x="1697" y="135"/>
                  <a:pt x="1715" y="134"/>
                  <a:pt x="1734" y="132"/>
                </a:cubicBezTo>
                <a:cubicBezTo>
                  <a:pt x="1741" y="132"/>
                  <a:pt x="1751" y="135"/>
                  <a:pt x="1757" y="140"/>
                </a:cubicBezTo>
                <a:cubicBezTo>
                  <a:pt x="1772" y="151"/>
                  <a:pt x="1786" y="163"/>
                  <a:pt x="1801" y="174"/>
                </a:cubicBezTo>
                <a:cubicBezTo>
                  <a:pt x="1806" y="179"/>
                  <a:pt x="1806" y="184"/>
                  <a:pt x="1799" y="186"/>
                </a:cubicBezTo>
                <a:cubicBezTo>
                  <a:pt x="1759" y="195"/>
                  <a:pt x="1718" y="206"/>
                  <a:pt x="1678" y="216"/>
                </a:cubicBezTo>
                <a:close/>
                <a:moveTo>
                  <a:pt x="1921" y="230"/>
                </a:moveTo>
                <a:cubicBezTo>
                  <a:pt x="1921" y="238"/>
                  <a:pt x="1916" y="240"/>
                  <a:pt x="1910" y="235"/>
                </a:cubicBezTo>
                <a:cubicBezTo>
                  <a:pt x="1897" y="224"/>
                  <a:pt x="1884" y="214"/>
                  <a:pt x="1871" y="204"/>
                </a:cubicBezTo>
                <a:cubicBezTo>
                  <a:pt x="1866" y="199"/>
                  <a:pt x="1866" y="194"/>
                  <a:pt x="1873" y="192"/>
                </a:cubicBezTo>
                <a:cubicBezTo>
                  <a:pt x="1885" y="190"/>
                  <a:pt x="1897" y="187"/>
                  <a:pt x="1908" y="184"/>
                </a:cubicBezTo>
                <a:cubicBezTo>
                  <a:pt x="1915" y="183"/>
                  <a:pt x="1921" y="187"/>
                  <a:pt x="1921" y="195"/>
                </a:cubicBezTo>
                <a:cubicBezTo>
                  <a:pt x="1921" y="207"/>
                  <a:pt x="1921" y="218"/>
                  <a:pt x="1921" y="230"/>
                </a:cubicBezTo>
                <a:close/>
                <a:moveTo>
                  <a:pt x="1921" y="144"/>
                </a:moveTo>
                <a:cubicBezTo>
                  <a:pt x="1921" y="152"/>
                  <a:pt x="1915" y="159"/>
                  <a:pt x="1908" y="160"/>
                </a:cubicBezTo>
                <a:cubicBezTo>
                  <a:pt x="1889" y="165"/>
                  <a:pt x="1869" y="169"/>
                  <a:pt x="1850" y="174"/>
                </a:cubicBezTo>
                <a:cubicBezTo>
                  <a:pt x="1843" y="175"/>
                  <a:pt x="1833" y="173"/>
                  <a:pt x="1827" y="168"/>
                </a:cubicBezTo>
                <a:cubicBezTo>
                  <a:pt x="1814" y="158"/>
                  <a:pt x="1802" y="148"/>
                  <a:pt x="1789" y="138"/>
                </a:cubicBezTo>
                <a:cubicBezTo>
                  <a:pt x="1783" y="133"/>
                  <a:pt x="1784" y="129"/>
                  <a:pt x="1791" y="128"/>
                </a:cubicBezTo>
                <a:cubicBezTo>
                  <a:pt x="1830" y="126"/>
                  <a:pt x="1869" y="124"/>
                  <a:pt x="1908" y="122"/>
                </a:cubicBezTo>
                <a:cubicBezTo>
                  <a:pt x="1915" y="122"/>
                  <a:pt x="1921" y="127"/>
                  <a:pt x="1921" y="135"/>
                </a:cubicBezTo>
                <a:cubicBezTo>
                  <a:pt x="1921" y="138"/>
                  <a:pt x="1921" y="141"/>
                  <a:pt x="1921" y="144"/>
                </a:cubicBezTo>
                <a:close/>
                <a:moveTo>
                  <a:pt x="1921" y="87"/>
                </a:moveTo>
                <a:cubicBezTo>
                  <a:pt x="1921" y="93"/>
                  <a:pt x="1915" y="99"/>
                  <a:pt x="1908" y="99"/>
                </a:cubicBezTo>
                <a:cubicBezTo>
                  <a:pt x="1860" y="101"/>
                  <a:pt x="1812" y="104"/>
                  <a:pt x="1764" y="107"/>
                </a:cubicBezTo>
                <a:cubicBezTo>
                  <a:pt x="1757" y="108"/>
                  <a:pt x="1747" y="104"/>
                  <a:pt x="1741" y="99"/>
                </a:cubicBezTo>
                <a:cubicBezTo>
                  <a:pt x="1723" y="85"/>
                  <a:pt x="1704" y="71"/>
                  <a:pt x="1686" y="57"/>
                </a:cubicBezTo>
                <a:cubicBezTo>
                  <a:pt x="1680" y="52"/>
                  <a:pt x="1681" y="49"/>
                  <a:pt x="1689" y="50"/>
                </a:cubicBezTo>
                <a:cubicBezTo>
                  <a:pt x="1762" y="56"/>
                  <a:pt x="1835" y="64"/>
                  <a:pt x="1908" y="74"/>
                </a:cubicBezTo>
                <a:cubicBezTo>
                  <a:pt x="1915" y="74"/>
                  <a:pt x="1921" y="81"/>
                  <a:pt x="1921" y="87"/>
                </a:cubicBezTo>
                <a:close/>
                <a:moveTo>
                  <a:pt x="1943" y="88"/>
                </a:moveTo>
                <a:cubicBezTo>
                  <a:pt x="1943" y="83"/>
                  <a:pt x="1949" y="79"/>
                  <a:pt x="1956" y="80"/>
                </a:cubicBezTo>
                <a:cubicBezTo>
                  <a:pt x="1985" y="84"/>
                  <a:pt x="2014" y="88"/>
                  <a:pt x="2043" y="92"/>
                </a:cubicBezTo>
                <a:cubicBezTo>
                  <a:pt x="2050" y="93"/>
                  <a:pt x="2050" y="94"/>
                  <a:pt x="2043" y="95"/>
                </a:cubicBezTo>
                <a:cubicBezTo>
                  <a:pt x="2014" y="95"/>
                  <a:pt x="1985" y="96"/>
                  <a:pt x="1956" y="97"/>
                </a:cubicBezTo>
                <a:cubicBezTo>
                  <a:pt x="1949" y="97"/>
                  <a:pt x="1943" y="93"/>
                  <a:pt x="1943" y="88"/>
                </a:cubicBezTo>
                <a:close/>
                <a:moveTo>
                  <a:pt x="1943" y="134"/>
                </a:moveTo>
                <a:cubicBezTo>
                  <a:pt x="1943" y="127"/>
                  <a:pt x="1949" y="121"/>
                  <a:pt x="1956" y="120"/>
                </a:cubicBezTo>
                <a:cubicBezTo>
                  <a:pt x="2006" y="118"/>
                  <a:pt x="2056" y="117"/>
                  <a:pt x="2106" y="116"/>
                </a:cubicBezTo>
                <a:cubicBezTo>
                  <a:pt x="2113" y="116"/>
                  <a:pt x="2113" y="117"/>
                  <a:pt x="2106" y="119"/>
                </a:cubicBezTo>
                <a:cubicBezTo>
                  <a:pt x="2056" y="128"/>
                  <a:pt x="2006" y="139"/>
                  <a:pt x="1955" y="150"/>
                </a:cubicBezTo>
                <a:cubicBezTo>
                  <a:pt x="1948" y="151"/>
                  <a:pt x="1943" y="147"/>
                  <a:pt x="1943" y="140"/>
                </a:cubicBezTo>
                <a:cubicBezTo>
                  <a:pt x="1943" y="138"/>
                  <a:pt x="1943" y="136"/>
                  <a:pt x="1943" y="134"/>
                </a:cubicBezTo>
                <a:close/>
                <a:moveTo>
                  <a:pt x="1953" y="238"/>
                </a:moveTo>
                <a:cubicBezTo>
                  <a:pt x="1948" y="241"/>
                  <a:pt x="1943" y="238"/>
                  <a:pt x="1943" y="231"/>
                </a:cubicBezTo>
                <a:cubicBezTo>
                  <a:pt x="1943" y="217"/>
                  <a:pt x="1943" y="203"/>
                  <a:pt x="1943" y="189"/>
                </a:cubicBezTo>
                <a:cubicBezTo>
                  <a:pt x="1943" y="182"/>
                  <a:pt x="1948" y="175"/>
                  <a:pt x="1955" y="174"/>
                </a:cubicBezTo>
                <a:cubicBezTo>
                  <a:pt x="2008" y="162"/>
                  <a:pt x="2060" y="152"/>
                  <a:pt x="2112" y="142"/>
                </a:cubicBezTo>
                <a:cubicBezTo>
                  <a:pt x="2119" y="140"/>
                  <a:pt x="2120" y="142"/>
                  <a:pt x="2114" y="145"/>
                </a:cubicBezTo>
                <a:cubicBezTo>
                  <a:pt x="2061" y="175"/>
                  <a:pt x="2007" y="206"/>
                  <a:pt x="1953" y="238"/>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37691150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3" name="Rectangle 2"/>
          <p:cNvSpPr/>
          <p:nvPr userDrawn="1"/>
        </p:nvSpPr>
        <p:spPr bwMode="auto">
          <a:xfrm>
            <a:off x="269239" y="2084172"/>
            <a:ext cx="8964248" cy="35862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9" y="471123"/>
            <a:ext cx="2507467" cy="537211"/>
          </a:xfrm>
          <a:prstGeom prst="rect">
            <a:avLst/>
          </a:prstGeom>
        </p:spPr>
      </p:pic>
      <p:sp>
        <p:nvSpPr>
          <p:cNvPr id="7" name="Freeform 6"/>
          <p:cNvSpPr>
            <a:spLocks noChangeAspect="1" noEditPoints="1"/>
          </p:cNvSpPr>
          <p:nvPr userDrawn="1"/>
        </p:nvSpPr>
        <p:spPr bwMode="auto">
          <a:xfrm>
            <a:off x="-342355" y="5928340"/>
            <a:ext cx="12876710" cy="1816774"/>
          </a:xfrm>
          <a:custGeom>
            <a:avLst/>
            <a:gdLst>
              <a:gd name="T0" fmla="*/ 1088 w 2202"/>
              <a:gd name="T1" fmla="*/ 0 h 277"/>
              <a:gd name="T2" fmla="*/ 261 w 2202"/>
              <a:gd name="T3" fmla="*/ 273 h 277"/>
              <a:gd name="T4" fmla="*/ 560 w 2202"/>
              <a:gd name="T5" fmla="*/ 241 h 277"/>
              <a:gd name="T6" fmla="*/ 886 w 2202"/>
              <a:gd name="T7" fmla="*/ 185 h 277"/>
              <a:gd name="T8" fmla="*/ 1315 w 2202"/>
              <a:gd name="T9" fmla="*/ 185 h 277"/>
              <a:gd name="T10" fmla="*/ 1642 w 2202"/>
              <a:gd name="T11" fmla="*/ 241 h 277"/>
              <a:gd name="T12" fmla="*/ 1941 w 2202"/>
              <a:gd name="T13" fmla="*/ 273 h 277"/>
              <a:gd name="T14" fmla="*/ 248 w 2202"/>
              <a:gd name="T15" fmla="*/ 238 h 277"/>
              <a:gd name="T16" fmla="*/ 258 w 2202"/>
              <a:gd name="T17" fmla="*/ 231 h 277"/>
              <a:gd name="T18" fmla="*/ 246 w 2202"/>
              <a:gd name="T19" fmla="*/ 120 h 277"/>
              <a:gd name="T20" fmla="*/ 158 w 2202"/>
              <a:gd name="T21" fmla="*/ 95 h 277"/>
              <a:gd name="T22" fmla="*/ 294 w 2202"/>
              <a:gd name="T23" fmla="*/ 74 h 277"/>
              <a:gd name="T24" fmla="*/ 294 w 2202"/>
              <a:gd name="T25" fmla="*/ 99 h 277"/>
              <a:gd name="T26" fmla="*/ 293 w 2202"/>
              <a:gd name="T27" fmla="*/ 184 h 277"/>
              <a:gd name="T28" fmla="*/ 351 w 2202"/>
              <a:gd name="T29" fmla="*/ 174 h 277"/>
              <a:gd name="T30" fmla="*/ 410 w 2202"/>
              <a:gd name="T31" fmla="*/ 129 h 277"/>
              <a:gd name="T32" fmla="*/ 402 w 2202"/>
              <a:gd name="T33" fmla="*/ 186 h 277"/>
              <a:gd name="T34" fmla="*/ 535 w 2202"/>
              <a:gd name="T35" fmla="*/ 151 h 277"/>
              <a:gd name="T36" fmla="*/ 492 w 2202"/>
              <a:gd name="T37" fmla="*/ 102 h 277"/>
              <a:gd name="T38" fmla="*/ 569 w 2202"/>
              <a:gd name="T39" fmla="*/ 71 h 277"/>
              <a:gd name="T40" fmla="*/ 558 w 2202"/>
              <a:gd name="T41" fmla="*/ 78 h 277"/>
              <a:gd name="T42" fmla="*/ 697 w 2202"/>
              <a:gd name="T43" fmla="*/ 153 h 277"/>
              <a:gd name="T44" fmla="*/ 764 w 2202"/>
              <a:gd name="T45" fmla="*/ 166 h 277"/>
              <a:gd name="T46" fmla="*/ 811 w 2202"/>
              <a:gd name="T47" fmla="*/ 101 h 277"/>
              <a:gd name="T48" fmla="*/ 700 w 2202"/>
              <a:gd name="T49" fmla="*/ 125 h 277"/>
              <a:gd name="T50" fmla="*/ 811 w 2202"/>
              <a:gd name="T51" fmla="*/ 101 h 277"/>
              <a:gd name="T52" fmla="*/ 846 w 2202"/>
              <a:gd name="T53" fmla="*/ 101 h 277"/>
              <a:gd name="T54" fmla="*/ 846 w 2202"/>
              <a:gd name="T55" fmla="*/ 171 h 277"/>
              <a:gd name="T56" fmla="*/ 879 w 2202"/>
              <a:gd name="T57" fmla="*/ 152 h 277"/>
              <a:gd name="T58" fmla="*/ 1020 w 2202"/>
              <a:gd name="T59" fmla="*/ 64 h 277"/>
              <a:gd name="T60" fmla="*/ 934 w 2202"/>
              <a:gd name="T61" fmla="*/ 151 h 277"/>
              <a:gd name="T62" fmla="*/ 1112 w 2202"/>
              <a:gd name="T63" fmla="*/ 172 h 277"/>
              <a:gd name="T64" fmla="*/ 1125 w 2202"/>
              <a:gd name="T65" fmla="*/ 183 h 277"/>
              <a:gd name="T66" fmla="*/ 1355 w 2202"/>
              <a:gd name="T67" fmla="*/ 171 h 277"/>
              <a:gd name="T68" fmla="*/ 1299 w 2202"/>
              <a:gd name="T69" fmla="*/ 146 h 277"/>
              <a:gd name="T70" fmla="*/ 1368 w 2202"/>
              <a:gd name="T71" fmla="*/ 92 h 277"/>
              <a:gd name="T72" fmla="*/ 1368 w 2202"/>
              <a:gd name="T73" fmla="*/ 41 h 277"/>
              <a:gd name="T74" fmla="*/ 1403 w 2202"/>
              <a:gd name="T75" fmla="*/ 164 h 277"/>
              <a:gd name="T76" fmla="*/ 1435 w 2202"/>
              <a:gd name="T77" fmla="*/ 131 h 277"/>
              <a:gd name="T78" fmla="*/ 1618 w 2202"/>
              <a:gd name="T79" fmla="*/ 43 h 277"/>
              <a:gd name="T80" fmla="*/ 1643 w 2202"/>
              <a:gd name="T81" fmla="*/ 204 h 277"/>
              <a:gd name="T82" fmla="*/ 1643 w 2202"/>
              <a:gd name="T83" fmla="*/ 152 h 277"/>
              <a:gd name="T84" fmla="*/ 1555 w 2202"/>
              <a:gd name="T85" fmla="*/ 119 h 277"/>
              <a:gd name="T86" fmla="*/ 1677 w 2202"/>
              <a:gd name="T87" fmla="*/ 77 h 277"/>
              <a:gd name="T88" fmla="*/ 1666 w 2202"/>
              <a:gd name="T89" fmla="*/ 81 h 277"/>
              <a:gd name="T90" fmla="*/ 1734 w 2202"/>
              <a:gd name="T91" fmla="*/ 132 h 277"/>
              <a:gd name="T92" fmla="*/ 1921 w 2202"/>
              <a:gd name="T93" fmla="*/ 230 h 277"/>
              <a:gd name="T94" fmla="*/ 1921 w 2202"/>
              <a:gd name="T95" fmla="*/ 195 h 277"/>
              <a:gd name="T96" fmla="*/ 1827 w 2202"/>
              <a:gd name="T97" fmla="*/ 168 h 277"/>
              <a:gd name="T98" fmla="*/ 1921 w 2202"/>
              <a:gd name="T99" fmla="*/ 144 h 277"/>
              <a:gd name="T100" fmla="*/ 1686 w 2202"/>
              <a:gd name="T101" fmla="*/ 57 h 277"/>
              <a:gd name="T102" fmla="*/ 1956 w 2202"/>
              <a:gd name="T103" fmla="*/ 80 h 277"/>
              <a:gd name="T104" fmla="*/ 1943 w 2202"/>
              <a:gd name="T105" fmla="*/ 134 h 277"/>
              <a:gd name="T106" fmla="*/ 1943 w 2202"/>
              <a:gd name="T107" fmla="*/ 140 h 277"/>
              <a:gd name="T108" fmla="*/ 1955 w 2202"/>
              <a:gd name="T109" fmla="*/ 17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02" h="277">
                <a:moveTo>
                  <a:pt x="2199" y="107"/>
                </a:moveTo>
                <a:cubicBezTo>
                  <a:pt x="2197" y="100"/>
                  <a:pt x="2190" y="93"/>
                  <a:pt x="2182" y="92"/>
                </a:cubicBezTo>
                <a:cubicBezTo>
                  <a:pt x="1829" y="31"/>
                  <a:pt x="1471" y="1"/>
                  <a:pt x="1114" y="0"/>
                </a:cubicBezTo>
                <a:cubicBezTo>
                  <a:pt x="1107" y="0"/>
                  <a:pt x="1101" y="0"/>
                  <a:pt x="1101" y="0"/>
                </a:cubicBezTo>
                <a:cubicBezTo>
                  <a:pt x="1101" y="0"/>
                  <a:pt x="1095" y="0"/>
                  <a:pt x="1088" y="0"/>
                </a:cubicBezTo>
                <a:cubicBezTo>
                  <a:pt x="730" y="1"/>
                  <a:pt x="373" y="31"/>
                  <a:pt x="19" y="92"/>
                </a:cubicBezTo>
                <a:cubicBezTo>
                  <a:pt x="12" y="93"/>
                  <a:pt x="5" y="100"/>
                  <a:pt x="3" y="107"/>
                </a:cubicBezTo>
                <a:cubicBezTo>
                  <a:pt x="2" y="108"/>
                  <a:pt x="2" y="109"/>
                  <a:pt x="2" y="110"/>
                </a:cubicBezTo>
                <a:cubicBezTo>
                  <a:pt x="0" y="117"/>
                  <a:pt x="3" y="126"/>
                  <a:pt x="9" y="129"/>
                </a:cubicBezTo>
                <a:cubicBezTo>
                  <a:pt x="92" y="175"/>
                  <a:pt x="176" y="224"/>
                  <a:pt x="261" y="273"/>
                </a:cubicBezTo>
                <a:cubicBezTo>
                  <a:pt x="266" y="277"/>
                  <a:pt x="276" y="276"/>
                  <a:pt x="282" y="271"/>
                </a:cubicBezTo>
                <a:cubicBezTo>
                  <a:pt x="307" y="250"/>
                  <a:pt x="332" y="230"/>
                  <a:pt x="357" y="210"/>
                </a:cubicBezTo>
                <a:cubicBezTo>
                  <a:pt x="362" y="205"/>
                  <a:pt x="373" y="203"/>
                  <a:pt x="379" y="204"/>
                </a:cubicBezTo>
                <a:cubicBezTo>
                  <a:pt x="431" y="217"/>
                  <a:pt x="483" y="229"/>
                  <a:pt x="535" y="243"/>
                </a:cubicBezTo>
                <a:cubicBezTo>
                  <a:pt x="542" y="245"/>
                  <a:pt x="553" y="244"/>
                  <a:pt x="560" y="241"/>
                </a:cubicBezTo>
                <a:cubicBezTo>
                  <a:pt x="612" y="218"/>
                  <a:pt x="664" y="196"/>
                  <a:pt x="717" y="175"/>
                </a:cubicBezTo>
                <a:cubicBezTo>
                  <a:pt x="724" y="172"/>
                  <a:pt x="734" y="173"/>
                  <a:pt x="740" y="177"/>
                </a:cubicBezTo>
                <a:cubicBezTo>
                  <a:pt x="764" y="192"/>
                  <a:pt x="788" y="208"/>
                  <a:pt x="812" y="223"/>
                </a:cubicBezTo>
                <a:cubicBezTo>
                  <a:pt x="818" y="227"/>
                  <a:pt x="827" y="227"/>
                  <a:pt x="833" y="222"/>
                </a:cubicBezTo>
                <a:cubicBezTo>
                  <a:pt x="851" y="210"/>
                  <a:pt x="868" y="197"/>
                  <a:pt x="886" y="185"/>
                </a:cubicBezTo>
                <a:cubicBezTo>
                  <a:pt x="892" y="181"/>
                  <a:pt x="903" y="178"/>
                  <a:pt x="910" y="179"/>
                </a:cubicBezTo>
                <a:cubicBezTo>
                  <a:pt x="969" y="188"/>
                  <a:pt x="1028" y="197"/>
                  <a:pt x="1088" y="208"/>
                </a:cubicBezTo>
                <a:cubicBezTo>
                  <a:pt x="1095" y="209"/>
                  <a:pt x="1107" y="209"/>
                  <a:pt x="1114" y="208"/>
                </a:cubicBezTo>
                <a:cubicBezTo>
                  <a:pt x="1173" y="197"/>
                  <a:pt x="1232" y="188"/>
                  <a:pt x="1292" y="179"/>
                </a:cubicBezTo>
                <a:cubicBezTo>
                  <a:pt x="1299" y="178"/>
                  <a:pt x="1309" y="181"/>
                  <a:pt x="1315" y="185"/>
                </a:cubicBezTo>
                <a:cubicBezTo>
                  <a:pt x="1333" y="197"/>
                  <a:pt x="1351" y="210"/>
                  <a:pt x="1368" y="222"/>
                </a:cubicBezTo>
                <a:cubicBezTo>
                  <a:pt x="1374" y="227"/>
                  <a:pt x="1384" y="227"/>
                  <a:pt x="1390" y="223"/>
                </a:cubicBezTo>
                <a:cubicBezTo>
                  <a:pt x="1414" y="208"/>
                  <a:pt x="1438" y="192"/>
                  <a:pt x="1462" y="177"/>
                </a:cubicBezTo>
                <a:cubicBezTo>
                  <a:pt x="1468" y="173"/>
                  <a:pt x="1478" y="172"/>
                  <a:pt x="1485" y="175"/>
                </a:cubicBezTo>
                <a:cubicBezTo>
                  <a:pt x="1537" y="196"/>
                  <a:pt x="1590" y="218"/>
                  <a:pt x="1642" y="241"/>
                </a:cubicBezTo>
                <a:cubicBezTo>
                  <a:pt x="1649" y="244"/>
                  <a:pt x="1660" y="245"/>
                  <a:pt x="1667" y="243"/>
                </a:cubicBezTo>
                <a:cubicBezTo>
                  <a:pt x="1719" y="229"/>
                  <a:pt x="1770" y="217"/>
                  <a:pt x="1822" y="204"/>
                </a:cubicBezTo>
                <a:cubicBezTo>
                  <a:pt x="1829" y="203"/>
                  <a:pt x="1839" y="205"/>
                  <a:pt x="1845" y="210"/>
                </a:cubicBezTo>
                <a:cubicBezTo>
                  <a:pt x="1870" y="230"/>
                  <a:pt x="1895" y="250"/>
                  <a:pt x="1920" y="271"/>
                </a:cubicBezTo>
                <a:cubicBezTo>
                  <a:pt x="1926" y="276"/>
                  <a:pt x="1935" y="277"/>
                  <a:pt x="1941" y="273"/>
                </a:cubicBezTo>
                <a:cubicBezTo>
                  <a:pt x="2025" y="224"/>
                  <a:pt x="2109" y="175"/>
                  <a:pt x="2193" y="129"/>
                </a:cubicBezTo>
                <a:cubicBezTo>
                  <a:pt x="2199" y="126"/>
                  <a:pt x="2202" y="117"/>
                  <a:pt x="2200" y="110"/>
                </a:cubicBezTo>
                <a:cubicBezTo>
                  <a:pt x="2199" y="109"/>
                  <a:pt x="2199" y="108"/>
                  <a:pt x="2199" y="107"/>
                </a:cubicBezTo>
                <a:close/>
                <a:moveTo>
                  <a:pt x="258" y="231"/>
                </a:moveTo>
                <a:cubicBezTo>
                  <a:pt x="258" y="238"/>
                  <a:pt x="254" y="241"/>
                  <a:pt x="248" y="238"/>
                </a:cubicBezTo>
                <a:cubicBezTo>
                  <a:pt x="194" y="206"/>
                  <a:pt x="141" y="175"/>
                  <a:pt x="87" y="145"/>
                </a:cubicBezTo>
                <a:cubicBezTo>
                  <a:pt x="81" y="142"/>
                  <a:pt x="82" y="140"/>
                  <a:pt x="89" y="142"/>
                </a:cubicBezTo>
                <a:cubicBezTo>
                  <a:pt x="141" y="152"/>
                  <a:pt x="194" y="162"/>
                  <a:pt x="246" y="174"/>
                </a:cubicBezTo>
                <a:cubicBezTo>
                  <a:pt x="253" y="175"/>
                  <a:pt x="258" y="182"/>
                  <a:pt x="258" y="190"/>
                </a:cubicBezTo>
                <a:cubicBezTo>
                  <a:pt x="258" y="203"/>
                  <a:pt x="258" y="217"/>
                  <a:pt x="258" y="231"/>
                </a:cubicBezTo>
                <a:close/>
                <a:moveTo>
                  <a:pt x="258" y="140"/>
                </a:moveTo>
                <a:cubicBezTo>
                  <a:pt x="258" y="147"/>
                  <a:pt x="253" y="151"/>
                  <a:pt x="246" y="150"/>
                </a:cubicBezTo>
                <a:cubicBezTo>
                  <a:pt x="196" y="139"/>
                  <a:pt x="145" y="129"/>
                  <a:pt x="95" y="119"/>
                </a:cubicBezTo>
                <a:cubicBezTo>
                  <a:pt x="88" y="117"/>
                  <a:pt x="88" y="116"/>
                  <a:pt x="95" y="117"/>
                </a:cubicBezTo>
                <a:cubicBezTo>
                  <a:pt x="145" y="117"/>
                  <a:pt x="195" y="118"/>
                  <a:pt x="246" y="120"/>
                </a:cubicBezTo>
                <a:cubicBezTo>
                  <a:pt x="253" y="121"/>
                  <a:pt x="258" y="127"/>
                  <a:pt x="258" y="134"/>
                </a:cubicBezTo>
                <a:cubicBezTo>
                  <a:pt x="258" y="136"/>
                  <a:pt x="258" y="138"/>
                  <a:pt x="258" y="140"/>
                </a:cubicBezTo>
                <a:close/>
                <a:moveTo>
                  <a:pt x="258" y="88"/>
                </a:moveTo>
                <a:cubicBezTo>
                  <a:pt x="258" y="93"/>
                  <a:pt x="253" y="97"/>
                  <a:pt x="246" y="97"/>
                </a:cubicBezTo>
                <a:cubicBezTo>
                  <a:pt x="216" y="96"/>
                  <a:pt x="187" y="95"/>
                  <a:pt x="158" y="95"/>
                </a:cubicBezTo>
                <a:cubicBezTo>
                  <a:pt x="151" y="94"/>
                  <a:pt x="151" y="93"/>
                  <a:pt x="158" y="92"/>
                </a:cubicBezTo>
                <a:cubicBezTo>
                  <a:pt x="187" y="88"/>
                  <a:pt x="216" y="84"/>
                  <a:pt x="245" y="80"/>
                </a:cubicBezTo>
                <a:cubicBezTo>
                  <a:pt x="253" y="79"/>
                  <a:pt x="258" y="83"/>
                  <a:pt x="258" y="88"/>
                </a:cubicBezTo>
                <a:close/>
                <a:moveTo>
                  <a:pt x="281" y="87"/>
                </a:moveTo>
                <a:cubicBezTo>
                  <a:pt x="281" y="81"/>
                  <a:pt x="287" y="75"/>
                  <a:pt x="294" y="74"/>
                </a:cubicBezTo>
                <a:cubicBezTo>
                  <a:pt x="367" y="64"/>
                  <a:pt x="440" y="56"/>
                  <a:pt x="513" y="50"/>
                </a:cubicBezTo>
                <a:cubicBezTo>
                  <a:pt x="520" y="49"/>
                  <a:pt x="521" y="52"/>
                  <a:pt x="515" y="57"/>
                </a:cubicBezTo>
                <a:cubicBezTo>
                  <a:pt x="497" y="71"/>
                  <a:pt x="479" y="85"/>
                  <a:pt x="460" y="100"/>
                </a:cubicBezTo>
                <a:cubicBezTo>
                  <a:pt x="454" y="104"/>
                  <a:pt x="444" y="108"/>
                  <a:pt x="437" y="107"/>
                </a:cubicBezTo>
                <a:cubicBezTo>
                  <a:pt x="389" y="104"/>
                  <a:pt x="341" y="101"/>
                  <a:pt x="294" y="99"/>
                </a:cubicBezTo>
                <a:cubicBezTo>
                  <a:pt x="287" y="99"/>
                  <a:pt x="281" y="94"/>
                  <a:pt x="281" y="87"/>
                </a:cubicBezTo>
                <a:close/>
                <a:moveTo>
                  <a:pt x="291" y="235"/>
                </a:moveTo>
                <a:cubicBezTo>
                  <a:pt x="286" y="240"/>
                  <a:pt x="281" y="238"/>
                  <a:pt x="281" y="230"/>
                </a:cubicBezTo>
                <a:cubicBezTo>
                  <a:pt x="281" y="218"/>
                  <a:pt x="281" y="207"/>
                  <a:pt x="281" y="195"/>
                </a:cubicBezTo>
                <a:cubicBezTo>
                  <a:pt x="281" y="187"/>
                  <a:pt x="286" y="183"/>
                  <a:pt x="293" y="184"/>
                </a:cubicBezTo>
                <a:cubicBezTo>
                  <a:pt x="305" y="187"/>
                  <a:pt x="316" y="190"/>
                  <a:pt x="328" y="192"/>
                </a:cubicBezTo>
                <a:cubicBezTo>
                  <a:pt x="335" y="194"/>
                  <a:pt x="335" y="199"/>
                  <a:pt x="330" y="204"/>
                </a:cubicBezTo>
                <a:cubicBezTo>
                  <a:pt x="317" y="214"/>
                  <a:pt x="304" y="224"/>
                  <a:pt x="291" y="235"/>
                </a:cubicBezTo>
                <a:close/>
                <a:moveTo>
                  <a:pt x="374" y="168"/>
                </a:moveTo>
                <a:cubicBezTo>
                  <a:pt x="368" y="173"/>
                  <a:pt x="358" y="175"/>
                  <a:pt x="351" y="174"/>
                </a:cubicBezTo>
                <a:cubicBezTo>
                  <a:pt x="332" y="169"/>
                  <a:pt x="312" y="165"/>
                  <a:pt x="293" y="160"/>
                </a:cubicBezTo>
                <a:cubicBezTo>
                  <a:pt x="286" y="159"/>
                  <a:pt x="281" y="152"/>
                  <a:pt x="281" y="144"/>
                </a:cubicBezTo>
                <a:cubicBezTo>
                  <a:pt x="281" y="141"/>
                  <a:pt x="281" y="138"/>
                  <a:pt x="281" y="135"/>
                </a:cubicBezTo>
                <a:cubicBezTo>
                  <a:pt x="281" y="127"/>
                  <a:pt x="287" y="122"/>
                  <a:pt x="294" y="122"/>
                </a:cubicBezTo>
                <a:cubicBezTo>
                  <a:pt x="332" y="124"/>
                  <a:pt x="371" y="126"/>
                  <a:pt x="410" y="129"/>
                </a:cubicBezTo>
                <a:cubicBezTo>
                  <a:pt x="417" y="129"/>
                  <a:pt x="418" y="133"/>
                  <a:pt x="412" y="138"/>
                </a:cubicBezTo>
                <a:cubicBezTo>
                  <a:pt x="399" y="148"/>
                  <a:pt x="387" y="158"/>
                  <a:pt x="374" y="168"/>
                </a:cubicBezTo>
                <a:close/>
                <a:moveTo>
                  <a:pt x="535" y="206"/>
                </a:moveTo>
                <a:cubicBezTo>
                  <a:pt x="535" y="213"/>
                  <a:pt x="530" y="218"/>
                  <a:pt x="523" y="216"/>
                </a:cubicBezTo>
                <a:cubicBezTo>
                  <a:pt x="483" y="206"/>
                  <a:pt x="442" y="195"/>
                  <a:pt x="402" y="186"/>
                </a:cubicBezTo>
                <a:cubicBezTo>
                  <a:pt x="395" y="184"/>
                  <a:pt x="395" y="179"/>
                  <a:pt x="401" y="174"/>
                </a:cubicBezTo>
                <a:cubicBezTo>
                  <a:pt x="415" y="163"/>
                  <a:pt x="430" y="151"/>
                  <a:pt x="444" y="140"/>
                </a:cubicBezTo>
                <a:cubicBezTo>
                  <a:pt x="450" y="135"/>
                  <a:pt x="461" y="132"/>
                  <a:pt x="468" y="132"/>
                </a:cubicBezTo>
                <a:cubicBezTo>
                  <a:pt x="486" y="134"/>
                  <a:pt x="504" y="135"/>
                  <a:pt x="523" y="137"/>
                </a:cubicBezTo>
                <a:cubicBezTo>
                  <a:pt x="530" y="137"/>
                  <a:pt x="535" y="143"/>
                  <a:pt x="535" y="151"/>
                </a:cubicBezTo>
                <a:cubicBezTo>
                  <a:pt x="535" y="169"/>
                  <a:pt x="535" y="188"/>
                  <a:pt x="535" y="206"/>
                </a:cubicBezTo>
                <a:close/>
                <a:moveTo>
                  <a:pt x="535" y="101"/>
                </a:moveTo>
                <a:cubicBezTo>
                  <a:pt x="535" y="109"/>
                  <a:pt x="530" y="114"/>
                  <a:pt x="523" y="113"/>
                </a:cubicBezTo>
                <a:cubicBezTo>
                  <a:pt x="513" y="113"/>
                  <a:pt x="504" y="112"/>
                  <a:pt x="494" y="111"/>
                </a:cubicBezTo>
                <a:cubicBezTo>
                  <a:pt x="487" y="111"/>
                  <a:pt x="486" y="107"/>
                  <a:pt x="492" y="102"/>
                </a:cubicBezTo>
                <a:cubicBezTo>
                  <a:pt x="503" y="94"/>
                  <a:pt x="514" y="85"/>
                  <a:pt x="525" y="77"/>
                </a:cubicBezTo>
                <a:cubicBezTo>
                  <a:pt x="531" y="72"/>
                  <a:pt x="535" y="74"/>
                  <a:pt x="535" y="81"/>
                </a:cubicBezTo>
                <a:cubicBezTo>
                  <a:pt x="535" y="88"/>
                  <a:pt x="535" y="95"/>
                  <a:pt x="535" y="101"/>
                </a:cubicBezTo>
                <a:close/>
                <a:moveTo>
                  <a:pt x="558" y="78"/>
                </a:moveTo>
                <a:cubicBezTo>
                  <a:pt x="558" y="71"/>
                  <a:pt x="563" y="68"/>
                  <a:pt x="569" y="71"/>
                </a:cubicBezTo>
                <a:cubicBezTo>
                  <a:pt x="595" y="87"/>
                  <a:pt x="621" y="103"/>
                  <a:pt x="647" y="119"/>
                </a:cubicBezTo>
                <a:cubicBezTo>
                  <a:pt x="653" y="123"/>
                  <a:pt x="652" y="125"/>
                  <a:pt x="645" y="125"/>
                </a:cubicBezTo>
                <a:cubicBezTo>
                  <a:pt x="620" y="122"/>
                  <a:pt x="595" y="120"/>
                  <a:pt x="571" y="118"/>
                </a:cubicBezTo>
                <a:cubicBezTo>
                  <a:pt x="564" y="117"/>
                  <a:pt x="558" y="111"/>
                  <a:pt x="558" y="104"/>
                </a:cubicBezTo>
                <a:cubicBezTo>
                  <a:pt x="558" y="95"/>
                  <a:pt x="558" y="86"/>
                  <a:pt x="558" y="78"/>
                </a:cubicBezTo>
                <a:close/>
                <a:moveTo>
                  <a:pt x="570" y="211"/>
                </a:moveTo>
                <a:cubicBezTo>
                  <a:pt x="564" y="214"/>
                  <a:pt x="558" y="211"/>
                  <a:pt x="558" y="204"/>
                </a:cubicBezTo>
                <a:cubicBezTo>
                  <a:pt x="558" y="187"/>
                  <a:pt x="558" y="170"/>
                  <a:pt x="558" y="152"/>
                </a:cubicBezTo>
                <a:cubicBezTo>
                  <a:pt x="558" y="145"/>
                  <a:pt x="564" y="140"/>
                  <a:pt x="571" y="141"/>
                </a:cubicBezTo>
                <a:cubicBezTo>
                  <a:pt x="613" y="144"/>
                  <a:pt x="655" y="148"/>
                  <a:pt x="697" y="153"/>
                </a:cubicBezTo>
                <a:cubicBezTo>
                  <a:pt x="704" y="153"/>
                  <a:pt x="704" y="156"/>
                  <a:pt x="697" y="159"/>
                </a:cubicBezTo>
                <a:cubicBezTo>
                  <a:pt x="655" y="176"/>
                  <a:pt x="613" y="194"/>
                  <a:pt x="570" y="211"/>
                </a:cubicBezTo>
                <a:close/>
                <a:moveTo>
                  <a:pt x="811" y="182"/>
                </a:moveTo>
                <a:cubicBezTo>
                  <a:pt x="811" y="190"/>
                  <a:pt x="806" y="192"/>
                  <a:pt x="800" y="189"/>
                </a:cubicBezTo>
                <a:cubicBezTo>
                  <a:pt x="788" y="181"/>
                  <a:pt x="776" y="173"/>
                  <a:pt x="764" y="166"/>
                </a:cubicBezTo>
                <a:cubicBezTo>
                  <a:pt x="758" y="162"/>
                  <a:pt x="759" y="160"/>
                  <a:pt x="766" y="161"/>
                </a:cubicBezTo>
                <a:cubicBezTo>
                  <a:pt x="777" y="162"/>
                  <a:pt x="787" y="163"/>
                  <a:pt x="798" y="164"/>
                </a:cubicBezTo>
                <a:cubicBezTo>
                  <a:pt x="805" y="165"/>
                  <a:pt x="811" y="172"/>
                  <a:pt x="811" y="179"/>
                </a:cubicBezTo>
                <a:cubicBezTo>
                  <a:pt x="811" y="180"/>
                  <a:pt x="811" y="181"/>
                  <a:pt x="811" y="182"/>
                </a:cubicBezTo>
                <a:close/>
                <a:moveTo>
                  <a:pt x="811" y="101"/>
                </a:moveTo>
                <a:cubicBezTo>
                  <a:pt x="811" y="108"/>
                  <a:pt x="805" y="116"/>
                  <a:pt x="799" y="119"/>
                </a:cubicBezTo>
                <a:cubicBezTo>
                  <a:pt x="788" y="123"/>
                  <a:pt x="777" y="127"/>
                  <a:pt x="766" y="131"/>
                </a:cubicBezTo>
                <a:cubicBezTo>
                  <a:pt x="760" y="134"/>
                  <a:pt x="748" y="136"/>
                  <a:pt x="741" y="135"/>
                </a:cubicBezTo>
                <a:cubicBezTo>
                  <a:pt x="735" y="134"/>
                  <a:pt x="729" y="133"/>
                  <a:pt x="723" y="133"/>
                </a:cubicBezTo>
                <a:cubicBezTo>
                  <a:pt x="716" y="132"/>
                  <a:pt x="705" y="128"/>
                  <a:pt x="700" y="125"/>
                </a:cubicBezTo>
                <a:cubicBezTo>
                  <a:pt x="660" y="100"/>
                  <a:pt x="621" y="75"/>
                  <a:pt x="581" y="51"/>
                </a:cubicBezTo>
                <a:cubicBezTo>
                  <a:pt x="575" y="47"/>
                  <a:pt x="576" y="44"/>
                  <a:pt x="583" y="43"/>
                </a:cubicBezTo>
                <a:cubicBezTo>
                  <a:pt x="655" y="38"/>
                  <a:pt x="726" y="33"/>
                  <a:pt x="798" y="30"/>
                </a:cubicBezTo>
                <a:cubicBezTo>
                  <a:pt x="805" y="29"/>
                  <a:pt x="811" y="35"/>
                  <a:pt x="811" y="42"/>
                </a:cubicBezTo>
                <a:cubicBezTo>
                  <a:pt x="811" y="62"/>
                  <a:pt x="811" y="81"/>
                  <a:pt x="811" y="101"/>
                </a:cubicBezTo>
                <a:close/>
                <a:moveTo>
                  <a:pt x="834" y="41"/>
                </a:moveTo>
                <a:cubicBezTo>
                  <a:pt x="834" y="34"/>
                  <a:pt x="839" y="28"/>
                  <a:pt x="847" y="28"/>
                </a:cubicBezTo>
                <a:cubicBezTo>
                  <a:pt x="914" y="25"/>
                  <a:pt x="981" y="23"/>
                  <a:pt x="1048" y="23"/>
                </a:cubicBezTo>
                <a:cubicBezTo>
                  <a:pt x="1055" y="23"/>
                  <a:pt x="1055" y="25"/>
                  <a:pt x="1049" y="27"/>
                </a:cubicBezTo>
                <a:cubicBezTo>
                  <a:pt x="981" y="50"/>
                  <a:pt x="913" y="75"/>
                  <a:pt x="846" y="101"/>
                </a:cubicBezTo>
                <a:cubicBezTo>
                  <a:pt x="839" y="103"/>
                  <a:pt x="834" y="100"/>
                  <a:pt x="834" y="92"/>
                </a:cubicBezTo>
                <a:cubicBezTo>
                  <a:pt x="834" y="75"/>
                  <a:pt x="834" y="58"/>
                  <a:pt x="834" y="41"/>
                </a:cubicBezTo>
                <a:close/>
                <a:moveTo>
                  <a:pt x="844" y="187"/>
                </a:moveTo>
                <a:cubicBezTo>
                  <a:pt x="838" y="191"/>
                  <a:pt x="833" y="189"/>
                  <a:pt x="833" y="182"/>
                </a:cubicBezTo>
                <a:cubicBezTo>
                  <a:pt x="833" y="175"/>
                  <a:pt x="839" y="170"/>
                  <a:pt x="846" y="171"/>
                </a:cubicBezTo>
                <a:cubicBezTo>
                  <a:pt x="848" y="171"/>
                  <a:pt x="849" y="171"/>
                  <a:pt x="851" y="171"/>
                </a:cubicBezTo>
                <a:cubicBezTo>
                  <a:pt x="858" y="172"/>
                  <a:pt x="859" y="176"/>
                  <a:pt x="853" y="181"/>
                </a:cubicBezTo>
                <a:cubicBezTo>
                  <a:pt x="850" y="183"/>
                  <a:pt x="847" y="185"/>
                  <a:pt x="844" y="187"/>
                </a:cubicBezTo>
                <a:close/>
                <a:moveTo>
                  <a:pt x="902" y="146"/>
                </a:moveTo>
                <a:cubicBezTo>
                  <a:pt x="896" y="150"/>
                  <a:pt x="886" y="153"/>
                  <a:pt x="879" y="152"/>
                </a:cubicBezTo>
                <a:cubicBezTo>
                  <a:pt x="868" y="151"/>
                  <a:pt x="857" y="149"/>
                  <a:pt x="846" y="148"/>
                </a:cubicBezTo>
                <a:cubicBezTo>
                  <a:pt x="839" y="147"/>
                  <a:pt x="834" y="142"/>
                  <a:pt x="834" y="138"/>
                </a:cubicBezTo>
                <a:cubicBezTo>
                  <a:pt x="834" y="133"/>
                  <a:pt x="839" y="127"/>
                  <a:pt x="846" y="125"/>
                </a:cubicBezTo>
                <a:cubicBezTo>
                  <a:pt x="903" y="103"/>
                  <a:pt x="961" y="82"/>
                  <a:pt x="1019" y="61"/>
                </a:cubicBezTo>
                <a:cubicBezTo>
                  <a:pt x="1025" y="59"/>
                  <a:pt x="1026" y="60"/>
                  <a:pt x="1020" y="64"/>
                </a:cubicBezTo>
                <a:cubicBezTo>
                  <a:pt x="981" y="91"/>
                  <a:pt x="942" y="119"/>
                  <a:pt x="902" y="146"/>
                </a:cubicBezTo>
                <a:close/>
                <a:moveTo>
                  <a:pt x="1089" y="172"/>
                </a:moveTo>
                <a:cubicBezTo>
                  <a:pt x="1089" y="179"/>
                  <a:pt x="1083" y="184"/>
                  <a:pt x="1076" y="183"/>
                </a:cubicBezTo>
                <a:cubicBezTo>
                  <a:pt x="1030" y="175"/>
                  <a:pt x="983" y="167"/>
                  <a:pt x="937" y="160"/>
                </a:cubicBezTo>
                <a:cubicBezTo>
                  <a:pt x="929" y="159"/>
                  <a:pt x="929" y="155"/>
                  <a:pt x="934" y="151"/>
                </a:cubicBezTo>
                <a:cubicBezTo>
                  <a:pt x="982" y="117"/>
                  <a:pt x="1030" y="84"/>
                  <a:pt x="1078" y="51"/>
                </a:cubicBezTo>
                <a:cubicBezTo>
                  <a:pt x="1084" y="47"/>
                  <a:pt x="1089" y="49"/>
                  <a:pt x="1089" y="57"/>
                </a:cubicBezTo>
                <a:cubicBezTo>
                  <a:pt x="1089" y="95"/>
                  <a:pt x="1089" y="133"/>
                  <a:pt x="1089" y="172"/>
                </a:cubicBezTo>
                <a:close/>
                <a:moveTo>
                  <a:pt x="1125" y="183"/>
                </a:moveTo>
                <a:cubicBezTo>
                  <a:pt x="1118" y="184"/>
                  <a:pt x="1112" y="179"/>
                  <a:pt x="1112" y="172"/>
                </a:cubicBezTo>
                <a:cubicBezTo>
                  <a:pt x="1112" y="133"/>
                  <a:pt x="1112" y="95"/>
                  <a:pt x="1112" y="57"/>
                </a:cubicBezTo>
                <a:cubicBezTo>
                  <a:pt x="1112" y="49"/>
                  <a:pt x="1117" y="47"/>
                  <a:pt x="1123" y="51"/>
                </a:cubicBezTo>
                <a:cubicBezTo>
                  <a:pt x="1171" y="84"/>
                  <a:pt x="1219" y="117"/>
                  <a:pt x="1267" y="151"/>
                </a:cubicBezTo>
                <a:cubicBezTo>
                  <a:pt x="1273" y="155"/>
                  <a:pt x="1272" y="159"/>
                  <a:pt x="1265" y="160"/>
                </a:cubicBezTo>
                <a:cubicBezTo>
                  <a:pt x="1218" y="167"/>
                  <a:pt x="1171" y="175"/>
                  <a:pt x="1125" y="183"/>
                </a:cubicBezTo>
                <a:close/>
                <a:moveTo>
                  <a:pt x="1368" y="182"/>
                </a:moveTo>
                <a:cubicBezTo>
                  <a:pt x="1368" y="189"/>
                  <a:pt x="1363" y="191"/>
                  <a:pt x="1357" y="187"/>
                </a:cubicBezTo>
                <a:cubicBezTo>
                  <a:pt x="1354" y="185"/>
                  <a:pt x="1351" y="183"/>
                  <a:pt x="1348" y="181"/>
                </a:cubicBezTo>
                <a:cubicBezTo>
                  <a:pt x="1342" y="176"/>
                  <a:pt x="1343" y="172"/>
                  <a:pt x="1350" y="171"/>
                </a:cubicBezTo>
                <a:cubicBezTo>
                  <a:pt x="1352" y="171"/>
                  <a:pt x="1353" y="171"/>
                  <a:pt x="1355" y="171"/>
                </a:cubicBezTo>
                <a:cubicBezTo>
                  <a:pt x="1362" y="170"/>
                  <a:pt x="1368" y="175"/>
                  <a:pt x="1368" y="182"/>
                </a:cubicBezTo>
                <a:close/>
                <a:moveTo>
                  <a:pt x="1368" y="138"/>
                </a:moveTo>
                <a:cubicBezTo>
                  <a:pt x="1368" y="142"/>
                  <a:pt x="1362" y="147"/>
                  <a:pt x="1355" y="148"/>
                </a:cubicBezTo>
                <a:cubicBezTo>
                  <a:pt x="1344" y="149"/>
                  <a:pt x="1333" y="151"/>
                  <a:pt x="1323" y="152"/>
                </a:cubicBezTo>
                <a:cubicBezTo>
                  <a:pt x="1316" y="153"/>
                  <a:pt x="1305" y="150"/>
                  <a:pt x="1299" y="146"/>
                </a:cubicBezTo>
                <a:cubicBezTo>
                  <a:pt x="1260" y="119"/>
                  <a:pt x="1220" y="91"/>
                  <a:pt x="1181" y="64"/>
                </a:cubicBezTo>
                <a:cubicBezTo>
                  <a:pt x="1175" y="60"/>
                  <a:pt x="1176" y="59"/>
                  <a:pt x="1183" y="61"/>
                </a:cubicBezTo>
                <a:cubicBezTo>
                  <a:pt x="1240" y="82"/>
                  <a:pt x="1298" y="103"/>
                  <a:pt x="1355" y="125"/>
                </a:cubicBezTo>
                <a:cubicBezTo>
                  <a:pt x="1362" y="127"/>
                  <a:pt x="1368" y="133"/>
                  <a:pt x="1368" y="138"/>
                </a:cubicBezTo>
                <a:close/>
                <a:moveTo>
                  <a:pt x="1368" y="92"/>
                </a:moveTo>
                <a:cubicBezTo>
                  <a:pt x="1368" y="100"/>
                  <a:pt x="1362" y="103"/>
                  <a:pt x="1355" y="101"/>
                </a:cubicBezTo>
                <a:cubicBezTo>
                  <a:pt x="1288" y="75"/>
                  <a:pt x="1220" y="50"/>
                  <a:pt x="1153" y="27"/>
                </a:cubicBezTo>
                <a:cubicBezTo>
                  <a:pt x="1146" y="25"/>
                  <a:pt x="1146" y="23"/>
                  <a:pt x="1154" y="23"/>
                </a:cubicBezTo>
                <a:cubicBezTo>
                  <a:pt x="1221" y="23"/>
                  <a:pt x="1288" y="25"/>
                  <a:pt x="1355" y="28"/>
                </a:cubicBezTo>
                <a:cubicBezTo>
                  <a:pt x="1362" y="28"/>
                  <a:pt x="1368" y="34"/>
                  <a:pt x="1368" y="41"/>
                </a:cubicBezTo>
                <a:cubicBezTo>
                  <a:pt x="1368" y="58"/>
                  <a:pt x="1368" y="75"/>
                  <a:pt x="1368" y="92"/>
                </a:cubicBezTo>
                <a:close/>
                <a:moveTo>
                  <a:pt x="1401" y="189"/>
                </a:moveTo>
                <a:cubicBezTo>
                  <a:pt x="1395" y="192"/>
                  <a:pt x="1390" y="190"/>
                  <a:pt x="1390" y="182"/>
                </a:cubicBezTo>
                <a:cubicBezTo>
                  <a:pt x="1390" y="181"/>
                  <a:pt x="1390" y="180"/>
                  <a:pt x="1390" y="179"/>
                </a:cubicBezTo>
                <a:cubicBezTo>
                  <a:pt x="1390" y="172"/>
                  <a:pt x="1396" y="165"/>
                  <a:pt x="1403" y="164"/>
                </a:cubicBezTo>
                <a:cubicBezTo>
                  <a:pt x="1414" y="163"/>
                  <a:pt x="1424" y="162"/>
                  <a:pt x="1435" y="161"/>
                </a:cubicBezTo>
                <a:cubicBezTo>
                  <a:pt x="1442" y="160"/>
                  <a:pt x="1443" y="162"/>
                  <a:pt x="1437" y="166"/>
                </a:cubicBezTo>
                <a:cubicBezTo>
                  <a:pt x="1425" y="173"/>
                  <a:pt x="1413" y="181"/>
                  <a:pt x="1401" y="189"/>
                </a:cubicBezTo>
                <a:close/>
                <a:moveTo>
                  <a:pt x="1460" y="135"/>
                </a:moveTo>
                <a:cubicBezTo>
                  <a:pt x="1453" y="136"/>
                  <a:pt x="1441" y="134"/>
                  <a:pt x="1435" y="131"/>
                </a:cubicBezTo>
                <a:cubicBezTo>
                  <a:pt x="1424" y="127"/>
                  <a:pt x="1413" y="123"/>
                  <a:pt x="1403" y="119"/>
                </a:cubicBezTo>
                <a:cubicBezTo>
                  <a:pt x="1396" y="116"/>
                  <a:pt x="1390" y="108"/>
                  <a:pt x="1390" y="101"/>
                </a:cubicBezTo>
                <a:cubicBezTo>
                  <a:pt x="1390" y="81"/>
                  <a:pt x="1390" y="62"/>
                  <a:pt x="1390" y="42"/>
                </a:cubicBezTo>
                <a:cubicBezTo>
                  <a:pt x="1390" y="35"/>
                  <a:pt x="1396" y="29"/>
                  <a:pt x="1403" y="30"/>
                </a:cubicBezTo>
                <a:cubicBezTo>
                  <a:pt x="1475" y="33"/>
                  <a:pt x="1546" y="38"/>
                  <a:pt x="1618" y="43"/>
                </a:cubicBezTo>
                <a:cubicBezTo>
                  <a:pt x="1625" y="44"/>
                  <a:pt x="1626" y="47"/>
                  <a:pt x="1620" y="51"/>
                </a:cubicBezTo>
                <a:cubicBezTo>
                  <a:pt x="1581" y="75"/>
                  <a:pt x="1541" y="100"/>
                  <a:pt x="1502" y="125"/>
                </a:cubicBezTo>
                <a:cubicBezTo>
                  <a:pt x="1496" y="128"/>
                  <a:pt x="1485" y="132"/>
                  <a:pt x="1478" y="133"/>
                </a:cubicBezTo>
                <a:cubicBezTo>
                  <a:pt x="1472" y="133"/>
                  <a:pt x="1466" y="134"/>
                  <a:pt x="1460" y="135"/>
                </a:cubicBezTo>
                <a:close/>
                <a:moveTo>
                  <a:pt x="1643" y="204"/>
                </a:moveTo>
                <a:cubicBezTo>
                  <a:pt x="1643" y="211"/>
                  <a:pt x="1638" y="214"/>
                  <a:pt x="1631" y="211"/>
                </a:cubicBezTo>
                <a:cubicBezTo>
                  <a:pt x="1589" y="194"/>
                  <a:pt x="1546" y="176"/>
                  <a:pt x="1504" y="159"/>
                </a:cubicBezTo>
                <a:cubicBezTo>
                  <a:pt x="1497" y="156"/>
                  <a:pt x="1498" y="153"/>
                  <a:pt x="1505" y="153"/>
                </a:cubicBezTo>
                <a:cubicBezTo>
                  <a:pt x="1547" y="148"/>
                  <a:pt x="1589" y="144"/>
                  <a:pt x="1630" y="141"/>
                </a:cubicBezTo>
                <a:cubicBezTo>
                  <a:pt x="1638" y="140"/>
                  <a:pt x="1643" y="145"/>
                  <a:pt x="1643" y="152"/>
                </a:cubicBezTo>
                <a:cubicBezTo>
                  <a:pt x="1643" y="170"/>
                  <a:pt x="1643" y="187"/>
                  <a:pt x="1643" y="204"/>
                </a:cubicBezTo>
                <a:close/>
                <a:moveTo>
                  <a:pt x="1643" y="104"/>
                </a:moveTo>
                <a:cubicBezTo>
                  <a:pt x="1643" y="111"/>
                  <a:pt x="1638" y="117"/>
                  <a:pt x="1630" y="118"/>
                </a:cubicBezTo>
                <a:cubicBezTo>
                  <a:pt x="1606" y="120"/>
                  <a:pt x="1581" y="122"/>
                  <a:pt x="1557" y="125"/>
                </a:cubicBezTo>
                <a:cubicBezTo>
                  <a:pt x="1550" y="125"/>
                  <a:pt x="1549" y="123"/>
                  <a:pt x="1555" y="119"/>
                </a:cubicBezTo>
                <a:cubicBezTo>
                  <a:pt x="1581" y="103"/>
                  <a:pt x="1607" y="87"/>
                  <a:pt x="1633" y="71"/>
                </a:cubicBezTo>
                <a:cubicBezTo>
                  <a:pt x="1638" y="68"/>
                  <a:pt x="1643" y="71"/>
                  <a:pt x="1643" y="78"/>
                </a:cubicBezTo>
                <a:cubicBezTo>
                  <a:pt x="1643" y="86"/>
                  <a:pt x="1643" y="95"/>
                  <a:pt x="1643" y="104"/>
                </a:cubicBezTo>
                <a:close/>
                <a:moveTo>
                  <a:pt x="1666" y="81"/>
                </a:moveTo>
                <a:cubicBezTo>
                  <a:pt x="1666" y="74"/>
                  <a:pt x="1671" y="72"/>
                  <a:pt x="1677" y="77"/>
                </a:cubicBezTo>
                <a:cubicBezTo>
                  <a:pt x="1687" y="85"/>
                  <a:pt x="1698" y="93"/>
                  <a:pt x="1709" y="102"/>
                </a:cubicBezTo>
                <a:cubicBezTo>
                  <a:pt x="1715" y="106"/>
                  <a:pt x="1714" y="111"/>
                  <a:pt x="1707" y="111"/>
                </a:cubicBezTo>
                <a:cubicBezTo>
                  <a:pt x="1697" y="112"/>
                  <a:pt x="1688" y="113"/>
                  <a:pt x="1679" y="113"/>
                </a:cubicBezTo>
                <a:cubicBezTo>
                  <a:pt x="1672" y="114"/>
                  <a:pt x="1666" y="109"/>
                  <a:pt x="1666" y="101"/>
                </a:cubicBezTo>
                <a:cubicBezTo>
                  <a:pt x="1666" y="95"/>
                  <a:pt x="1666" y="88"/>
                  <a:pt x="1666" y="81"/>
                </a:cubicBezTo>
                <a:close/>
                <a:moveTo>
                  <a:pt x="1678" y="216"/>
                </a:moveTo>
                <a:cubicBezTo>
                  <a:pt x="1671" y="218"/>
                  <a:pt x="1666" y="213"/>
                  <a:pt x="1666" y="206"/>
                </a:cubicBezTo>
                <a:cubicBezTo>
                  <a:pt x="1666" y="188"/>
                  <a:pt x="1666" y="169"/>
                  <a:pt x="1666" y="151"/>
                </a:cubicBezTo>
                <a:cubicBezTo>
                  <a:pt x="1666" y="143"/>
                  <a:pt x="1672" y="137"/>
                  <a:pt x="1679" y="137"/>
                </a:cubicBezTo>
                <a:cubicBezTo>
                  <a:pt x="1697" y="135"/>
                  <a:pt x="1715" y="134"/>
                  <a:pt x="1734" y="132"/>
                </a:cubicBezTo>
                <a:cubicBezTo>
                  <a:pt x="1741" y="132"/>
                  <a:pt x="1751" y="135"/>
                  <a:pt x="1757" y="140"/>
                </a:cubicBezTo>
                <a:cubicBezTo>
                  <a:pt x="1772" y="151"/>
                  <a:pt x="1786" y="163"/>
                  <a:pt x="1801" y="174"/>
                </a:cubicBezTo>
                <a:cubicBezTo>
                  <a:pt x="1806" y="179"/>
                  <a:pt x="1806" y="184"/>
                  <a:pt x="1799" y="186"/>
                </a:cubicBezTo>
                <a:cubicBezTo>
                  <a:pt x="1759" y="195"/>
                  <a:pt x="1718" y="206"/>
                  <a:pt x="1678" y="216"/>
                </a:cubicBezTo>
                <a:close/>
                <a:moveTo>
                  <a:pt x="1921" y="230"/>
                </a:moveTo>
                <a:cubicBezTo>
                  <a:pt x="1921" y="238"/>
                  <a:pt x="1916" y="240"/>
                  <a:pt x="1910" y="235"/>
                </a:cubicBezTo>
                <a:cubicBezTo>
                  <a:pt x="1897" y="224"/>
                  <a:pt x="1884" y="214"/>
                  <a:pt x="1871" y="204"/>
                </a:cubicBezTo>
                <a:cubicBezTo>
                  <a:pt x="1866" y="199"/>
                  <a:pt x="1866" y="194"/>
                  <a:pt x="1873" y="192"/>
                </a:cubicBezTo>
                <a:cubicBezTo>
                  <a:pt x="1885" y="190"/>
                  <a:pt x="1897" y="187"/>
                  <a:pt x="1908" y="184"/>
                </a:cubicBezTo>
                <a:cubicBezTo>
                  <a:pt x="1915" y="183"/>
                  <a:pt x="1921" y="187"/>
                  <a:pt x="1921" y="195"/>
                </a:cubicBezTo>
                <a:cubicBezTo>
                  <a:pt x="1921" y="207"/>
                  <a:pt x="1921" y="218"/>
                  <a:pt x="1921" y="230"/>
                </a:cubicBezTo>
                <a:close/>
                <a:moveTo>
                  <a:pt x="1921" y="144"/>
                </a:moveTo>
                <a:cubicBezTo>
                  <a:pt x="1921" y="152"/>
                  <a:pt x="1915" y="159"/>
                  <a:pt x="1908" y="160"/>
                </a:cubicBezTo>
                <a:cubicBezTo>
                  <a:pt x="1889" y="165"/>
                  <a:pt x="1869" y="169"/>
                  <a:pt x="1850" y="174"/>
                </a:cubicBezTo>
                <a:cubicBezTo>
                  <a:pt x="1843" y="175"/>
                  <a:pt x="1833" y="173"/>
                  <a:pt x="1827" y="168"/>
                </a:cubicBezTo>
                <a:cubicBezTo>
                  <a:pt x="1814" y="158"/>
                  <a:pt x="1802" y="148"/>
                  <a:pt x="1789" y="138"/>
                </a:cubicBezTo>
                <a:cubicBezTo>
                  <a:pt x="1783" y="133"/>
                  <a:pt x="1784" y="129"/>
                  <a:pt x="1791" y="128"/>
                </a:cubicBezTo>
                <a:cubicBezTo>
                  <a:pt x="1830" y="126"/>
                  <a:pt x="1869" y="124"/>
                  <a:pt x="1908" y="122"/>
                </a:cubicBezTo>
                <a:cubicBezTo>
                  <a:pt x="1915" y="122"/>
                  <a:pt x="1921" y="127"/>
                  <a:pt x="1921" y="135"/>
                </a:cubicBezTo>
                <a:cubicBezTo>
                  <a:pt x="1921" y="138"/>
                  <a:pt x="1921" y="141"/>
                  <a:pt x="1921" y="144"/>
                </a:cubicBezTo>
                <a:close/>
                <a:moveTo>
                  <a:pt x="1921" y="87"/>
                </a:moveTo>
                <a:cubicBezTo>
                  <a:pt x="1921" y="93"/>
                  <a:pt x="1915" y="99"/>
                  <a:pt x="1908" y="99"/>
                </a:cubicBezTo>
                <a:cubicBezTo>
                  <a:pt x="1860" y="101"/>
                  <a:pt x="1812" y="104"/>
                  <a:pt x="1764" y="107"/>
                </a:cubicBezTo>
                <a:cubicBezTo>
                  <a:pt x="1757" y="108"/>
                  <a:pt x="1747" y="104"/>
                  <a:pt x="1741" y="99"/>
                </a:cubicBezTo>
                <a:cubicBezTo>
                  <a:pt x="1723" y="85"/>
                  <a:pt x="1704" y="71"/>
                  <a:pt x="1686" y="57"/>
                </a:cubicBezTo>
                <a:cubicBezTo>
                  <a:pt x="1680" y="52"/>
                  <a:pt x="1681" y="49"/>
                  <a:pt x="1689" y="50"/>
                </a:cubicBezTo>
                <a:cubicBezTo>
                  <a:pt x="1762" y="56"/>
                  <a:pt x="1835" y="64"/>
                  <a:pt x="1908" y="74"/>
                </a:cubicBezTo>
                <a:cubicBezTo>
                  <a:pt x="1915" y="74"/>
                  <a:pt x="1921" y="81"/>
                  <a:pt x="1921" y="87"/>
                </a:cubicBezTo>
                <a:close/>
                <a:moveTo>
                  <a:pt x="1943" y="88"/>
                </a:moveTo>
                <a:cubicBezTo>
                  <a:pt x="1943" y="83"/>
                  <a:pt x="1949" y="79"/>
                  <a:pt x="1956" y="80"/>
                </a:cubicBezTo>
                <a:cubicBezTo>
                  <a:pt x="1985" y="84"/>
                  <a:pt x="2014" y="88"/>
                  <a:pt x="2043" y="92"/>
                </a:cubicBezTo>
                <a:cubicBezTo>
                  <a:pt x="2050" y="93"/>
                  <a:pt x="2050" y="94"/>
                  <a:pt x="2043" y="95"/>
                </a:cubicBezTo>
                <a:cubicBezTo>
                  <a:pt x="2014" y="95"/>
                  <a:pt x="1985" y="96"/>
                  <a:pt x="1956" y="97"/>
                </a:cubicBezTo>
                <a:cubicBezTo>
                  <a:pt x="1949" y="97"/>
                  <a:pt x="1943" y="93"/>
                  <a:pt x="1943" y="88"/>
                </a:cubicBezTo>
                <a:close/>
                <a:moveTo>
                  <a:pt x="1943" y="134"/>
                </a:moveTo>
                <a:cubicBezTo>
                  <a:pt x="1943" y="127"/>
                  <a:pt x="1949" y="121"/>
                  <a:pt x="1956" y="120"/>
                </a:cubicBezTo>
                <a:cubicBezTo>
                  <a:pt x="2006" y="118"/>
                  <a:pt x="2056" y="117"/>
                  <a:pt x="2106" y="116"/>
                </a:cubicBezTo>
                <a:cubicBezTo>
                  <a:pt x="2113" y="116"/>
                  <a:pt x="2113" y="117"/>
                  <a:pt x="2106" y="119"/>
                </a:cubicBezTo>
                <a:cubicBezTo>
                  <a:pt x="2056" y="128"/>
                  <a:pt x="2006" y="139"/>
                  <a:pt x="1955" y="150"/>
                </a:cubicBezTo>
                <a:cubicBezTo>
                  <a:pt x="1948" y="151"/>
                  <a:pt x="1943" y="147"/>
                  <a:pt x="1943" y="140"/>
                </a:cubicBezTo>
                <a:cubicBezTo>
                  <a:pt x="1943" y="138"/>
                  <a:pt x="1943" y="136"/>
                  <a:pt x="1943" y="134"/>
                </a:cubicBezTo>
                <a:close/>
                <a:moveTo>
                  <a:pt x="1953" y="238"/>
                </a:moveTo>
                <a:cubicBezTo>
                  <a:pt x="1948" y="241"/>
                  <a:pt x="1943" y="238"/>
                  <a:pt x="1943" y="231"/>
                </a:cubicBezTo>
                <a:cubicBezTo>
                  <a:pt x="1943" y="217"/>
                  <a:pt x="1943" y="203"/>
                  <a:pt x="1943" y="189"/>
                </a:cubicBezTo>
                <a:cubicBezTo>
                  <a:pt x="1943" y="182"/>
                  <a:pt x="1948" y="175"/>
                  <a:pt x="1955" y="174"/>
                </a:cubicBezTo>
                <a:cubicBezTo>
                  <a:pt x="2008" y="162"/>
                  <a:pt x="2060" y="152"/>
                  <a:pt x="2112" y="142"/>
                </a:cubicBezTo>
                <a:cubicBezTo>
                  <a:pt x="2119" y="140"/>
                  <a:pt x="2120" y="142"/>
                  <a:pt x="2114" y="145"/>
                </a:cubicBezTo>
                <a:cubicBezTo>
                  <a:pt x="2061" y="175"/>
                  <a:pt x="2007" y="206"/>
                  <a:pt x="1953" y="238"/>
                </a:cubicBez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6452996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
        <p:nvSpPr>
          <p:cNvPr id="6" name="Freeform 5"/>
          <p:cNvSpPr>
            <a:spLocks noChangeAspect="1" noEditPoints="1"/>
          </p:cNvSpPr>
          <p:nvPr userDrawn="1"/>
        </p:nvSpPr>
        <p:spPr bwMode="auto">
          <a:xfrm>
            <a:off x="-342355" y="5928340"/>
            <a:ext cx="12876710" cy="1816774"/>
          </a:xfrm>
          <a:custGeom>
            <a:avLst/>
            <a:gdLst>
              <a:gd name="T0" fmla="*/ 1088 w 2202"/>
              <a:gd name="T1" fmla="*/ 0 h 277"/>
              <a:gd name="T2" fmla="*/ 261 w 2202"/>
              <a:gd name="T3" fmla="*/ 273 h 277"/>
              <a:gd name="T4" fmla="*/ 560 w 2202"/>
              <a:gd name="T5" fmla="*/ 241 h 277"/>
              <a:gd name="T6" fmla="*/ 886 w 2202"/>
              <a:gd name="T7" fmla="*/ 185 h 277"/>
              <a:gd name="T8" fmla="*/ 1315 w 2202"/>
              <a:gd name="T9" fmla="*/ 185 h 277"/>
              <a:gd name="T10" fmla="*/ 1642 w 2202"/>
              <a:gd name="T11" fmla="*/ 241 h 277"/>
              <a:gd name="T12" fmla="*/ 1941 w 2202"/>
              <a:gd name="T13" fmla="*/ 273 h 277"/>
              <a:gd name="T14" fmla="*/ 248 w 2202"/>
              <a:gd name="T15" fmla="*/ 238 h 277"/>
              <a:gd name="T16" fmla="*/ 258 w 2202"/>
              <a:gd name="T17" fmla="*/ 231 h 277"/>
              <a:gd name="T18" fmla="*/ 246 w 2202"/>
              <a:gd name="T19" fmla="*/ 120 h 277"/>
              <a:gd name="T20" fmla="*/ 158 w 2202"/>
              <a:gd name="T21" fmla="*/ 95 h 277"/>
              <a:gd name="T22" fmla="*/ 294 w 2202"/>
              <a:gd name="T23" fmla="*/ 74 h 277"/>
              <a:gd name="T24" fmla="*/ 294 w 2202"/>
              <a:gd name="T25" fmla="*/ 99 h 277"/>
              <a:gd name="T26" fmla="*/ 293 w 2202"/>
              <a:gd name="T27" fmla="*/ 184 h 277"/>
              <a:gd name="T28" fmla="*/ 351 w 2202"/>
              <a:gd name="T29" fmla="*/ 174 h 277"/>
              <a:gd name="T30" fmla="*/ 410 w 2202"/>
              <a:gd name="T31" fmla="*/ 129 h 277"/>
              <a:gd name="T32" fmla="*/ 402 w 2202"/>
              <a:gd name="T33" fmla="*/ 186 h 277"/>
              <a:gd name="T34" fmla="*/ 535 w 2202"/>
              <a:gd name="T35" fmla="*/ 151 h 277"/>
              <a:gd name="T36" fmla="*/ 492 w 2202"/>
              <a:gd name="T37" fmla="*/ 102 h 277"/>
              <a:gd name="T38" fmla="*/ 569 w 2202"/>
              <a:gd name="T39" fmla="*/ 71 h 277"/>
              <a:gd name="T40" fmla="*/ 558 w 2202"/>
              <a:gd name="T41" fmla="*/ 78 h 277"/>
              <a:gd name="T42" fmla="*/ 697 w 2202"/>
              <a:gd name="T43" fmla="*/ 153 h 277"/>
              <a:gd name="T44" fmla="*/ 764 w 2202"/>
              <a:gd name="T45" fmla="*/ 166 h 277"/>
              <a:gd name="T46" fmla="*/ 811 w 2202"/>
              <a:gd name="T47" fmla="*/ 101 h 277"/>
              <a:gd name="T48" fmla="*/ 700 w 2202"/>
              <a:gd name="T49" fmla="*/ 125 h 277"/>
              <a:gd name="T50" fmla="*/ 811 w 2202"/>
              <a:gd name="T51" fmla="*/ 101 h 277"/>
              <a:gd name="T52" fmla="*/ 846 w 2202"/>
              <a:gd name="T53" fmla="*/ 101 h 277"/>
              <a:gd name="T54" fmla="*/ 846 w 2202"/>
              <a:gd name="T55" fmla="*/ 171 h 277"/>
              <a:gd name="T56" fmla="*/ 879 w 2202"/>
              <a:gd name="T57" fmla="*/ 152 h 277"/>
              <a:gd name="T58" fmla="*/ 1020 w 2202"/>
              <a:gd name="T59" fmla="*/ 64 h 277"/>
              <a:gd name="T60" fmla="*/ 934 w 2202"/>
              <a:gd name="T61" fmla="*/ 151 h 277"/>
              <a:gd name="T62" fmla="*/ 1112 w 2202"/>
              <a:gd name="T63" fmla="*/ 172 h 277"/>
              <a:gd name="T64" fmla="*/ 1125 w 2202"/>
              <a:gd name="T65" fmla="*/ 183 h 277"/>
              <a:gd name="T66" fmla="*/ 1355 w 2202"/>
              <a:gd name="T67" fmla="*/ 171 h 277"/>
              <a:gd name="T68" fmla="*/ 1299 w 2202"/>
              <a:gd name="T69" fmla="*/ 146 h 277"/>
              <a:gd name="T70" fmla="*/ 1368 w 2202"/>
              <a:gd name="T71" fmla="*/ 92 h 277"/>
              <a:gd name="T72" fmla="*/ 1368 w 2202"/>
              <a:gd name="T73" fmla="*/ 41 h 277"/>
              <a:gd name="T74" fmla="*/ 1403 w 2202"/>
              <a:gd name="T75" fmla="*/ 164 h 277"/>
              <a:gd name="T76" fmla="*/ 1435 w 2202"/>
              <a:gd name="T77" fmla="*/ 131 h 277"/>
              <a:gd name="T78" fmla="*/ 1618 w 2202"/>
              <a:gd name="T79" fmla="*/ 43 h 277"/>
              <a:gd name="T80" fmla="*/ 1643 w 2202"/>
              <a:gd name="T81" fmla="*/ 204 h 277"/>
              <a:gd name="T82" fmla="*/ 1643 w 2202"/>
              <a:gd name="T83" fmla="*/ 152 h 277"/>
              <a:gd name="T84" fmla="*/ 1555 w 2202"/>
              <a:gd name="T85" fmla="*/ 119 h 277"/>
              <a:gd name="T86" fmla="*/ 1677 w 2202"/>
              <a:gd name="T87" fmla="*/ 77 h 277"/>
              <a:gd name="T88" fmla="*/ 1666 w 2202"/>
              <a:gd name="T89" fmla="*/ 81 h 277"/>
              <a:gd name="T90" fmla="*/ 1734 w 2202"/>
              <a:gd name="T91" fmla="*/ 132 h 277"/>
              <a:gd name="T92" fmla="*/ 1921 w 2202"/>
              <a:gd name="T93" fmla="*/ 230 h 277"/>
              <a:gd name="T94" fmla="*/ 1921 w 2202"/>
              <a:gd name="T95" fmla="*/ 195 h 277"/>
              <a:gd name="T96" fmla="*/ 1827 w 2202"/>
              <a:gd name="T97" fmla="*/ 168 h 277"/>
              <a:gd name="T98" fmla="*/ 1921 w 2202"/>
              <a:gd name="T99" fmla="*/ 144 h 277"/>
              <a:gd name="T100" fmla="*/ 1686 w 2202"/>
              <a:gd name="T101" fmla="*/ 57 h 277"/>
              <a:gd name="T102" fmla="*/ 1956 w 2202"/>
              <a:gd name="T103" fmla="*/ 80 h 277"/>
              <a:gd name="T104" fmla="*/ 1943 w 2202"/>
              <a:gd name="T105" fmla="*/ 134 h 277"/>
              <a:gd name="T106" fmla="*/ 1943 w 2202"/>
              <a:gd name="T107" fmla="*/ 140 h 277"/>
              <a:gd name="T108" fmla="*/ 1955 w 2202"/>
              <a:gd name="T109" fmla="*/ 17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02" h="277">
                <a:moveTo>
                  <a:pt x="2199" y="107"/>
                </a:moveTo>
                <a:cubicBezTo>
                  <a:pt x="2197" y="100"/>
                  <a:pt x="2190" y="93"/>
                  <a:pt x="2182" y="92"/>
                </a:cubicBezTo>
                <a:cubicBezTo>
                  <a:pt x="1829" y="31"/>
                  <a:pt x="1471" y="1"/>
                  <a:pt x="1114" y="0"/>
                </a:cubicBezTo>
                <a:cubicBezTo>
                  <a:pt x="1107" y="0"/>
                  <a:pt x="1101" y="0"/>
                  <a:pt x="1101" y="0"/>
                </a:cubicBezTo>
                <a:cubicBezTo>
                  <a:pt x="1101" y="0"/>
                  <a:pt x="1095" y="0"/>
                  <a:pt x="1088" y="0"/>
                </a:cubicBezTo>
                <a:cubicBezTo>
                  <a:pt x="730" y="1"/>
                  <a:pt x="373" y="31"/>
                  <a:pt x="19" y="92"/>
                </a:cubicBezTo>
                <a:cubicBezTo>
                  <a:pt x="12" y="93"/>
                  <a:pt x="5" y="100"/>
                  <a:pt x="3" y="107"/>
                </a:cubicBezTo>
                <a:cubicBezTo>
                  <a:pt x="2" y="108"/>
                  <a:pt x="2" y="109"/>
                  <a:pt x="2" y="110"/>
                </a:cubicBezTo>
                <a:cubicBezTo>
                  <a:pt x="0" y="117"/>
                  <a:pt x="3" y="126"/>
                  <a:pt x="9" y="129"/>
                </a:cubicBezTo>
                <a:cubicBezTo>
                  <a:pt x="92" y="175"/>
                  <a:pt x="176" y="224"/>
                  <a:pt x="261" y="273"/>
                </a:cubicBezTo>
                <a:cubicBezTo>
                  <a:pt x="266" y="277"/>
                  <a:pt x="276" y="276"/>
                  <a:pt x="282" y="271"/>
                </a:cubicBezTo>
                <a:cubicBezTo>
                  <a:pt x="307" y="250"/>
                  <a:pt x="332" y="230"/>
                  <a:pt x="357" y="210"/>
                </a:cubicBezTo>
                <a:cubicBezTo>
                  <a:pt x="362" y="205"/>
                  <a:pt x="373" y="203"/>
                  <a:pt x="379" y="204"/>
                </a:cubicBezTo>
                <a:cubicBezTo>
                  <a:pt x="431" y="217"/>
                  <a:pt x="483" y="229"/>
                  <a:pt x="535" y="243"/>
                </a:cubicBezTo>
                <a:cubicBezTo>
                  <a:pt x="542" y="245"/>
                  <a:pt x="553" y="244"/>
                  <a:pt x="560" y="241"/>
                </a:cubicBezTo>
                <a:cubicBezTo>
                  <a:pt x="612" y="218"/>
                  <a:pt x="664" y="196"/>
                  <a:pt x="717" y="175"/>
                </a:cubicBezTo>
                <a:cubicBezTo>
                  <a:pt x="724" y="172"/>
                  <a:pt x="734" y="173"/>
                  <a:pt x="740" y="177"/>
                </a:cubicBezTo>
                <a:cubicBezTo>
                  <a:pt x="764" y="192"/>
                  <a:pt x="788" y="208"/>
                  <a:pt x="812" y="223"/>
                </a:cubicBezTo>
                <a:cubicBezTo>
                  <a:pt x="818" y="227"/>
                  <a:pt x="827" y="227"/>
                  <a:pt x="833" y="222"/>
                </a:cubicBezTo>
                <a:cubicBezTo>
                  <a:pt x="851" y="210"/>
                  <a:pt x="868" y="197"/>
                  <a:pt x="886" y="185"/>
                </a:cubicBezTo>
                <a:cubicBezTo>
                  <a:pt x="892" y="181"/>
                  <a:pt x="903" y="178"/>
                  <a:pt x="910" y="179"/>
                </a:cubicBezTo>
                <a:cubicBezTo>
                  <a:pt x="969" y="188"/>
                  <a:pt x="1028" y="197"/>
                  <a:pt x="1088" y="208"/>
                </a:cubicBezTo>
                <a:cubicBezTo>
                  <a:pt x="1095" y="209"/>
                  <a:pt x="1107" y="209"/>
                  <a:pt x="1114" y="208"/>
                </a:cubicBezTo>
                <a:cubicBezTo>
                  <a:pt x="1173" y="197"/>
                  <a:pt x="1232" y="188"/>
                  <a:pt x="1292" y="179"/>
                </a:cubicBezTo>
                <a:cubicBezTo>
                  <a:pt x="1299" y="178"/>
                  <a:pt x="1309" y="181"/>
                  <a:pt x="1315" y="185"/>
                </a:cubicBezTo>
                <a:cubicBezTo>
                  <a:pt x="1333" y="197"/>
                  <a:pt x="1351" y="210"/>
                  <a:pt x="1368" y="222"/>
                </a:cubicBezTo>
                <a:cubicBezTo>
                  <a:pt x="1374" y="227"/>
                  <a:pt x="1384" y="227"/>
                  <a:pt x="1390" y="223"/>
                </a:cubicBezTo>
                <a:cubicBezTo>
                  <a:pt x="1414" y="208"/>
                  <a:pt x="1438" y="192"/>
                  <a:pt x="1462" y="177"/>
                </a:cubicBezTo>
                <a:cubicBezTo>
                  <a:pt x="1468" y="173"/>
                  <a:pt x="1478" y="172"/>
                  <a:pt x="1485" y="175"/>
                </a:cubicBezTo>
                <a:cubicBezTo>
                  <a:pt x="1537" y="196"/>
                  <a:pt x="1590" y="218"/>
                  <a:pt x="1642" y="241"/>
                </a:cubicBezTo>
                <a:cubicBezTo>
                  <a:pt x="1649" y="244"/>
                  <a:pt x="1660" y="245"/>
                  <a:pt x="1667" y="243"/>
                </a:cubicBezTo>
                <a:cubicBezTo>
                  <a:pt x="1719" y="229"/>
                  <a:pt x="1770" y="217"/>
                  <a:pt x="1822" y="204"/>
                </a:cubicBezTo>
                <a:cubicBezTo>
                  <a:pt x="1829" y="203"/>
                  <a:pt x="1839" y="205"/>
                  <a:pt x="1845" y="210"/>
                </a:cubicBezTo>
                <a:cubicBezTo>
                  <a:pt x="1870" y="230"/>
                  <a:pt x="1895" y="250"/>
                  <a:pt x="1920" y="271"/>
                </a:cubicBezTo>
                <a:cubicBezTo>
                  <a:pt x="1926" y="276"/>
                  <a:pt x="1935" y="277"/>
                  <a:pt x="1941" y="273"/>
                </a:cubicBezTo>
                <a:cubicBezTo>
                  <a:pt x="2025" y="224"/>
                  <a:pt x="2109" y="175"/>
                  <a:pt x="2193" y="129"/>
                </a:cubicBezTo>
                <a:cubicBezTo>
                  <a:pt x="2199" y="126"/>
                  <a:pt x="2202" y="117"/>
                  <a:pt x="2200" y="110"/>
                </a:cubicBezTo>
                <a:cubicBezTo>
                  <a:pt x="2199" y="109"/>
                  <a:pt x="2199" y="108"/>
                  <a:pt x="2199" y="107"/>
                </a:cubicBezTo>
                <a:close/>
                <a:moveTo>
                  <a:pt x="258" y="231"/>
                </a:moveTo>
                <a:cubicBezTo>
                  <a:pt x="258" y="238"/>
                  <a:pt x="254" y="241"/>
                  <a:pt x="248" y="238"/>
                </a:cubicBezTo>
                <a:cubicBezTo>
                  <a:pt x="194" y="206"/>
                  <a:pt x="141" y="175"/>
                  <a:pt x="87" y="145"/>
                </a:cubicBezTo>
                <a:cubicBezTo>
                  <a:pt x="81" y="142"/>
                  <a:pt x="82" y="140"/>
                  <a:pt x="89" y="142"/>
                </a:cubicBezTo>
                <a:cubicBezTo>
                  <a:pt x="141" y="152"/>
                  <a:pt x="194" y="162"/>
                  <a:pt x="246" y="174"/>
                </a:cubicBezTo>
                <a:cubicBezTo>
                  <a:pt x="253" y="175"/>
                  <a:pt x="258" y="182"/>
                  <a:pt x="258" y="190"/>
                </a:cubicBezTo>
                <a:cubicBezTo>
                  <a:pt x="258" y="203"/>
                  <a:pt x="258" y="217"/>
                  <a:pt x="258" y="231"/>
                </a:cubicBezTo>
                <a:close/>
                <a:moveTo>
                  <a:pt x="258" y="140"/>
                </a:moveTo>
                <a:cubicBezTo>
                  <a:pt x="258" y="147"/>
                  <a:pt x="253" y="151"/>
                  <a:pt x="246" y="150"/>
                </a:cubicBezTo>
                <a:cubicBezTo>
                  <a:pt x="196" y="139"/>
                  <a:pt x="145" y="129"/>
                  <a:pt x="95" y="119"/>
                </a:cubicBezTo>
                <a:cubicBezTo>
                  <a:pt x="88" y="117"/>
                  <a:pt x="88" y="116"/>
                  <a:pt x="95" y="117"/>
                </a:cubicBezTo>
                <a:cubicBezTo>
                  <a:pt x="145" y="117"/>
                  <a:pt x="195" y="118"/>
                  <a:pt x="246" y="120"/>
                </a:cubicBezTo>
                <a:cubicBezTo>
                  <a:pt x="253" y="121"/>
                  <a:pt x="258" y="127"/>
                  <a:pt x="258" y="134"/>
                </a:cubicBezTo>
                <a:cubicBezTo>
                  <a:pt x="258" y="136"/>
                  <a:pt x="258" y="138"/>
                  <a:pt x="258" y="140"/>
                </a:cubicBezTo>
                <a:close/>
                <a:moveTo>
                  <a:pt x="258" y="88"/>
                </a:moveTo>
                <a:cubicBezTo>
                  <a:pt x="258" y="93"/>
                  <a:pt x="253" y="97"/>
                  <a:pt x="246" y="97"/>
                </a:cubicBezTo>
                <a:cubicBezTo>
                  <a:pt x="216" y="96"/>
                  <a:pt x="187" y="95"/>
                  <a:pt x="158" y="95"/>
                </a:cubicBezTo>
                <a:cubicBezTo>
                  <a:pt x="151" y="94"/>
                  <a:pt x="151" y="93"/>
                  <a:pt x="158" y="92"/>
                </a:cubicBezTo>
                <a:cubicBezTo>
                  <a:pt x="187" y="88"/>
                  <a:pt x="216" y="84"/>
                  <a:pt x="245" y="80"/>
                </a:cubicBezTo>
                <a:cubicBezTo>
                  <a:pt x="253" y="79"/>
                  <a:pt x="258" y="83"/>
                  <a:pt x="258" y="88"/>
                </a:cubicBezTo>
                <a:close/>
                <a:moveTo>
                  <a:pt x="281" y="87"/>
                </a:moveTo>
                <a:cubicBezTo>
                  <a:pt x="281" y="81"/>
                  <a:pt x="287" y="75"/>
                  <a:pt x="294" y="74"/>
                </a:cubicBezTo>
                <a:cubicBezTo>
                  <a:pt x="367" y="64"/>
                  <a:pt x="440" y="56"/>
                  <a:pt x="513" y="50"/>
                </a:cubicBezTo>
                <a:cubicBezTo>
                  <a:pt x="520" y="49"/>
                  <a:pt x="521" y="52"/>
                  <a:pt x="515" y="57"/>
                </a:cubicBezTo>
                <a:cubicBezTo>
                  <a:pt x="497" y="71"/>
                  <a:pt x="479" y="85"/>
                  <a:pt x="460" y="100"/>
                </a:cubicBezTo>
                <a:cubicBezTo>
                  <a:pt x="454" y="104"/>
                  <a:pt x="444" y="108"/>
                  <a:pt x="437" y="107"/>
                </a:cubicBezTo>
                <a:cubicBezTo>
                  <a:pt x="389" y="104"/>
                  <a:pt x="341" y="101"/>
                  <a:pt x="294" y="99"/>
                </a:cubicBezTo>
                <a:cubicBezTo>
                  <a:pt x="287" y="99"/>
                  <a:pt x="281" y="94"/>
                  <a:pt x="281" y="87"/>
                </a:cubicBezTo>
                <a:close/>
                <a:moveTo>
                  <a:pt x="291" y="235"/>
                </a:moveTo>
                <a:cubicBezTo>
                  <a:pt x="286" y="240"/>
                  <a:pt x="281" y="238"/>
                  <a:pt x="281" y="230"/>
                </a:cubicBezTo>
                <a:cubicBezTo>
                  <a:pt x="281" y="218"/>
                  <a:pt x="281" y="207"/>
                  <a:pt x="281" y="195"/>
                </a:cubicBezTo>
                <a:cubicBezTo>
                  <a:pt x="281" y="187"/>
                  <a:pt x="286" y="183"/>
                  <a:pt x="293" y="184"/>
                </a:cubicBezTo>
                <a:cubicBezTo>
                  <a:pt x="305" y="187"/>
                  <a:pt x="316" y="190"/>
                  <a:pt x="328" y="192"/>
                </a:cubicBezTo>
                <a:cubicBezTo>
                  <a:pt x="335" y="194"/>
                  <a:pt x="335" y="199"/>
                  <a:pt x="330" y="204"/>
                </a:cubicBezTo>
                <a:cubicBezTo>
                  <a:pt x="317" y="214"/>
                  <a:pt x="304" y="224"/>
                  <a:pt x="291" y="235"/>
                </a:cubicBezTo>
                <a:close/>
                <a:moveTo>
                  <a:pt x="374" y="168"/>
                </a:moveTo>
                <a:cubicBezTo>
                  <a:pt x="368" y="173"/>
                  <a:pt x="358" y="175"/>
                  <a:pt x="351" y="174"/>
                </a:cubicBezTo>
                <a:cubicBezTo>
                  <a:pt x="332" y="169"/>
                  <a:pt x="312" y="165"/>
                  <a:pt x="293" y="160"/>
                </a:cubicBezTo>
                <a:cubicBezTo>
                  <a:pt x="286" y="159"/>
                  <a:pt x="281" y="152"/>
                  <a:pt x="281" y="144"/>
                </a:cubicBezTo>
                <a:cubicBezTo>
                  <a:pt x="281" y="141"/>
                  <a:pt x="281" y="138"/>
                  <a:pt x="281" y="135"/>
                </a:cubicBezTo>
                <a:cubicBezTo>
                  <a:pt x="281" y="127"/>
                  <a:pt x="287" y="122"/>
                  <a:pt x="294" y="122"/>
                </a:cubicBezTo>
                <a:cubicBezTo>
                  <a:pt x="332" y="124"/>
                  <a:pt x="371" y="126"/>
                  <a:pt x="410" y="129"/>
                </a:cubicBezTo>
                <a:cubicBezTo>
                  <a:pt x="417" y="129"/>
                  <a:pt x="418" y="133"/>
                  <a:pt x="412" y="138"/>
                </a:cubicBezTo>
                <a:cubicBezTo>
                  <a:pt x="399" y="148"/>
                  <a:pt x="387" y="158"/>
                  <a:pt x="374" y="168"/>
                </a:cubicBezTo>
                <a:close/>
                <a:moveTo>
                  <a:pt x="535" y="206"/>
                </a:moveTo>
                <a:cubicBezTo>
                  <a:pt x="535" y="213"/>
                  <a:pt x="530" y="218"/>
                  <a:pt x="523" y="216"/>
                </a:cubicBezTo>
                <a:cubicBezTo>
                  <a:pt x="483" y="206"/>
                  <a:pt x="442" y="195"/>
                  <a:pt x="402" y="186"/>
                </a:cubicBezTo>
                <a:cubicBezTo>
                  <a:pt x="395" y="184"/>
                  <a:pt x="395" y="179"/>
                  <a:pt x="401" y="174"/>
                </a:cubicBezTo>
                <a:cubicBezTo>
                  <a:pt x="415" y="163"/>
                  <a:pt x="430" y="151"/>
                  <a:pt x="444" y="140"/>
                </a:cubicBezTo>
                <a:cubicBezTo>
                  <a:pt x="450" y="135"/>
                  <a:pt x="461" y="132"/>
                  <a:pt x="468" y="132"/>
                </a:cubicBezTo>
                <a:cubicBezTo>
                  <a:pt x="486" y="134"/>
                  <a:pt x="504" y="135"/>
                  <a:pt x="523" y="137"/>
                </a:cubicBezTo>
                <a:cubicBezTo>
                  <a:pt x="530" y="137"/>
                  <a:pt x="535" y="143"/>
                  <a:pt x="535" y="151"/>
                </a:cubicBezTo>
                <a:cubicBezTo>
                  <a:pt x="535" y="169"/>
                  <a:pt x="535" y="188"/>
                  <a:pt x="535" y="206"/>
                </a:cubicBezTo>
                <a:close/>
                <a:moveTo>
                  <a:pt x="535" y="101"/>
                </a:moveTo>
                <a:cubicBezTo>
                  <a:pt x="535" y="109"/>
                  <a:pt x="530" y="114"/>
                  <a:pt x="523" y="113"/>
                </a:cubicBezTo>
                <a:cubicBezTo>
                  <a:pt x="513" y="113"/>
                  <a:pt x="504" y="112"/>
                  <a:pt x="494" y="111"/>
                </a:cubicBezTo>
                <a:cubicBezTo>
                  <a:pt x="487" y="111"/>
                  <a:pt x="486" y="107"/>
                  <a:pt x="492" y="102"/>
                </a:cubicBezTo>
                <a:cubicBezTo>
                  <a:pt x="503" y="94"/>
                  <a:pt x="514" y="85"/>
                  <a:pt x="525" y="77"/>
                </a:cubicBezTo>
                <a:cubicBezTo>
                  <a:pt x="531" y="72"/>
                  <a:pt x="535" y="74"/>
                  <a:pt x="535" y="81"/>
                </a:cubicBezTo>
                <a:cubicBezTo>
                  <a:pt x="535" y="88"/>
                  <a:pt x="535" y="95"/>
                  <a:pt x="535" y="101"/>
                </a:cubicBezTo>
                <a:close/>
                <a:moveTo>
                  <a:pt x="558" y="78"/>
                </a:moveTo>
                <a:cubicBezTo>
                  <a:pt x="558" y="71"/>
                  <a:pt x="563" y="68"/>
                  <a:pt x="569" y="71"/>
                </a:cubicBezTo>
                <a:cubicBezTo>
                  <a:pt x="595" y="87"/>
                  <a:pt x="621" y="103"/>
                  <a:pt x="647" y="119"/>
                </a:cubicBezTo>
                <a:cubicBezTo>
                  <a:pt x="653" y="123"/>
                  <a:pt x="652" y="125"/>
                  <a:pt x="645" y="125"/>
                </a:cubicBezTo>
                <a:cubicBezTo>
                  <a:pt x="620" y="122"/>
                  <a:pt x="595" y="120"/>
                  <a:pt x="571" y="118"/>
                </a:cubicBezTo>
                <a:cubicBezTo>
                  <a:pt x="564" y="117"/>
                  <a:pt x="558" y="111"/>
                  <a:pt x="558" y="104"/>
                </a:cubicBezTo>
                <a:cubicBezTo>
                  <a:pt x="558" y="95"/>
                  <a:pt x="558" y="86"/>
                  <a:pt x="558" y="78"/>
                </a:cubicBezTo>
                <a:close/>
                <a:moveTo>
                  <a:pt x="570" y="211"/>
                </a:moveTo>
                <a:cubicBezTo>
                  <a:pt x="564" y="214"/>
                  <a:pt x="558" y="211"/>
                  <a:pt x="558" y="204"/>
                </a:cubicBezTo>
                <a:cubicBezTo>
                  <a:pt x="558" y="187"/>
                  <a:pt x="558" y="170"/>
                  <a:pt x="558" y="152"/>
                </a:cubicBezTo>
                <a:cubicBezTo>
                  <a:pt x="558" y="145"/>
                  <a:pt x="564" y="140"/>
                  <a:pt x="571" y="141"/>
                </a:cubicBezTo>
                <a:cubicBezTo>
                  <a:pt x="613" y="144"/>
                  <a:pt x="655" y="148"/>
                  <a:pt x="697" y="153"/>
                </a:cubicBezTo>
                <a:cubicBezTo>
                  <a:pt x="704" y="153"/>
                  <a:pt x="704" y="156"/>
                  <a:pt x="697" y="159"/>
                </a:cubicBezTo>
                <a:cubicBezTo>
                  <a:pt x="655" y="176"/>
                  <a:pt x="613" y="194"/>
                  <a:pt x="570" y="211"/>
                </a:cubicBezTo>
                <a:close/>
                <a:moveTo>
                  <a:pt x="811" y="182"/>
                </a:moveTo>
                <a:cubicBezTo>
                  <a:pt x="811" y="190"/>
                  <a:pt x="806" y="192"/>
                  <a:pt x="800" y="189"/>
                </a:cubicBezTo>
                <a:cubicBezTo>
                  <a:pt x="788" y="181"/>
                  <a:pt x="776" y="173"/>
                  <a:pt x="764" y="166"/>
                </a:cubicBezTo>
                <a:cubicBezTo>
                  <a:pt x="758" y="162"/>
                  <a:pt x="759" y="160"/>
                  <a:pt x="766" y="161"/>
                </a:cubicBezTo>
                <a:cubicBezTo>
                  <a:pt x="777" y="162"/>
                  <a:pt x="787" y="163"/>
                  <a:pt x="798" y="164"/>
                </a:cubicBezTo>
                <a:cubicBezTo>
                  <a:pt x="805" y="165"/>
                  <a:pt x="811" y="172"/>
                  <a:pt x="811" y="179"/>
                </a:cubicBezTo>
                <a:cubicBezTo>
                  <a:pt x="811" y="180"/>
                  <a:pt x="811" y="181"/>
                  <a:pt x="811" y="182"/>
                </a:cubicBezTo>
                <a:close/>
                <a:moveTo>
                  <a:pt x="811" y="101"/>
                </a:moveTo>
                <a:cubicBezTo>
                  <a:pt x="811" y="108"/>
                  <a:pt x="805" y="116"/>
                  <a:pt x="799" y="119"/>
                </a:cubicBezTo>
                <a:cubicBezTo>
                  <a:pt x="788" y="123"/>
                  <a:pt x="777" y="127"/>
                  <a:pt x="766" y="131"/>
                </a:cubicBezTo>
                <a:cubicBezTo>
                  <a:pt x="760" y="134"/>
                  <a:pt x="748" y="136"/>
                  <a:pt x="741" y="135"/>
                </a:cubicBezTo>
                <a:cubicBezTo>
                  <a:pt x="735" y="134"/>
                  <a:pt x="729" y="133"/>
                  <a:pt x="723" y="133"/>
                </a:cubicBezTo>
                <a:cubicBezTo>
                  <a:pt x="716" y="132"/>
                  <a:pt x="705" y="128"/>
                  <a:pt x="700" y="125"/>
                </a:cubicBezTo>
                <a:cubicBezTo>
                  <a:pt x="660" y="100"/>
                  <a:pt x="621" y="75"/>
                  <a:pt x="581" y="51"/>
                </a:cubicBezTo>
                <a:cubicBezTo>
                  <a:pt x="575" y="47"/>
                  <a:pt x="576" y="44"/>
                  <a:pt x="583" y="43"/>
                </a:cubicBezTo>
                <a:cubicBezTo>
                  <a:pt x="655" y="38"/>
                  <a:pt x="726" y="33"/>
                  <a:pt x="798" y="30"/>
                </a:cubicBezTo>
                <a:cubicBezTo>
                  <a:pt x="805" y="29"/>
                  <a:pt x="811" y="35"/>
                  <a:pt x="811" y="42"/>
                </a:cubicBezTo>
                <a:cubicBezTo>
                  <a:pt x="811" y="62"/>
                  <a:pt x="811" y="81"/>
                  <a:pt x="811" y="101"/>
                </a:cubicBezTo>
                <a:close/>
                <a:moveTo>
                  <a:pt x="834" y="41"/>
                </a:moveTo>
                <a:cubicBezTo>
                  <a:pt x="834" y="34"/>
                  <a:pt x="839" y="28"/>
                  <a:pt x="847" y="28"/>
                </a:cubicBezTo>
                <a:cubicBezTo>
                  <a:pt x="914" y="25"/>
                  <a:pt x="981" y="23"/>
                  <a:pt x="1048" y="23"/>
                </a:cubicBezTo>
                <a:cubicBezTo>
                  <a:pt x="1055" y="23"/>
                  <a:pt x="1055" y="25"/>
                  <a:pt x="1049" y="27"/>
                </a:cubicBezTo>
                <a:cubicBezTo>
                  <a:pt x="981" y="50"/>
                  <a:pt x="913" y="75"/>
                  <a:pt x="846" y="101"/>
                </a:cubicBezTo>
                <a:cubicBezTo>
                  <a:pt x="839" y="103"/>
                  <a:pt x="834" y="100"/>
                  <a:pt x="834" y="92"/>
                </a:cubicBezTo>
                <a:cubicBezTo>
                  <a:pt x="834" y="75"/>
                  <a:pt x="834" y="58"/>
                  <a:pt x="834" y="41"/>
                </a:cubicBezTo>
                <a:close/>
                <a:moveTo>
                  <a:pt x="844" y="187"/>
                </a:moveTo>
                <a:cubicBezTo>
                  <a:pt x="838" y="191"/>
                  <a:pt x="833" y="189"/>
                  <a:pt x="833" y="182"/>
                </a:cubicBezTo>
                <a:cubicBezTo>
                  <a:pt x="833" y="175"/>
                  <a:pt x="839" y="170"/>
                  <a:pt x="846" y="171"/>
                </a:cubicBezTo>
                <a:cubicBezTo>
                  <a:pt x="848" y="171"/>
                  <a:pt x="849" y="171"/>
                  <a:pt x="851" y="171"/>
                </a:cubicBezTo>
                <a:cubicBezTo>
                  <a:pt x="858" y="172"/>
                  <a:pt x="859" y="176"/>
                  <a:pt x="853" y="181"/>
                </a:cubicBezTo>
                <a:cubicBezTo>
                  <a:pt x="850" y="183"/>
                  <a:pt x="847" y="185"/>
                  <a:pt x="844" y="187"/>
                </a:cubicBezTo>
                <a:close/>
                <a:moveTo>
                  <a:pt x="902" y="146"/>
                </a:moveTo>
                <a:cubicBezTo>
                  <a:pt x="896" y="150"/>
                  <a:pt x="886" y="153"/>
                  <a:pt x="879" y="152"/>
                </a:cubicBezTo>
                <a:cubicBezTo>
                  <a:pt x="868" y="151"/>
                  <a:pt x="857" y="149"/>
                  <a:pt x="846" y="148"/>
                </a:cubicBezTo>
                <a:cubicBezTo>
                  <a:pt x="839" y="147"/>
                  <a:pt x="834" y="142"/>
                  <a:pt x="834" y="138"/>
                </a:cubicBezTo>
                <a:cubicBezTo>
                  <a:pt x="834" y="133"/>
                  <a:pt x="839" y="127"/>
                  <a:pt x="846" y="125"/>
                </a:cubicBezTo>
                <a:cubicBezTo>
                  <a:pt x="903" y="103"/>
                  <a:pt x="961" y="82"/>
                  <a:pt x="1019" y="61"/>
                </a:cubicBezTo>
                <a:cubicBezTo>
                  <a:pt x="1025" y="59"/>
                  <a:pt x="1026" y="60"/>
                  <a:pt x="1020" y="64"/>
                </a:cubicBezTo>
                <a:cubicBezTo>
                  <a:pt x="981" y="91"/>
                  <a:pt x="942" y="119"/>
                  <a:pt x="902" y="146"/>
                </a:cubicBezTo>
                <a:close/>
                <a:moveTo>
                  <a:pt x="1089" y="172"/>
                </a:moveTo>
                <a:cubicBezTo>
                  <a:pt x="1089" y="179"/>
                  <a:pt x="1083" y="184"/>
                  <a:pt x="1076" y="183"/>
                </a:cubicBezTo>
                <a:cubicBezTo>
                  <a:pt x="1030" y="175"/>
                  <a:pt x="983" y="167"/>
                  <a:pt x="937" y="160"/>
                </a:cubicBezTo>
                <a:cubicBezTo>
                  <a:pt x="929" y="159"/>
                  <a:pt x="929" y="155"/>
                  <a:pt x="934" y="151"/>
                </a:cubicBezTo>
                <a:cubicBezTo>
                  <a:pt x="982" y="117"/>
                  <a:pt x="1030" y="84"/>
                  <a:pt x="1078" y="51"/>
                </a:cubicBezTo>
                <a:cubicBezTo>
                  <a:pt x="1084" y="47"/>
                  <a:pt x="1089" y="49"/>
                  <a:pt x="1089" y="57"/>
                </a:cubicBezTo>
                <a:cubicBezTo>
                  <a:pt x="1089" y="95"/>
                  <a:pt x="1089" y="133"/>
                  <a:pt x="1089" y="172"/>
                </a:cubicBezTo>
                <a:close/>
                <a:moveTo>
                  <a:pt x="1125" y="183"/>
                </a:moveTo>
                <a:cubicBezTo>
                  <a:pt x="1118" y="184"/>
                  <a:pt x="1112" y="179"/>
                  <a:pt x="1112" y="172"/>
                </a:cubicBezTo>
                <a:cubicBezTo>
                  <a:pt x="1112" y="133"/>
                  <a:pt x="1112" y="95"/>
                  <a:pt x="1112" y="57"/>
                </a:cubicBezTo>
                <a:cubicBezTo>
                  <a:pt x="1112" y="49"/>
                  <a:pt x="1117" y="47"/>
                  <a:pt x="1123" y="51"/>
                </a:cubicBezTo>
                <a:cubicBezTo>
                  <a:pt x="1171" y="84"/>
                  <a:pt x="1219" y="117"/>
                  <a:pt x="1267" y="151"/>
                </a:cubicBezTo>
                <a:cubicBezTo>
                  <a:pt x="1273" y="155"/>
                  <a:pt x="1272" y="159"/>
                  <a:pt x="1265" y="160"/>
                </a:cubicBezTo>
                <a:cubicBezTo>
                  <a:pt x="1218" y="167"/>
                  <a:pt x="1171" y="175"/>
                  <a:pt x="1125" y="183"/>
                </a:cubicBezTo>
                <a:close/>
                <a:moveTo>
                  <a:pt x="1368" y="182"/>
                </a:moveTo>
                <a:cubicBezTo>
                  <a:pt x="1368" y="189"/>
                  <a:pt x="1363" y="191"/>
                  <a:pt x="1357" y="187"/>
                </a:cubicBezTo>
                <a:cubicBezTo>
                  <a:pt x="1354" y="185"/>
                  <a:pt x="1351" y="183"/>
                  <a:pt x="1348" y="181"/>
                </a:cubicBezTo>
                <a:cubicBezTo>
                  <a:pt x="1342" y="176"/>
                  <a:pt x="1343" y="172"/>
                  <a:pt x="1350" y="171"/>
                </a:cubicBezTo>
                <a:cubicBezTo>
                  <a:pt x="1352" y="171"/>
                  <a:pt x="1353" y="171"/>
                  <a:pt x="1355" y="171"/>
                </a:cubicBezTo>
                <a:cubicBezTo>
                  <a:pt x="1362" y="170"/>
                  <a:pt x="1368" y="175"/>
                  <a:pt x="1368" y="182"/>
                </a:cubicBezTo>
                <a:close/>
                <a:moveTo>
                  <a:pt x="1368" y="138"/>
                </a:moveTo>
                <a:cubicBezTo>
                  <a:pt x="1368" y="142"/>
                  <a:pt x="1362" y="147"/>
                  <a:pt x="1355" y="148"/>
                </a:cubicBezTo>
                <a:cubicBezTo>
                  <a:pt x="1344" y="149"/>
                  <a:pt x="1333" y="151"/>
                  <a:pt x="1323" y="152"/>
                </a:cubicBezTo>
                <a:cubicBezTo>
                  <a:pt x="1316" y="153"/>
                  <a:pt x="1305" y="150"/>
                  <a:pt x="1299" y="146"/>
                </a:cubicBezTo>
                <a:cubicBezTo>
                  <a:pt x="1260" y="119"/>
                  <a:pt x="1220" y="91"/>
                  <a:pt x="1181" y="64"/>
                </a:cubicBezTo>
                <a:cubicBezTo>
                  <a:pt x="1175" y="60"/>
                  <a:pt x="1176" y="59"/>
                  <a:pt x="1183" y="61"/>
                </a:cubicBezTo>
                <a:cubicBezTo>
                  <a:pt x="1240" y="82"/>
                  <a:pt x="1298" y="103"/>
                  <a:pt x="1355" y="125"/>
                </a:cubicBezTo>
                <a:cubicBezTo>
                  <a:pt x="1362" y="127"/>
                  <a:pt x="1368" y="133"/>
                  <a:pt x="1368" y="138"/>
                </a:cubicBezTo>
                <a:close/>
                <a:moveTo>
                  <a:pt x="1368" y="92"/>
                </a:moveTo>
                <a:cubicBezTo>
                  <a:pt x="1368" y="100"/>
                  <a:pt x="1362" y="103"/>
                  <a:pt x="1355" y="101"/>
                </a:cubicBezTo>
                <a:cubicBezTo>
                  <a:pt x="1288" y="75"/>
                  <a:pt x="1220" y="50"/>
                  <a:pt x="1153" y="27"/>
                </a:cubicBezTo>
                <a:cubicBezTo>
                  <a:pt x="1146" y="25"/>
                  <a:pt x="1146" y="23"/>
                  <a:pt x="1154" y="23"/>
                </a:cubicBezTo>
                <a:cubicBezTo>
                  <a:pt x="1221" y="23"/>
                  <a:pt x="1288" y="25"/>
                  <a:pt x="1355" y="28"/>
                </a:cubicBezTo>
                <a:cubicBezTo>
                  <a:pt x="1362" y="28"/>
                  <a:pt x="1368" y="34"/>
                  <a:pt x="1368" y="41"/>
                </a:cubicBezTo>
                <a:cubicBezTo>
                  <a:pt x="1368" y="58"/>
                  <a:pt x="1368" y="75"/>
                  <a:pt x="1368" y="92"/>
                </a:cubicBezTo>
                <a:close/>
                <a:moveTo>
                  <a:pt x="1401" y="189"/>
                </a:moveTo>
                <a:cubicBezTo>
                  <a:pt x="1395" y="192"/>
                  <a:pt x="1390" y="190"/>
                  <a:pt x="1390" y="182"/>
                </a:cubicBezTo>
                <a:cubicBezTo>
                  <a:pt x="1390" y="181"/>
                  <a:pt x="1390" y="180"/>
                  <a:pt x="1390" y="179"/>
                </a:cubicBezTo>
                <a:cubicBezTo>
                  <a:pt x="1390" y="172"/>
                  <a:pt x="1396" y="165"/>
                  <a:pt x="1403" y="164"/>
                </a:cubicBezTo>
                <a:cubicBezTo>
                  <a:pt x="1414" y="163"/>
                  <a:pt x="1424" y="162"/>
                  <a:pt x="1435" y="161"/>
                </a:cubicBezTo>
                <a:cubicBezTo>
                  <a:pt x="1442" y="160"/>
                  <a:pt x="1443" y="162"/>
                  <a:pt x="1437" y="166"/>
                </a:cubicBezTo>
                <a:cubicBezTo>
                  <a:pt x="1425" y="173"/>
                  <a:pt x="1413" y="181"/>
                  <a:pt x="1401" y="189"/>
                </a:cubicBezTo>
                <a:close/>
                <a:moveTo>
                  <a:pt x="1460" y="135"/>
                </a:moveTo>
                <a:cubicBezTo>
                  <a:pt x="1453" y="136"/>
                  <a:pt x="1441" y="134"/>
                  <a:pt x="1435" y="131"/>
                </a:cubicBezTo>
                <a:cubicBezTo>
                  <a:pt x="1424" y="127"/>
                  <a:pt x="1413" y="123"/>
                  <a:pt x="1403" y="119"/>
                </a:cubicBezTo>
                <a:cubicBezTo>
                  <a:pt x="1396" y="116"/>
                  <a:pt x="1390" y="108"/>
                  <a:pt x="1390" y="101"/>
                </a:cubicBezTo>
                <a:cubicBezTo>
                  <a:pt x="1390" y="81"/>
                  <a:pt x="1390" y="62"/>
                  <a:pt x="1390" y="42"/>
                </a:cubicBezTo>
                <a:cubicBezTo>
                  <a:pt x="1390" y="35"/>
                  <a:pt x="1396" y="29"/>
                  <a:pt x="1403" y="30"/>
                </a:cubicBezTo>
                <a:cubicBezTo>
                  <a:pt x="1475" y="33"/>
                  <a:pt x="1546" y="38"/>
                  <a:pt x="1618" y="43"/>
                </a:cubicBezTo>
                <a:cubicBezTo>
                  <a:pt x="1625" y="44"/>
                  <a:pt x="1626" y="47"/>
                  <a:pt x="1620" y="51"/>
                </a:cubicBezTo>
                <a:cubicBezTo>
                  <a:pt x="1581" y="75"/>
                  <a:pt x="1541" y="100"/>
                  <a:pt x="1502" y="125"/>
                </a:cubicBezTo>
                <a:cubicBezTo>
                  <a:pt x="1496" y="128"/>
                  <a:pt x="1485" y="132"/>
                  <a:pt x="1478" y="133"/>
                </a:cubicBezTo>
                <a:cubicBezTo>
                  <a:pt x="1472" y="133"/>
                  <a:pt x="1466" y="134"/>
                  <a:pt x="1460" y="135"/>
                </a:cubicBezTo>
                <a:close/>
                <a:moveTo>
                  <a:pt x="1643" y="204"/>
                </a:moveTo>
                <a:cubicBezTo>
                  <a:pt x="1643" y="211"/>
                  <a:pt x="1638" y="214"/>
                  <a:pt x="1631" y="211"/>
                </a:cubicBezTo>
                <a:cubicBezTo>
                  <a:pt x="1589" y="194"/>
                  <a:pt x="1546" y="176"/>
                  <a:pt x="1504" y="159"/>
                </a:cubicBezTo>
                <a:cubicBezTo>
                  <a:pt x="1497" y="156"/>
                  <a:pt x="1498" y="153"/>
                  <a:pt x="1505" y="153"/>
                </a:cubicBezTo>
                <a:cubicBezTo>
                  <a:pt x="1547" y="148"/>
                  <a:pt x="1589" y="144"/>
                  <a:pt x="1630" y="141"/>
                </a:cubicBezTo>
                <a:cubicBezTo>
                  <a:pt x="1638" y="140"/>
                  <a:pt x="1643" y="145"/>
                  <a:pt x="1643" y="152"/>
                </a:cubicBezTo>
                <a:cubicBezTo>
                  <a:pt x="1643" y="170"/>
                  <a:pt x="1643" y="187"/>
                  <a:pt x="1643" y="204"/>
                </a:cubicBezTo>
                <a:close/>
                <a:moveTo>
                  <a:pt x="1643" y="104"/>
                </a:moveTo>
                <a:cubicBezTo>
                  <a:pt x="1643" y="111"/>
                  <a:pt x="1638" y="117"/>
                  <a:pt x="1630" y="118"/>
                </a:cubicBezTo>
                <a:cubicBezTo>
                  <a:pt x="1606" y="120"/>
                  <a:pt x="1581" y="122"/>
                  <a:pt x="1557" y="125"/>
                </a:cubicBezTo>
                <a:cubicBezTo>
                  <a:pt x="1550" y="125"/>
                  <a:pt x="1549" y="123"/>
                  <a:pt x="1555" y="119"/>
                </a:cubicBezTo>
                <a:cubicBezTo>
                  <a:pt x="1581" y="103"/>
                  <a:pt x="1607" y="87"/>
                  <a:pt x="1633" y="71"/>
                </a:cubicBezTo>
                <a:cubicBezTo>
                  <a:pt x="1638" y="68"/>
                  <a:pt x="1643" y="71"/>
                  <a:pt x="1643" y="78"/>
                </a:cubicBezTo>
                <a:cubicBezTo>
                  <a:pt x="1643" y="86"/>
                  <a:pt x="1643" y="95"/>
                  <a:pt x="1643" y="104"/>
                </a:cubicBezTo>
                <a:close/>
                <a:moveTo>
                  <a:pt x="1666" y="81"/>
                </a:moveTo>
                <a:cubicBezTo>
                  <a:pt x="1666" y="74"/>
                  <a:pt x="1671" y="72"/>
                  <a:pt x="1677" y="77"/>
                </a:cubicBezTo>
                <a:cubicBezTo>
                  <a:pt x="1687" y="85"/>
                  <a:pt x="1698" y="93"/>
                  <a:pt x="1709" y="102"/>
                </a:cubicBezTo>
                <a:cubicBezTo>
                  <a:pt x="1715" y="106"/>
                  <a:pt x="1714" y="111"/>
                  <a:pt x="1707" y="111"/>
                </a:cubicBezTo>
                <a:cubicBezTo>
                  <a:pt x="1697" y="112"/>
                  <a:pt x="1688" y="113"/>
                  <a:pt x="1679" y="113"/>
                </a:cubicBezTo>
                <a:cubicBezTo>
                  <a:pt x="1672" y="114"/>
                  <a:pt x="1666" y="109"/>
                  <a:pt x="1666" y="101"/>
                </a:cubicBezTo>
                <a:cubicBezTo>
                  <a:pt x="1666" y="95"/>
                  <a:pt x="1666" y="88"/>
                  <a:pt x="1666" y="81"/>
                </a:cubicBezTo>
                <a:close/>
                <a:moveTo>
                  <a:pt x="1678" y="216"/>
                </a:moveTo>
                <a:cubicBezTo>
                  <a:pt x="1671" y="218"/>
                  <a:pt x="1666" y="213"/>
                  <a:pt x="1666" y="206"/>
                </a:cubicBezTo>
                <a:cubicBezTo>
                  <a:pt x="1666" y="188"/>
                  <a:pt x="1666" y="169"/>
                  <a:pt x="1666" y="151"/>
                </a:cubicBezTo>
                <a:cubicBezTo>
                  <a:pt x="1666" y="143"/>
                  <a:pt x="1672" y="137"/>
                  <a:pt x="1679" y="137"/>
                </a:cubicBezTo>
                <a:cubicBezTo>
                  <a:pt x="1697" y="135"/>
                  <a:pt x="1715" y="134"/>
                  <a:pt x="1734" y="132"/>
                </a:cubicBezTo>
                <a:cubicBezTo>
                  <a:pt x="1741" y="132"/>
                  <a:pt x="1751" y="135"/>
                  <a:pt x="1757" y="140"/>
                </a:cubicBezTo>
                <a:cubicBezTo>
                  <a:pt x="1772" y="151"/>
                  <a:pt x="1786" y="163"/>
                  <a:pt x="1801" y="174"/>
                </a:cubicBezTo>
                <a:cubicBezTo>
                  <a:pt x="1806" y="179"/>
                  <a:pt x="1806" y="184"/>
                  <a:pt x="1799" y="186"/>
                </a:cubicBezTo>
                <a:cubicBezTo>
                  <a:pt x="1759" y="195"/>
                  <a:pt x="1718" y="206"/>
                  <a:pt x="1678" y="216"/>
                </a:cubicBezTo>
                <a:close/>
                <a:moveTo>
                  <a:pt x="1921" y="230"/>
                </a:moveTo>
                <a:cubicBezTo>
                  <a:pt x="1921" y="238"/>
                  <a:pt x="1916" y="240"/>
                  <a:pt x="1910" y="235"/>
                </a:cubicBezTo>
                <a:cubicBezTo>
                  <a:pt x="1897" y="224"/>
                  <a:pt x="1884" y="214"/>
                  <a:pt x="1871" y="204"/>
                </a:cubicBezTo>
                <a:cubicBezTo>
                  <a:pt x="1866" y="199"/>
                  <a:pt x="1866" y="194"/>
                  <a:pt x="1873" y="192"/>
                </a:cubicBezTo>
                <a:cubicBezTo>
                  <a:pt x="1885" y="190"/>
                  <a:pt x="1897" y="187"/>
                  <a:pt x="1908" y="184"/>
                </a:cubicBezTo>
                <a:cubicBezTo>
                  <a:pt x="1915" y="183"/>
                  <a:pt x="1921" y="187"/>
                  <a:pt x="1921" y="195"/>
                </a:cubicBezTo>
                <a:cubicBezTo>
                  <a:pt x="1921" y="207"/>
                  <a:pt x="1921" y="218"/>
                  <a:pt x="1921" y="230"/>
                </a:cubicBezTo>
                <a:close/>
                <a:moveTo>
                  <a:pt x="1921" y="144"/>
                </a:moveTo>
                <a:cubicBezTo>
                  <a:pt x="1921" y="152"/>
                  <a:pt x="1915" y="159"/>
                  <a:pt x="1908" y="160"/>
                </a:cubicBezTo>
                <a:cubicBezTo>
                  <a:pt x="1889" y="165"/>
                  <a:pt x="1869" y="169"/>
                  <a:pt x="1850" y="174"/>
                </a:cubicBezTo>
                <a:cubicBezTo>
                  <a:pt x="1843" y="175"/>
                  <a:pt x="1833" y="173"/>
                  <a:pt x="1827" y="168"/>
                </a:cubicBezTo>
                <a:cubicBezTo>
                  <a:pt x="1814" y="158"/>
                  <a:pt x="1802" y="148"/>
                  <a:pt x="1789" y="138"/>
                </a:cubicBezTo>
                <a:cubicBezTo>
                  <a:pt x="1783" y="133"/>
                  <a:pt x="1784" y="129"/>
                  <a:pt x="1791" y="128"/>
                </a:cubicBezTo>
                <a:cubicBezTo>
                  <a:pt x="1830" y="126"/>
                  <a:pt x="1869" y="124"/>
                  <a:pt x="1908" y="122"/>
                </a:cubicBezTo>
                <a:cubicBezTo>
                  <a:pt x="1915" y="122"/>
                  <a:pt x="1921" y="127"/>
                  <a:pt x="1921" y="135"/>
                </a:cubicBezTo>
                <a:cubicBezTo>
                  <a:pt x="1921" y="138"/>
                  <a:pt x="1921" y="141"/>
                  <a:pt x="1921" y="144"/>
                </a:cubicBezTo>
                <a:close/>
                <a:moveTo>
                  <a:pt x="1921" y="87"/>
                </a:moveTo>
                <a:cubicBezTo>
                  <a:pt x="1921" y="93"/>
                  <a:pt x="1915" y="99"/>
                  <a:pt x="1908" y="99"/>
                </a:cubicBezTo>
                <a:cubicBezTo>
                  <a:pt x="1860" y="101"/>
                  <a:pt x="1812" y="104"/>
                  <a:pt x="1764" y="107"/>
                </a:cubicBezTo>
                <a:cubicBezTo>
                  <a:pt x="1757" y="108"/>
                  <a:pt x="1747" y="104"/>
                  <a:pt x="1741" y="99"/>
                </a:cubicBezTo>
                <a:cubicBezTo>
                  <a:pt x="1723" y="85"/>
                  <a:pt x="1704" y="71"/>
                  <a:pt x="1686" y="57"/>
                </a:cubicBezTo>
                <a:cubicBezTo>
                  <a:pt x="1680" y="52"/>
                  <a:pt x="1681" y="49"/>
                  <a:pt x="1689" y="50"/>
                </a:cubicBezTo>
                <a:cubicBezTo>
                  <a:pt x="1762" y="56"/>
                  <a:pt x="1835" y="64"/>
                  <a:pt x="1908" y="74"/>
                </a:cubicBezTo>
                <a:cubicBezTo>
                  <a:pt x="1915" y="74"/>
                  <a:pt x="1921" y="81"/>
                  <a:pt x="1921" y="87"/>
                </a:cubicBezTo>
                <a:close/>
                <a:moveTo>
                  <a:pt x="1943" y="88"/>
                </a:moveTo>
                <a:cubicBezTo>
                  <a:pt x="1943" y="83"/>
                  <a:pt x="1949" y="79"/>
                  <a:pt x="1956" y="80"/>
                </a:cubicBezTo>
                <a:cubicBezTo>
                  <a:pt x="1985" y="84"/>
                  <a:pt x="2014" y="88"/>
                  <a:pt x="2043" y="92"/>
                </a:cubicBezTo>
                <a:cubicBezTo>
                  <a:pt x="2050" y="93"/>
                  <a:pt x="2050" y="94"/>
                  <a:pt x="2043" y="95"/>
                </a:cubicBezTo>
                <a:cubicBezTo>
                  <a:pt x="2014" y="95"/>
                  <a:pt x="1985" y="96"/>
                  <a:pt x="1956" y="97"/>
                </a:cubicBezTo>
                <a:cubicBezTo>
                  <a:pt x="1949" y="97"/>
                  <a:pt x="1943" y="93"/>
                  <a:pt x="1943" y="88"/>
                </a:cubicBezTo>
                <a:close/>
                <a:moveTo>
                  <a:pt x="1943" y="134"/>
                </a:moveTo>
                <a:cubicBezTo>
                  <a:pt x="1943" y="127"/>
                  <a:pt x="1949" y="121"/>
                  <a:pt x="1956" y="120"/>
                </a:cubicBezTo>
                <a:cubicBezTo>
                  <a:pt x="2006" y="118"/>
                  <a:pt x="2056" y="117"/>
                  <a:pt x="2106" y="116"/>
                </a:cubicBezTo>
                <a:cubicBezTo>
                  <a:pt x="2113" y="116"/>
                  <a:pt x="2113" y="117"/>
                  <a:pt x="2106" y="119"/>
                </a:cubicBezTo>
                <a:cubicBezTo>
                  <a:pt x="2056" y="128"/>
                  <a:pt x="2006" y="139"/>
                  <a:pt x="1955" y="150"/>
                </a:cubicBezTo>
                <a:cubicBezTo>
                  <a:pt x="1948" y="151"/>
                  <a:pt x="1943" y="147"/>
                  <a:pt x="1943" y="140"/>
                </a:cubicBezTo>
                <a:cubicBezTo>
                  <a:pt x="1943" y="138"/>
                  <a:pt x="1943" y="136"/>
                  <a:pt x="1943" y="134"/>
                </a:cubicBezTo>
                <a:close/>
                <a:moveTo>
                  <a:pt x="1953" y="238"/>
                </a:moveTo>
                <a:cubicBezTo>
                  <a:pt x="1948" y="241"/>
                  <a:pt x="1943" y="238"/>
                  <a:pt x="1943" y="231"/>
                </a:cubicBezTo>
                <a:cubicBezTo>
                  <a:pt x="1943" y="217"/>
                  <a:pt x="1943" y="203"/>
                  <a:pt x="1943" y="189"/>
                </a:cubicBezTo>
                <a:cubicBezTo>
                  <a:pt x="1943" y="182"/>
                  <a:pt x="1948" y="175"/>
                  <a:pt x="1955" y="174"/>
                </a:cubicBezTo>
                <a:cubicBezTo>
                  <a:pt x="2008" y="162"/>
                  <a:pt x="2060" y="152"/>
                  <a:pt x="2112" y="142"/>
                </a:cubicBezTo>
                <a:cubicBezTo>
                  <a:pt x="2119" y="140"/>
                  <a:pt x="2120" y="142"/>
                  <a:pt x="2114" y="145"/>
                </a:cubicBezTo>
                <a:cubicBezTo>
                  <a:pt x="2061" y="175"/>
                  <a:pt x="2007" y="206"/>
                  <a:pt x="1953" y="238"/>
                </a:cubicBezTo>
                <a:close/>
              </a:path>
            </a:pathLst>
          </a:custGeom>
          <a:solidFill>
            <a:schemeClr val="tx1">
              <a:alpha val="16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30390751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6"/>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a:t>Video title</a:t>
            </a:r>
          </a:p>
        </p:txBody>
      </p:sp>
      <p:sp>
        <p:nvSpPr>
          <p:cNvPr id="5" name="Freeform 4"/>
          <p:cNvSpPr>
            <a:spLocks noChangeAspect="1" noEditPoints="1"/>
          </p:cNvSpPr>
          <p:nvPr userDrawn="1"/>
        </p:nvSpPr>
        <p:spPr bwMode="auto">
          <a:xfrm>
            <a:off x="-342355" y="5031788"/>
            <a:ext cx="12876710" cy="1816774"/>
          </a:xfrm>
          <a:custGeom>
            <a:avLst/>
            <a:gdLst>
              <a:gd name="T0" fmla="*/ 1088 w 2202"/>
              <a:gd name="T1" fmla="*/ 0 h 277"/>
              <a:gd name="T2" fmla="*/ 261 w 2202"/>
              <a:gd name="T3" fmla="*/ 273 h 277"/>
              <a:gd name="T4" fmla="*/ 560 w 2202"/>
              <a:gd name="T5" fmla="*/ 241 h 277"/>
              <a:gd name="T6" fmla="*/ 886 w 2202"/>
              <a:gd name="T7" fmla="*/ 185 h 277"/>
              <a:gd name="T8" fmla="*/ 1315 w 2202"/>
              <a:gd name="T9" fmla="*/ 185 h 277"/>
              <a:gd name="T10" fmla="*/ 1642 w 2202"/>
              <a:gd name="T11" fmla="*/ 241 h 277"/>
              <a:gd name="T12" fmla="*/ 1941 w 2202"/>
              <a:gd name="T13" fmla="*/ 273 h 277"/>
              <a:gd name="T14" fmla="*/ 248 w 2202"/>
              <a:gd name="T15" fmla="*/ 238 h 277"/>
              <a:gd name="T16" fmla="*/ 258 w 2202"/>
              <a:gd name="T17" fmla="*/ 231 h 277"/>
              <a:gd name="T18" fmla="*/ 246 w 2202"/>
              <a:gd name="T19" fmla="*/ 120 h 277"/>
              <a:gd name="T20" fmla="*/ 158 w 2202"/>
              <a:gd name="T21" fmla="*/ 95 h 277"/>
              <a:gd name="T22" fmla="*/ 294 w 2202"/>
              <a:gd name="T23" fmla="*/ 74 h 277"/>
              <a:gd name="T24" fmla="*/ 294 w 2202"/>
              <a:gd name="T25" fmla="*/ 99 h 277"/>
              <a:gd name="T26" fmla="*/ 293 w 2202"/>
              <a:gd name="T27" fmla="*/ 184 h 277"/>
              <a:gd name="T28" fmla="*/ 351 w 2202"/>
              <a:gd name="T29" fmla="*/ 174 h 277"/>
              <a:gd name="T30" fmla="*/ 410 w 2202"/>
              <a:gd name="T31" fmla="*/ 129 h 277"/>
              <a:gd name="T32" fmla="*/ 402 w 2202"/>
              <a:gd name="T33" fmla="*/ 186 h 277"/>
              <a:gd name="T34" fmla="*/ 535 w 2202"/>
              <a:gd name="T35" fmla="*/ 151 h 277"/>
              <a:gd name="T36" fmla="*/ 492 w 2202"/>
              <a:gd name="T37" fmla="*/ 102 h 277"/>
              <a:gd name="T38" fmla="*/ 569 w 2202"/>
              <a:gd name="T39" fmla="*/ 71 h 277"/>
              <a:gd name="T40" fmla="*/ 558 w 2202"/>
              <a:gd name="T41" fmla="*/ 78 h 277"/>
              <a:gd name="T42" fmla="*/ 697 w 2202"/>
              <a:gd name="T43" fmla="*/ 153 h 277"/>
              <a:gd name="T44" fmla="*/ 764 w 2202"/>
              <a:gd name="T45" fmla="*/ 166 h 277"/>
              <a:gd name="T46" fmla="*/ 811 w 2202"/>
              <a:gd name="T47" fmla="*/ 101 h 277"/>
              <a:gd name="T48" fmla="*/ 700 w 2202"/>
              <a:gd name="T49" fmla="*/ 125 h 277"/>
              <a:gd name="T50" fmla="*/ 811 w 2202"/>
              <a:gd name="T51" fmla="*/ 101 h 277"/>
              <a:gd name="T52" fmla="*/ 846 w 2202"/>
              <a:gd name="T53" fmla="*/ 101 h 277"/>
              <a:gd name="T54" fmla="*/ 846 w 2202"/>
              <a:gd name="T55" fmla="*/ 171 h 277"/>
              <a:gd name="T56" fmla="*/ 879 w 2202"/>
              <a:gd name="T57" fmla="*/ 152 h 277"/>
              <a:gd name="T58" fmla="*/ 1020 w 2202"/>
              <a:gd name="T59" fmla="*/ 64 h 277"/>
              <a:gd name="T60" fmla="*/ 934 w 2202"/>
              <a:gd name="T61" fmla="*/ 151 h 277"/>
              <a:gd name="T62" fmla="*/ 1112 w 2202"/>
              <a:gd name="T63" fmla="*/ 172 h 277"/>
              <a:gd name="T64" fmla="*/ 1125 w 2202"/>
              <a:gd name="T65" fmla="*/ 183 h 277"/>
              <a:gd name="T66" fmla="*/ 1355 w 2202"/>
              <a:gd name="T67" fmla="*/ 171 h 277"/>
              <a:gd name="T68" fmla="*/ 1299 w 2202"/>
              <a:gd name="T69" fmla="*/ 146 h 277"/>
              <a:gd name="T70" fmla="*/ 1368 w 2202"/>
              <a:gd name="T71" fmla="*/ 92 h 277"/>
              <a:gd name="T72" fmla="*/ 1368 w 2202"/>
              <a:gd name="T73" fmla="*/ 41 h 277"/>
              <a:gd name="T74" fmla="*/ 1403 w 2202"/>
              <a:gd name="T75" fmla="*/ 164 h 277"/>
              <a:gd name="T76" fmla="*/ 1435 w 2202"/>
              <a:gd name="T77" fmla="*/ 131 h 277"/>
              <a:gd name="T78" fmla="*/ 1618 w 2202"/>
              <a:gd name="T79" fmla="*/ 43 h 277"/>
              <a:gd name="T80" fmla="*/ 1643 w 2202"/>
              <a:gd name="T81" fmla="*/ 204 h 277"/>
              <a:gd name="T82" fmla="*/ 1643 w 2202"/>
              <a:gd name="T83" fmla="*/ 152 h 277"/>
              <a:gd name="T84" fmla="*/ 1555 w 2202"/>
              <a:gd name="T85" fmla="*/ 119 h 277"/>
              <a:gd name="T86" fmla="*/ 1677 w 2202"/>
              <a:gd name="T87" fmla="*/ 77 h 277"/>
              <a:gd name="T88" fmla="*/ 1666 w 2202"/>
              <a:gd name="T89" fmla="*/ 81 h 277"/>
              <a:gd name="T90" fmla="*/ 1734 w 2202"/>
              <a:gd name="T91" fmla="*/ 132 h 277"/>
              <a:gd name="T92" fmla="*/ 1921 w 2202"/>
              <a:gd name="T93" fmla="*/ 230 h 277"/>
              <a:gd name="T94" fmla="*/ 1921 w 2202"/>
              <a:gd name="T95" fmla="*/ 195 h 277"/>
              <a:gd name="T96" fmla="*/ 1827 w 2202"/>
              <a:gd name="T97" fmla="*/ 168 h 277"/>
              <a:gd name="T98" fmla="*/ 1921 w 2202"/>
              <a:gd name="T99" fmla="*/ 144 h 277"/>
              <a:gd name="T100" fmla="*/ 1686 w 2202"/>
              <a:gd name="T101" fmla="*/ 57 h 277"/>
              <a:gd name="T102" fmla="*/ 1956 w 2202"/>
              <a:gd name="T103" fmla="*/ 80 h 277"/>
              <a:gd name="T104" fmla="*/ 1943 w 2202"/>
              <a:gd name="T105" fmla="*/ 134 h 277"/>
              <a:gd name="T106" fmla="*/ 1943 w 2202"/>
              <a:gd name="T107" fmla="*/ 140 h 277"/>
              <a:gd name="T108" fmla="*/ 1955 w 2202"/>
              <a:gd name="T109" fmla="*/ 17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02" h="277">
                <a:moveTo>
                  <a:pt x="2199" y="107"/>
                </a:moveTo>
                <a:cubicBezTo>
                  <a:pt x="2197" y="100"/>
                  <a:pt x="2190" y="93"/>
                  <a:pt x="2182" y="92"/>
                </a:cubicBezTo>
                <a:cubicBezTo>
                  <a:pt x="1829" y="31"/>
                  <a:pt x="1471" y="1"/>
                  <a:pt x="1114" y="0"/>
                </a:cubicBezTo>
                <a:cubicBezTo>
                  <a:pt x="1107" y="0"/>
                  <a:pt x="1101" y="0"/>
                  <a:pt x="1101" y="0"/>
                </a:cubicBezTo>
                <a:cubicBezTo>
                  <a:pt x="1101" y="0"/>
                  <a:pt x="1095" y="0"/>
                  <a:pt x="1088" y="0"/>
                </a:cubicBezTo>
                <a:cubicBezTo>
                  <a:pt x="730" y="1"/>
                  <a:pt x="373" y="31"/>
                  <a:pt x="19" y="92"/>
                </a:cubicBezTo>
                <a:cubicBezTo>
                  <a:pt x="12" y="93"/>
                  <a:pt x="5" y="100"/>
                  <a:pt x="3" y="107"/>
                </a:cubicBezTo>
                <a:cubicBezTo>
                  <a:pt x="2" y="108"/>
                  <a:pt x="2" y="109"/>
                  <a:pt x="2" y="110"/>
                </a:cubicBezTo>
                <a:cubicBezTo>
                  <a:pt x="0" y="117"/>
                  <a:pt x="3" y="126"/>
                  <a:pt x="9" y="129"/>
                </a:cubicBezTo>
                <a:cubicBezTo>
                  <a:pt x="92" y="175"/>
                  <a:pt x="176" y="224"/>
                  <a:pt x="261" y="273"/>
                </a:cubicBezTo>
                <a:cubicBezTo>
                  <a:pt x="266" y="277"/>
                  <a:pt x="276" y="276"/>
                  <a:pt x="282" y="271"/>
                </a:cubicBezTo>
                <a:cubicBezTo>
                  <a:pt x="307" y="250"/>
                  <a:pt x="332" y="230"/>
                  <a:pt x="357" y="210"/>
                </a:cubicBezTo>
                <a:cubicBezTo>
                  <a:pt x="362" y="205"/>
                  <a:pt x="373" y="203"/>
                  <a:pt x="379" y="204"/>
                </a:cubicBezTo>
                <a:cubicBezTo>
                  <a:pt x="431" y="217"/>
                  <a:pt x="483" y="229"/>
                  <a:pt x="535" y="243"/>
                </a:cubicBezTo>
                <a:cubicBezTo>
                  <a:pt x="542" y="245"/>
                  <a:pt x="553" y="244"/>
                  <a:pt x="560" y="241"/>
                </a:cubicBezTo>
                <a:cubicBezTo>
                  <a:pt x="612" y="218"/>
                  <a:pt x="664" y="196"/>
                  <a:pt x="717" y="175"/>
                </a:cubicBezTo>
                <a:cubicBezTo>
                  <a:pt x="724" y="172"/>
                  <a:pt x="734" y="173"/>
                  <a:pt x="740" y="177"/>
                </a:cubicBezTo>
                <a:cubicBezTo>
                  <a:pt x="764" y="192"/>
                  <a:pt x="788" y="208"/>
                  <a:pt x="812" y="223"/>
                </a:cubicBezTo>
                <a:cubicBezTo>
                  <a:pt x="818" y="227"/>
                  <a:pt x="827" y="227"/>
                  <a:pt x="833" y="222"/>
                </a:cubicBezTo>
                <a:cubicBezTo>
                  <a:pt x="851" y="210"/>
                  <a:pt x="868" y="197"/>
                  <a:pt x="886" y="185"/>
                </a:cubicBezTo>
                <a:cubicBezTo>
                  <a:pt x="892" y="181"/>
                  <a:pt x="903" y="178"/>
                  <a:pt x="910" y="179"/>
                </a:cubicBezTo>
                <a:cubicBezTo>
                  <a:pt x="969" y="188"/>
                  <a:pt x="1028" y="197"/>
                  <a:pt x="1088" y="208"/>
                </a:cubicBezTo>
                <a:cubicBezTo>
                  <a:pt x="1095" y="209"/>
                  <a:pt x="1107" y="209"/>
                  <a:pt x="1114" y="208"/>
                </a:cubicBezTo>
                <a:cubicBezTo>
                  <a:pt x="1173" y="197"/>
                  <a:pt x="1232" y="188"/>
                  <a:pt x="1292" y="179"/>
                </a:cubicBezTo>
                <a:cubicBezTo>
                  <a:pt x="1299" y="178"/>
                  <a:pt x="1309" y="181"/>
                  <a:pt x="1315" y="185"/>
                </a:cubicBezTo>
                <a:cubicBezTo>
                  <a:pt x="1333" y="197"/>
                  <a:pt x="1351" y="210"/>
                  <a:pt x="1368" y="222"/>
                </a:cubicBezTo>
                <a:cubicBezTo>
                  <a:pt x="1374" y="227"/>
                  <a:pt x="1384" y="227"/>
                  <a:pt x="1390" y="223"/>
                </a:cubicBezTo>
                <a:cubicBezTo>
                  <a:pt x="1414" y="208"/>
                  <a:pt x="1438" y="192"/>
                  <a:pt x="1462" y="177"/>
                </a:cubicBezTo>
                <a:cubicBezTo>
                  <a:pt x="1468" y="173"/>
                  <a:pt x="1478" y="172"/>
                  <a:pt x="1485" y="175"/>
                </a:cubicBezTo>
                <a:cubicBezTo>
                  <a:pt x="1537" y="196"/>
                  <a:pt x="1590" y="218"/>
                  <a:pt x="1642" y="241"/>
                </a:cubicBezTo>
                <a:cubicBezTo>
                  <a:pt x="1649" y="244"/>
                  <a:pt x="1660" y="245"/>
                  <a:pt x="1667" y="243"/>
                </a:cubicBezTo>
                <a:cubicBezTo>
                  <a:pt x="1719" y="229"/>
                  <a:pt x="1770" y="217"/>
                  <a:pt x="1822" y="204"/>
                </a:cubicBezTo>
                <a:cubicBezTo>
                  <a:pt x="1829" y="203"/>
                  <a:pt x="1839" y="205"/>
                  <a:pt x="1845" y="210"/>
                </a:cubicBezTo>
                <a:cubicBezTo>
                  <a:pt x="1870" y="230"/>
                  <a:pt x="1895" y="250"/>
                  <a:pt x="1920" y="271"/>
                </a:cubicBezTo>
                <a:cubicBezTo>
                  <a:pt x="1926" y="276"/>
                  <a:pt x="1935" y="277"/>
                  <a:pt x="1941" y="273"/>
                </a:cubicBezTo>
                <a:cubicBezTo>
                  <a:pt x="2025" y="224"/>
                  <a:pt x="2109" y="175"/>
                  <a:pt x="2193" y="129"/>
                </a:cubicBezTo>
                <a:cubicBezTo>
                  <a:pt x="2199" y="126"/>
                  <a:pt x="2202" y="117"/>
                  <a:pt x="2200" y="110"/>
                </a:cubicBezTo>
                <a:cubicBezTo>
                  <a:pt x="2199" y="109"/>
                  <a:pt x="2199" y="108"/>
                  <a:pt x="2199" y="107"/>
                </a:cubicBezTo>
                <a:close/>
                <a:moveTo>
                  <a:pt x="258" y="231"/>
                </a:moveTo>
                <a:cubicBezTo>
                  <a:pt x="258" y="238"/>
                  <a:pt x="254" y="241"/>
                  <a:pt x="248" y="238"/>
                </a:cubicBezTo>
                <a:cubicBezTo>
                  <a:pt x="194" y="206"/>
                  <a:pt x="141" y="175"/>
                  <a:pt x="87" y="145"/>
                </a:cubicBezTo>
                <a:cubicBezTo>
                  <a:pt x="81" y="142"/>
                  <a:pt x="82" y="140"/>
                  <a:pt x="89" y="142"/>
                </a:cubicBezTo>
                <a:cubicBezTo>
                  <a:pt x="141" y="152"/>
                  <a:pt x="194" y="162"/>
                  <a:pt x="246" y="174"/>
                </a:cubicBezTo>
                <a:cubicBezTo>
                  <a:pt x="253" y="175"/>
                  <a:pt x="258" y="182"/>
                  <a:pt x="258" y="190"/>
                </a:cubicBezTo>
                <a:cubicBezTo>
                  <a:pt x="258" y="203"/>
                  <a:pt x="258" y="217"/>
                  <a:pt x="258" y="231"/>
                </a:cubicBezTo>
                <a:close/>
                <a:moveTo>
                  <a:pt x="258" y="140"/>
                </a:moveTo>
                <a:cubicBezTo>
                  <a:pt x="258" y="147"/>
                  <a:pt x="253" y="151"/>
                  <a:pt x="246" y="150"/>
                </a:cubicBezTo>
                <a:cubicBezTo>
                  <a:pt x="196" y="139"/>
                  <a:pt x="145" y="129"/>
                  <a:pt x="95" y="119"/>
                </a:cubicBezTo>
                <a:cubicBezTo>
                  <a:pt x="88" y="117"/>
                  <a:pt x="88" y="116"/>
                  <a:pt x="95" y="117"/>
                </a:cubicBezTo>
                <a:cubicBezTo>
                  <a:pt x="145" y="117"/>
                  <a:pt x="195" y="118"/>
                  <a:pt x="246" y="120"/>
                </a:cubicBezTo>
                <a:cubicBezTo>
                  <a:pt x="253" y="121"/>
                  <a:pt x="258" y="127"/>
                  <a:pt x="258" y="134"/>
                </a:cubicBezTo>
                <a:cubicBezTo>
                  <a:pt x="258" y="136"/>
                  <a:pt x="258" y="138"/>
                  <a:pt x="258" y="140"/>
                </a:cubicBezTo>
                <a:close/>
                <a:moveTo>
                  <a:pt x="258" y="88"/>
                </a:moveTo>
                <a:cubicBezTo>
                  <a:pt x="258" y="93"/>
                  <a:pt x="253" y="97"/>
                  <a:pt x="246" y="97"/>
                </a:cubicBezTo>
                <a:cubicBezTo>
                  <a:pt x="216" y="96"/>
                  <a:pt x="187" y="95"/>
                  <a:pt x="158" y="95"/>
                </a:cubicBezTo>
                <a:cubicBezTo>
                  <a:pt x="151" y="94"/>
                  <a:pt x="151" y="93"/>
                  <a:pt x="158" y="92"/>
                </a:cubicBezTo>
                <a:cubicBezTo>
                  <a:pt x="187" y="88"/>
                  <a:pt x="216" y="84"/>
                  <a:pt x="245" y="80"/>
                </a:cubicBezTo>
                <a:cubicBezTo>
                  <a:pt x="253" y="79"/>
                  <a:pt x="258" y="83"/>
                  <a:pt x="258" y="88"/>
                </a:cubicBezTo>
                <a:close/>
                <a:moveTo>
                  <a:pt x="281" y="87"/>
                </a:moveTo>
                <a:cubicBezTo>
                  <a:pt x="281" y="81"/>
                  <a:pt x="287" y="75"/>
                  <a:pt x="294" y="74"/>
                </a:cubicBezTo>
                <a:cubicBezTo>
                  <a:pt x="367" y="64"/>
                  <a:pt x="440" y="56"/>
                  <a:pt x="513" y="50"/>
                </a:cubicBezTo>
                <a:cubicBezTo>
                  <a:pt x="520" y="49"/>
                  <a:pt x="521" y="52"/>
                  <a:pt x="515" y="57"/>
                </a:cubicBezTo>
                <a:cubicBezTo>
                  <a:pt x="497" y="71"/>
                  <a:pt x="479" y="85"/>
                  <a:pt x="460" y="100"/>
                </a:cubicBezTo>
                <a:cubicBezTo>
                  <a:pt x="454" y="104"/>
                  <a:pt x="444" y="108"/>
                  <a:pt x="437" y="107"/>
                </a:cubicBezTo>
                <a:cubicBezTo>
                  <a:pt x="389" y="104"/>
                  <a:pt x="341" y="101"/>
                  <a:pt x="294" y="99"/>
                </a:cubicBezTo>
                <a:cubicBezTo>
                  <a:pt x="287" y="99"/>
                  <a:pt x="281" y="94"/>
                  <a:pt x="281" y="87"/>
                </a:cubicBezTo>
                <a:close/>
                <a:moveTo>
                  <a:pt x="291" y="235"/>
                </a:moveTo>
                <a:cubicBezTo>
                  <a:pt x="286" y="240"/>
                  <a:pt x="281" y="238"/>
                  <a:pt x="281" y="230"/>
                </a:cubicBezTo>
                <a:cubicBezTo>
                  <a:pt x="281" y="218"/>
                  <a:pt x="281" y="207"/>
                  <a:pt x="281" y="195"/>
                </a:cubicBezTo>
                <a:cubicBezTo>
                  <a:pt x="281" y="187"/>
                  <a:pt x="286" y="183"/>
                  <a:pt x="293" y="184"/>
                </a:cubicBezTo>
                <a:cubicBezTo>
                  <a:pt x="305" y="187"/>
                  <a:pt x="316" y="190"/>
                  <a:pt x="328" y="192"/>
                </a:cubicBezTo>
                <a:cubicBezTo>
                  <a:pt x="335" y="194"/>
                  <a:pt x="335" y="199"/>
                  <a:pt x="330" y="204"/>
                </a:cubicBezTo>
                <a:cubicBezTo>
                  <a:pt x="317" y="214"/>
                  <a:pt x="304" y="224"/>
                  <a:pt x="291" y="235"/>
                </a:cubicBezTo>
                <a:close/>
                <a:moveTo>
                  <a:pt x="374" y="168"/>
                </a:moveTo>
                <a:cubicBezTo>
                  <a:pt x="368" y="173"/>
                  <a:pt x="358" y="175"/>
                  <a:pt x="351" y="174"/>
                </a:cubicBezTo>
                <a:cubicBezTo>
                  <a:pt x="332" y="169"/>
                  <a:pt x="312" y="165"/>
                  <a:pt x="293" y="160"/>
                </a:cubicBezTo>
                <a:cubicBezTo>
                  <a:pt x="286" y="159"/>
                  <a:pt x="281" y="152"/>
                  <a:pt x="281" y="144"/>
                </a:cubicBezTo>
                <a:cubicBezTo>
                  <a:pt x="281" y="141"/>
                  <a:pt x="281" y="138"/>
                  <a:pt x="281" y="135"/>
                </a:cubicBezTo>
                <a:cubicBezTo>
                  <a:pt x="281" y="127"/>
                  <a:pt x="287" y="122"/>
                  <a:pt x="294" y="122"/>
                </a:cubicBezTo>
                <a:cubicBezTo>
                  <a:pt x="332" y="124"/>
                  <a:pt x="371" y="126"/>
                  <a:pt x="410" y="129"/>
                </a:cubicBezTo>
                <a:cubicBezTo>
                  <a:pt x="417" y="129"/>
                  <a:pt x="418" y="133"/>
                  <a:pt x="412" y="138"/>
                </a:cubicBezTo>
                <a:cubicBezTo>
                  <a:pt x="399" y="148"/>
                  <a:pt x="387" y="158"/>
                  <a:pt x="374" y="168"/>
                </a:cubicBezTo>
                <a:close/>
                <a:moveTo>
                  <a:pt x="535" y="206"/>
                </a:moveTo>
                <a:cubicBezTo>
                  <a:pt x="535" y="213"/>
                  <a:pt x="530" y="218"/>
                  <a:pt x="523" y="216"/>
                </a:cubicBezTo>
                <a:cubicBezTo>
                  <a:pt x="483" y="206"/>
                  <a:pt x="442" y="195"/>
                  <a:pt x="402" y="186"/>
                </a:cubicBezTo>
                <a:cubicBezTo>
                  <a:pt x="395" y="184"/>
                  <a:pt x="395" y="179"/>
                  <a:pt x="401" y="174"/>
                </a:cubicBezTo>
                <a:cubicBezTo>
                  <a:pt x="415" y="163"/>
                  <a:pt x="430" y="151"/>
                  <a:pt x="444" y="140"/>
                </a:cubicBezTo>
                <a:cubicBezTo>
                  <a:pt x="450" y="135"/>
                  <a:pt x="461" y="132"/>
                  <a:pt x="468" y="132"/>
                </a:cubicBezTo>
                <a:cubicBezTo>
                  <a:pt x="486" y="134"/>
                  <a:pt x="504" y="135"/>
                  <a:pt x="523" y="137"/>
                </a:cubicBezTo>
                <a:cubicBezTo>
                  <a:pt x="530" y="137"/>
                  <a:pt x="535" y="143"/>
                  <a:pt x="535" y="151"/>
                </a:cubicBezTo>
                <a:cubicBezTo>
                  <a:pt x="535" y="169"/>
                  <a:pt x="535" y="188"/>
                  <a:pt x="535" y="206"/>
                </a:cubicBezTo>
                <a:close/>
                <a:moveTo>
                  <a:pt x="535" y="101"/>
                </a:moveTo>
                <a:cubicBezTo>
                  <a:pt x="535" y="109"/>
                  <a:pt x="530" y="114"/>
                  <a:pt x="523" y="113"/>
                </a:cubicBezTo>
                <a:cubicBezTo>
                  <a:pt x="513" y="113"/>
                  <a:pt x="504" y="112"/>
                  <a:pt x="494" y="111"/>
                </a:cubicBezTo>
                <a:cubicBezTo>
                  <a:pt x="487" y="111"/>
                  <a:pt x="486" y="107"/>
                  <a:pt x="492" y="102"/>
                </a:cubicBezTo>
                <a:cubicBezTo>
                  <a:pt x="503" y="94"/>
                  <a:pt x="514" y="85"/>
                  <a:pt x="525" y="77"/>
                </a:cubicBezTo>
                <a:cubicBezTo>
                  <a:pt x="531" y="72"/>
                  <a:pt x="535" y="74"/>
                  <a:pt x="535" y="81"/>
                </a:cubicBezTo>
                <a:cubicBezTo>
                  <a:pt x="535" y="88"/>
                  <a:pt x="535" y="95"/>
                  <a:pt x="535" y="101"/>
                </a:cubicBezTo>
                <a:close/>
                <a:moveTo>
                  <a:pt x="558" y="78"/>
                </a:moveTo>
                <a:cubicBezTo>
                  <a:pt x="558" y="71"/>
                  <a:pt x="563" y="68"/>
                  <a:pt x="569" y="71"/>
                </a:cubicBezTo>
                <a:cubicBezTo>
                  <a:pt x="595" y="87"/>
                  <a:pt x="621" y="103"/>
                  <a:pt x="647" y="119"/>
                </a:cubicBezTo>
                <a:cubicBezTo>
                  <a:pt x="653" y="123"/>
                  <a:pt x="652" y="125"/>
                  <a:pt x="645" y="125"/>
                </a:cubicBezTo>
                <a:cubicBezTo>
                  <a:pt x="620" y="122"/>
                  <a:pt x="595" y="120"/>
                  <a:pt x="571" y="118"/>
                </a:cubicBezTo>
                <a:cubicBezTo>
                  <a:pt x="564" y="117"/>
                  <a:pt x="558" y="111"/>
                  <a:pt x="558" y="104"/>
                </a:cubicBezTo>
                <a:cubicBezTo>
                  <a:pt x="558" y="95"/>
                  <a:pt x="558" y="86"/>
                  <a:pt x="558" y="78"/>
                </a:cubicBezTo>
                <a:close/>
                <a:moveTo>
                  <a:pt x="570" y="211"/>
                </a:moveTo>
                <a:cubicBezTo>
                  <a:pt x="564" y="214"/>
                  <a:pt x="558" y="211"/>
                  <a:pt x="558" y="204"/>
                </a:cubicBezTo>
                <a:cubicBezTo>
                  <a:pt x="558" y="187"/>
                  <a:pt x="558" y="170"/>
                  <a:pt x="558" y="152"/>
                </a:cubicBezTo>
                <a:cubicBezTo>
                  <a:pt x="558" y="145"/>
                  <a:pt x="564" y="140"/>
                  <a:pt x="571" y="141"/>
                </a:cubicBezTo>
                <a:cubicBezTo>
                  <a:pt x="613" y="144"/>
                  <a:pt x="655" y="148"/>
                  <a:pt x="697" y="153"/>
                </a:cubicBezTo>
                <a:cubicBezTo>
                  <a:pt x="704" y="153"/>
                  <a:pt x="704" y="156"/>
                  <a:pt x="697" y="159"/>
                </a:cubicBezTo>
                <a:cubicBezTo>
                  <a:pt x="655" y="176"/>
                  <a:pt x="613" y="194"/>
                  <a:pt x="570" y="211"/>
                </a:cubicBezTo>
                <a:close/>
                <a:moveTo>
                  <a:pt x="811" y="182"/>
                </a:moveTo>
                <a:cubicBezTo>
                  <a:pt x="811" y="190"/>
                  <a:pt x="806" y="192"/>
                  <a:pt x="800" y="189"/>
                </a:cubicBezTo>
                <a:cubicBezTo>
                  <a:pt x="788" y="181"/>
                  <a:pt x="776" y="173"/>
                  <a:pt x="764" y="166"/>
                </a:cubicBezTo>
                <a:cubicBezTo>
                  <a:pt x="758" y="162"/>
                  <a:pt x="759" y="160"/>
                  <a:pt x="766" y="161"/>
                </a:cubicBezTo>
                <a:cubicBezTo>
                  <a:pt x="777" y="162"/>
                  <a:pt x="787" y="163"/>
                  <a:pt x="798" y="164"/>
                </a:cubicBezTo>
                <a:cubicBezTo>
                  <a:pt x="805" y="165"/>
                  <a:pt x="811" y="172"/>
                  <a:pt x="811" y="179"/>
                </a:cubicBezTo>
                <a:cubicBezTo>
                  <a:pt x="811" y="180"/>
                  <a:pt x="811" y="181"/>
                  <a:pt x="811" y="182"/>
                </a:cubicBezTo>
                <a:close/>
                <a:moveTo>
                  <a:pt x="811" y="101"/>
                </a:moveTo>
                <a:cubicBezTo>
                  <a:pt x="811" y="108"/>
                  <a:pt x="805" y="116"/>
                  <a:pt x="799" y="119"/>
                </a:cubicBezTo>
                <a:cubicBezTo>
                  <a:pt x="788" y="123"/>
                  <a:pt x="777" y="127"/>
                  <a:pt x="766" y="131"/>
                </a:cubicBezTo>
                <a:cubicBezTo>
                  <a:pt x="760" y="134"/>
                  <a:pt x="748" y="136"/>
                  <a:pt x="741" y="135"/>
                </a:cubicBezTo>
                <a:cubicBezTo>
                  <a:pt x="735" y="134"/>
                  <a:pt x="729" y="133"/>
                  <a:pt x="723" y="133"/>
                </a:cubicBezTo>
                <a:cubicBezTo>
                  <a:pt x="716" y="132"/>
                  <a:pt x="705" y="128"/>
                  <a:pt x="700" y="125"/>
                </a:cubicBezTo>
                <a:cubicBezTo>
                  <a:pt x="660" y="100"/>
                  <a:pt x="621" y="75"/>
                  <a:pt x="581" y="51"/>
                </a:cubicBezTo>
                <a:cubicBezTo>
                  <a:pt x="575" y="47"/>
                  <a:pt x="576" y="44"/>
                  <a:pt x="583" y="43"/>
                </a:cubicBezTo>
                <a:cubicBezTo>
                  <a:pt x="655" y="38"/>
                  <a:pt x="726" y="33"/>
                  <a:pt x="798" y="30"/>
                </a:cubicBezTo>
                <a:cubicBezTo>
                  <a:pt x="805" y="29"/>
                  <a:pt x="811" y="35"/>
                  <a:pt x="811" y="42"/>
                </a:cubicBezTo>
                <a:cubicBezTo>
                  <a:pt x="811" y="62"/>
                  <a:pt x="811" y="81"/>
                  <a:pt x="811" y="101"/>
                </a:cubicBezTo>
                <a:close/>
                <a:moveTo>
                  <a:pt x="834" y="41"/>
                </a:moveTo>
                <a:cubicBezTo>
                  <a:pt x="834" y="34"/>
                  <a:pt x="839" y="28"/>
                  <a:pt x="847" y="28"/>
                </a:cubicBezTo>
                <a:cubicBezTo>
                  <a:pt x="914" y="25"/>
                  <a:pt x="981" y="23"/>
                  <a:pt x="1048" y="23"/>
                </a:cubicBezTo>
                <a:cubicBezTo>
                  <a:pt x="1055" y="23"/>
                  <a:pt x="1055" y="25"/>
                  <a:pt x="1049" y="27"/>
                </a:cubicBezTo>
                <a:cubicBezTo>
                  <a:pt x="981" y="50"/>
                  <a:pt x="913" y="75"/>
                  <a:pt x="846" y="101"/>
                </a:cubicBezTo>
                <a:cubicBezTo>
                  <a:pt x="839" y="103"/>
                  <a:pt x="834" y="100"/>
                  <a:pt x="834" y="92"/>
                </a:cubicBezTo>
                <a:cubicBezTo>
                  <a:pt x="834" y="75"/>
                  <a:pt x="834" y="58"/>
                  <a:pt x="834" y="41"/>
                </a:cubicBezTo>
                <a:close/>
                <a:moveTo>
                  <a:pt x="844" y="187"/>
                </a:moveTo>
                <a:cubicBezTo>
                  <a:pt x="838" y="191"/>
                  <a:pt x="833" y="189"/>
                  <a:pt x="833" y="182"/>
                </a:cubicBezTo>
                <a:cubicBezTo>
                  <a:pt x="833" y="175"/>
                  <a:pt x="839" y="170"/>
                  <a:pt x="846" y="171"/>
                </a:cubicBezTo>
                <a:cubicBezTo>
                  <a:pt x="848" y="171"/>
                  <a:pt x="849" y="171"/>
                  <a:pt x="851" y="171"/>
                </a:cubicBezTo>
                <a:cubicBezTo>
                  <a:pt x="858" y="172"/>
                  <a:pt x="859" y="176"/>
                  <a:pt x="853" y="181"/>
                </a:cubicBezTo>
                <a:cubicBezTo>
                  <a:pt x="850" y="183"/>
                  <a:pt x="847" y="185"/>
                  <a:pt x="844" y="187"/>
                </a:cubicBezTo>
                <a:close/>
                <a:moveTo>
                  <a:pt x="902" y="146"/>
                </a:moveTo>
                <a:cubicBezTo>
                  <a:pt x="896" y="150"/>
                  <a:pt x="886" y="153"/>
                  <a:pt x="879" y="152"/>
                </a:cubicBezTo>
                <a:cubicBezTo>
                  <a:pt x="868" y="151"/>
                  <a:pt x="857" y="149"/>
                  <a:pt x="846" y="148"/>
                </a:cubicBezTo>
                <a:cubicBezTo>
                  <a:pt x="839" y="147"/>
                  <a:pt x="834" y="142"/>
                  <a:pt x="834" y="138"/>
                </a:cubicBezTo>
                <a:cubicBezTo>
                  <a:pt x="834" y="133"/>
                  <a:pt x="839" y="127"/>
                  <a:pt x="846" y="125"/>
                </a:cubicBezTo>
                <a:cubicBezTo>
                  <a:pt x="903" y="103"/>
                  <a:pt x="961" y="82"/>
                  <a:pt x="1019" y="61"/>
                </a:cubicBezTo>
                <a:cubicBezTo>
                  <a:pt x="1025" y="59"/>
                  <a:pt x="1026" y="60"/>
                  <a:pt x="1020" y="64"/>
                </a:cubicBezTo>
                <a:cubicBezTo>
                  <a:pt x="981" y="91"/>
                  <a:pt x="942" y="119"/>
                  <a:pt x="902" y="146"/>
                </a:cubicBezTo>
                <a:close/>
                <a:moveTo>
                  <a:pt x="1089" y="172"/>
                </a:moveTo>
                <a:cubicBezTo>
                  <a:pt x="1089" y="179"/>
                  <a:pt x="1083" y="184"/>
                  <a:pt x="1076" y="183"/>
                </a:cubicBezTo>
                <a:cubicBezTo>
                  <a:pt x="1030" y="175"/>
                  <a:pt x="983" y="167"/>
                  <a:pt x="937" y="160"/>
                </a:cubicBezTo>
                <a:cubicBezTo>
                  <a:pt x="929" y="159"/>
                  <a:pt x="929" y="155"/>
                  <a:pt x="934" y="151"/>
                </a:cubicBezTo>
                <a:cubicBezTo>
                  <a:pt x="982" y="117"/>
                  <a:pt x="1030" y="84"/>
                  <a:pt x="1078" y="51"/>
                </a:cubicBezTo>
                <a:cubicBezTo>
                  <a:pt x="1084" y="47"/>
                  <a:pt x="1089" y="49"/>
                  <a:pt x="1089" y="57"/>
                </a:cubicBezTo>
                <a:cubicBezTo>
                  <a:pt x="1089" y="95"/>
                  <a:pt x="1089" y="133"/>
                  <a:pt x="1089" y="172"/>
                </a:cubicBezTo>
                <a:close/>
                <a:moveTo>
                  <a:pt x="1125" y="183"/>
                </a:moveTo>
                <a:cubicBezTo>
                  <a:pt x="1118" y="184"/>
                  <a:pt x="1112" y="179"/>
                  <a:pt x="1112" y="172"/>
                </a:cubicBezTo>
                <a:cubicBezTo>
                  <a:pt x="1112" y="133"/>
                  <a:pt x="1112" y="95"/>
                  <a:pt x="1112" y="57"/>
                </a:cubicBezTo>
                <a:cubicBezTo>
                  <a:pt x="1112" y="49"/>
                  <a:pt x="1117" y="47"/>
                  <a:pt x="1123" y="51"/>
                </a:cubicBezTo>
                <a:cubicBezTo>
                  <a:pt x="1171" y="84"/>
                  <a:pt x="1219" y="117"/>
                  <a:pt x="1267" y="151"/>
                </a:cubicBezTo>
                <a:cubicBezTo>
                  <a:pt x="1273" y="155"/>
                  <a:pt x="1272" y="159"/>
                  <a:pt x="1265" y="160"/>
                </a:cubicBezTo>
                <a:cubicBezTo>
                  <a:pt x="1218" y="167"/>
                  <a:pt x="1171" y="175"/>
                  <a:pt x="1125" y="183"/>
                </a:cubicBezTo>
                <a:close/>
                <a:moveTo>
                  <a:pt x="1368" y="182"/>
                </a:moveTo>
                <a:cubicBezTo>
                  <a:pt x="1368" y="189"/>
                  <a:pt x="1363" y="191"/>
                  <a:pt x="1357" y="187"/>
                </a:cubicBezTo>
                <a:cubicBezTo>
                  <a:pt x="1354" y="185"/>
                  <a:pt x="1351" y="183"/>
                  <a:pt x="1348" y="181"/>
                </a:cubicBezTo>
                <a:cubicBezTo>
                  <a:pt x="1342" y="176"/>
                  <a:pt x="1343" y="172"/>
                  <a:pt x="1350" y="171"/>
                </a:cubicBezTo>
                <a:cubicBezTo>
                  <a:pt x="1352" y="171"/>
                  <a:pt x="1353" y="171"/>
                  <a:pt x="1355" y="171"/>
                </a:cubicBezTo>
                <a:cubicBezTo>
                  <a:pt x="1362" y="170"/>
                  <a:pt x="1368" y="175"/>
                  <a:pt x="1368" y="182"/>
                </a:cubicBezTo>
                <a:close/>
                <a:moveTo>
                  <a:pt x="1368" y="138"/>
                </a:moveTo>
                <a:cubicBezTo>
                  <a:pt x="1368" y="142"/>
                  <a:pt x="1362" y="147"/>
                  <a:pt x="1355" y="148"/>
                </a:cubicBezTo>
                <a:cubicBezTo>
                  <a:pt x="1344" y="149"/>
                  <a:pt x="1333" y="151"/>
                  <a:pt x="1323" y="152"/>
                </a:cubicBezTo>
                <a:cubicBezTo>
                  <a:pt x="1316" y="153"/>
                  <a:pt x="1305" y="150"/>
                  <a:pt x="1299" y="146"/>
                </a:cubicBezTo>
                <a:cubicBezTo>
                  <a:pt x="1260" y="119"/>
                  <a:pt x="1220" y="91"/>
                  <a:pt x="1181" y="64"/>
                </a:cubicBezTo>
                <a:cubicBezTo>
                  <a:pt x="1175" y="60"/>
                  <a:pt x="1176" y="59"/>
                  <a:pt x="1183" y="61"/>
                </a:cubicBezTo>
                <a:cubicBezTo>
                  <a:pt x="1240" y="82"/>
                  <a:pt x="1298" y="103"/>
                  <a:pt x="1355" y="125"/>
                </a:cubicBezTo>
                <a:cubicBezTo>
                  <a:pt x="1362" y="127"/>
                  <a:pt x="1368" y="133"/>
                  <a:pt x="1368" y="138"/>
                </a:cubicBezTo>
                <a:close/>
                <a:moveTo>
                  <a:pt x="1368" y="92"/>
                </a:moveTo>
                <a:cubicBezTo>
                  <a:pt x="1368" y="100"/>
                  <a:pt x="1362" y="103"/>
                  <a:pt x="1355" y="101"/>
                </a:cubicBezTo>
                <a:cubicBezTo>
                  <a:pt x="1288" y="75"/>
                  <a:pt x="1220" y="50"/>
                  <a:pt x="1153" y="27"/>
                </a:cubicBezTo>
                <a:cubicBezTo>
                  <a:pt x="1146" y="25"/>
                  <a:pt x="1146" y="23"/>
                  <a:pt x="1154" y="23"/>
                </a:cubicBezTo>
                <a:cubicBezTo>
                  <a:pt x="1221" y="23"/>
                  <a:pt x="1288" y="25"/>
                  <a:pt x="1355" y="28"/>
                </a:cubicBezTo>
                <a:cubicBezTo>
                  <a:pt x="1362" y="28"/>
                  <a:pt x="1368" y="34"/>
                  <a:pt x="1368" y="41"/>
                </a:cubicBezTo>
                <a:cubicBezTo>
                  <a:pt x="1368" y="58"/>
                  <a:pt x="1368" y="75"/>
                  <a:pt x="1368" y="92"/>
                </a:cubicBezTo>
                <a:close/>
                <a:moveTo>
                  <a:pt x="1401" y="189"/>
                </a:moveTo>
                <a:cubicBezTo>
                  <a:pt x="1395" y="192"/>
                  <a:pt x="1390" y="190"/>
                  <a:pt x="1390" y="182"/>
                </a:cubicBezTo>
                <a:cubicBezTo>
                  <a:pt x="1390" y="181"/>
                  <a:pt x="1390" y="180"/>
                  <a:pt x="1390" y="179"/>
                </a:cubicBezTo>
                <a:cubicBezTo>
                  <a:pt x="1390" y="172"/>
                  <a:pt x="1396" y="165"/>
                  <a:pt x="1403" y="164"/>
                </a:cubicBezTo>
                <a:cubicBezTo>
                  <a:pt x="1414" y="163"/>
                  <a:pt x="1424" y="162"/>
                  <a:pt x="1435" y="161"/>
                </a:cubicBezTo>
                <a:cubicBezTo>
                  <a:pt x="1442" y="160"/>
                  <a:pt x="1443" y="162"/>
                  <a:pt x="1437" y="166"/>
                </a:cubicBezTo>
                <a:cubicBezTo>
                  <a:pt x="1425" y="173"/>
                  <a:pt x="1413" y="181"/>
                  <a:pt x="1401" y="189"/>
                </a:cubicBezTo>
                <a:close/>
                <a:moveTo>
                  <a:pt x="1460" y="135"/>
                </a:moveTo>
                <a:cubicBezTo>
                  <a:pt x="1453" y="136"/>
                  <a:pt x="1441" y="134"/>
                  <a:pt x="1435" y="131"/>
                </a:cubicBezTo>
                <a:cubicBezTo>
                  <a:pt x="1424" y="127"/>
                  <a:pt x="1413" y="123"/>
                  <a:pt x="1403" y="119"/>
                </a:cubicBezTo>
                <a:cubicBezTo>
                  <a:pt x="1396" y="116"/>
                  <a:pt x="1390" y="108"/>
                  <a:pt x="1390" y="101"/>
                </a:cubicBezTo>
                <a:cubicBezTo>
                  <a:pt x="1390" y="81"/>
                  <a:pt x="1390" y="62"/>
                  <a:pt x="1390" y="42"/>
                </a:cubicBezTo>
                <a:cubicBezTo>
                  <a:pt x="1390" y="35"/>
                  <a:pt x="1396" y="29"/>
                  <a:pt x="1403" y="30"/>
                </a:cubicBezTo>
                <a:cubicBezTo>
                  <a:pt x="1475" y="33"/>
                  <a:pt x="1546" y="38"/>
                  <a:pt x="1618" y="43"/>
                </a:cubicBezTo>
                <a:cubicBezTo>
                  <a:pt x="1625" y="44"/>
                  <a:pt x="1626" y="47"/>
                  <a:pt x="1620" y="51"/>
                </a:cubicBezTo>
                <a:cubicBezTo>
                  <a:pt x="1581" y="75"/>
                  <a:pt x="1541" y="100"/>
                  <a:pt x="1502" y="125"/>
                </a:cubicBezTo>
                <a:cubicBezTo>
                  <a:pt x="1496" y="128"/>
                  <a:pt x="1485" y="132"/>
                  <a:pt x="1478" y="133"/>
                </a:cubicBezTo>
                <a:cubicBezTo>
                  <a:pt x="1472" y="133"/>
                  <a:pt x="1466" y="134"/>
                  <a:pt x="1460" y="135"/>
                </a:cubicBezTo>
                <a:close/>
                <a:moveTo>
                  <a:pt x="1643" y="204"/>
                </a:moveTo>
                <a:cubicBezTo>
                  <a:pt x="1643" y="211"/>
                  <a:pt x="1638" y="214"/>
                  <a:pt x="1631" y="211"/>
                </a:cubicBezTo>
                <a:cubicBezTo>
                  <a:pt x="1589" y="194"/>
                  <a:pt x="1546" y="176"/>
                  <a:pt x="1504" y="159"/>
                </a:cubicBezTo>
                <a:cubicBezTo>
                  <a:pt x="1497" y="156"/>
                  <a:pt x="1498" y="153"/>
                  <a:pt x="1505" y="153"/>
                </a:cubicBezTo>
                <a:cubicBezTo>
                  <a:pt x="1547" y="148"/>
                  <a:pt x="1589" y="144"/>
                  <a:pt x="1630" y="141"/>
                </a:cubicBezTo>
                <a:cubicBezTo>
                  <a:pt x="1638" y="140"/>
                  <a:pt x="1643" y="145"/>
                  <a:pt x="1643" y="152"/>
                </a:cubicBezTo>
                <a:cubicBezTo>
                  <a:pt x="1643" y="170"/>
                  <a:pt x="1643" y="187"/>
                  <a:pt x="1643" y="204"/>
                </a:cubicBezTo>
                <a:close/>
                <a:moveTo>
                  <a:pt x="1643" y="104"/>
                </a:moveTo>
                <a:cubicBezTo>
                  <a:pt x="1643" y="111"/>
                  <a:pt x="1638" y="117"/>
                  <a:pt x="1630" y="118"/>
                </a:cubicBezTo>
                <a:cubicBezTo>
                  <a:pt x="1606" y="120"/>
                  <a:pt x="1581" y="122"/>
                  <a:pt x="1557" y="125"/>
                </a:cubicBezTo>
                <a:cubicBezTo>
                  <a:pt x="1550" y="125"/>
                  <a:pt x="1549" y="123"/>
                  <a:pt x="1555" y="119"/>
                </a:cubicBezTo>
                <a:cubicBezTo>
                  <a:pt x="1581" y="103"/>
                  <a:pt x="1607" y="87"/>
                  <a:pt x="1633" y="71"/>
                </a:cubicBezTo>
                <a:cubicBezTo>
                  <a:pt x="1638" y="68"/>
                  <a:pt x="1643" y="71"/>
                  <a:pt x="1643" y="78"/>
                </a:cubicBezTo>
                <a:cubicBezTo>
                  <a:pt x="1643" y="86"/>
                  <a:pt x="1643" y="95"/>
                  <a:pt x="1643" y="104"/>
                </a:cubicBezTo>
                <a:close/>
                <a:moveTo>
                  <a:pt x="1666" y="81"/>
                </a:moveTo>
                <a:cubicBezTo>
                  <a:pt x="1666" y="74"/>
                  <a:pt x="1671" y="72"/>
                  <a:pt x="1677" y="77"/>
                </a:cubicBezTo>
                <a:cubicBezTo>
                  <a:pt x="1687" y="85"/>
                  <a:pt x="1698" y="93"/>
                  <a:pt x="1709" y="102"/>
                </a:cubicBezTo>
                <a:cubicBezTo>
                  <a:pt x="1715" y="106"/>
                  <a:pt x="1714" y="111"/>
                  <a:pt x="1707" y="111"/>
                </a:cubicBezTo>
                <a:cubicBezTo>
                  <a:pt x="1697" y="112"/>
                  <a:pt x="1688" y="113"/>
                  <a:pt x="1679" y="113"/>
                </a:cubicBezTo>
                <a:cubicBezTo>
                  <a:pt x="1672" y="114"/>
                  <a:pt x="1666" y="109"/>
                  <a:pt x="1666" y="101"/>
                </a:cubicBezTo>
                <a:cubicBezTo>
                  <a:pt x="1666" y="95"/>
                  <a:pt x="1666" y="88"/>
                  <a:pt x="1666" y="81"/>
                </a:cubicBezTo>
                <a:close/>
                <a:moveTo>
                  <a:pt x="1678" y="216"/>
                </a:moveTo>
                <a:cubicBezTo>
                  <a:pt x="1671" y="218"/>
                  <a:pt x="1666" y="213"/>
                  <a:pt x="1666" y="206"/>
                </a:cubicBezTo>
                <a:cubicBezTo>
                  <a:pt x="1666" y="188"/>
                  <a:pt x="1666" y="169"/>
                  <a:pt x="1666" y="151"/>
                </a:cubicBezTo>
                <a:cubicBezTo>
                  <a:pt x="1666" y="143"/>
                  <a:pt x="1672" y="137"/>
                  <a:pt x="1679" y="137"/>
                </a:cubicBezTo>
                <a:cubicBezTo>
                  <a:pt x="1697" y="135"/>
                  <a:pt x="1715" y="134"/>
                  <a:pt x="1734" y="132"/>
                </a:cubicBezTo>
                <a:cubicBezTo>
                  <a:pt x="1741" y="132"/>
                  <a:pt x="1751" y="135"/>
                  <a:pt x="1757" y="140"/>
                </a:cubicBezTo>
                <a:cubicBezTo>
                  <a:pt x="1772" y="151"/>
                  <a:pt x="1786" y="163"/>
                  <a:pt x="1801" y="174"/>
                </a:cubicBezTo>
                <a:cubicBezTo>
                  <a:pt x="1806" y="179"/>
                  <a:pt x="1806" y="184"/>
                  <a:pt x="1799" y="186"/>
                </a:cubicBezTo>
                <a:cubicBezTo>
                  <a:pt x="1759" y="195"/>
                  <a:pt x="1718" y="206"/>
                  <a:pt x="1678" y="216"/>
                </a:cubicBezTo>
                <a:close/>
                <a:moveTo>
                  <a:pt x="1921" y="230"/>
                </a:moveTo>
                <a:cubicBezTo>
                  <a:pt x="1921" y="238"/>
                  <a:pt x="1916" y="240"/>
                  <a:pt x="1910" y="235"/>
                </a:cubicBezTo>
                <a:cubicBezTo>
                  <a:pt x="1897" y="224"/>
                  <a:pt x="1884" y="214"/>
                  <a:pt x="1871" y="204"/>
                </a:cubicBezTo>
                <a:cubicBezTo>
                  <a:pt x="1866" y="199"/>
                  <a:pt x="1866" y="194"/>
                  <a:pt x="1873" y="192"/>
                </a:cubicBezTo>
                <a:cubicBezTo>
                  <a:pt x="1885" y="190"/>
                  <a:pt x="1897" y="187"/>
                  <a:pt x="1908" y="184"/>
                </a:cubicBezTo>
                <a:cubicBezTo>
                  <a:pt x="1915" y="183"/>
                  <a:pt x="1921" y="187"/>
                  <a:pt x="1921" y="195"/>
                </a:cubicBezTo>
                <a:cubicBezTo>
                  <a:pt x="1921" y="207"/>
                  <a:pt x="1921" y="218"/>
                  <a:pt x="1921" y="230"/>
                </a:cubicBezTo>
                <a:close/>
                <a:moveTo>
                  <a:pt x="1921" y="144"/>
                </a:moveTo>
                <a:cubicBezTo>
                  <a:pt x="1921" y="152"/>
                  <a:pt x="1915" y="159"/>
                  <a:pt x="1908" y="160"/>
                </a:cubicBezTo>
                <a:cubicBezTo>
                  <a:pt x="1889" y="165"/>
                  <a:pt x="1869" y="169"/>
                  <a:pt x="1850" y="174"/>
                </a:cubicBezTo>
                <a:cubicBezTo>
                  <a:pt x="1843" y="175"/>
                  <a:pt x="1833" y="173"/>
                  <a:pt x="1827" y="168"/>
                </a:cubicBezTo>
                <a:cubicBezTo>
                  <a:pt x="1814" y="158"/>
                  <a:pt x="1802" y="148"/>
                  <a:pt x="1789" y="138"/>
                </a:cubicBezTo>
                <a:cubicBezTo>
                  <a:pt x="1783" y="133"/>
                  <a:pt x="1784" y="129"/>
                  <a:pt x="1791" y="128"/>
                </a:cubicBezTo>
                <a:cubicBezTo>
                  <a:pt x="1830" y="126"/>
                  <a:pt x="1869" y="124"/>
                  <a:pt x="1908" y="122"/>
                </a:cubicBezTo>
                <a:cubicBezTo>
                  <a:pt x="1915" y="122"/>
                  <a:pt x="1921" y="127"/>
                  <a:pt x="1921" y="135"/>
                </a:cubicBezTo>
                <a:cubicBezTo>
                  <a:pt x="1921" y="138"/>
                  <a:pt x="1921" y="141"/>
                  <a:pt x="1921" y="144"/>
                </a:cubicBezTo>
                <a:close/>
                <a:moveTo>
                  <a:pt x="1921" y="87"/>
                </a:moveTo>
                <a:cubicBezTo>
                  <a:pt x="1921" y="93"/>
                  <a:pt x="1915" y="99"/>
                  <a:pt x="1908" y="99"/>
                </a:cubicBezTo>
                <a:cubicBezTo>
                  <a:pt x="1860" y="101"/>
                  <a:pt x="1812" y="104"/>
                  <a:pt x="1764" y="107"/>
                </a:cubicBezTo>
                <a:cubicBezTo>
                  <a:pt x="1757" y="108"/>
                  <a:pt x="1747" y="104"/>
                  <a:pt x="1741" y="99"/>
                </a:cubicBezTo>
                <a:cubicBezTo>
                  <a:pt x="1723" y="85"/>
                  <a:pt x="1704" y="71"/>
                  <a:pt x="1686" y="57"/>
                </a:cubicBezTo>
                <a:cubicBezTo>
                  <a:pt x="1680" y="52"/>
                  <a:pt x="1681" y="49"/>
                  <a:pt x="1689" y="50"/>
                </a:cubicBezTo>
                <a:cubicBezTo>
                  <a:pt x="1762" y="56"/>
                  <a:pt x="1835" y="64"/>
                  <a:pt x="1908" y="74"/>
                </a:cubicBezTo>
                <a:cubicBezTo>
                  <a:pt x="1915" y="74"/>
                  <a:pt x="1921" y="81"/>
                  <a:pt x="1921" y="87"/>
                </a:cubicBezTo>
                <a:close/>
                <a:moveTo>
                  <a:pt x="1943" y="88"/>
                </a:moveTo>
                <a:cubicBezTo>
                  <a:pt x="1943" y="83"/>
                  <a:pt x="1949" y="79"/>
                  <a:pt x="1956" y="80"/>
                </a:cubicBezTo>
                <a:cubicBezTo>
                  <a:pt x="1985" y="84"/>
                  <a:pt x="2014" y="88"/>
                  <a:pt x="2043" y="92"/>
                </a:cubicBezTo>
                <a:cubicBezTo>
                  <a:pt x="2050" y="93"/>
                  <a:pt x="2050" y="94"/>
                  <a:pt x="2043" y="95"/>
                </a:cubicBezTo>
                <a:cubicBezTo>
                  <a:pt x="2014" y="95"/>
                  <a:pt x="1985" y="96"/>
                  <a:pt x="1956" y="97"/>
                </a:cubicBezTo>
                <a:cubicBezTo>
                  <a:pt x="1949" y="97"/>
                  <a:pt x="1943" y="93"/>
                  <a:pt x="1943" y="88"/>
                </a:cubicBezTo>
                <a:close/>
                <a:moveTo>
                  <a:pt x="1943" y="134"/>
                </a:moveTo>
                <a:cubicBezTo>
                  <a:pt x="1943" y="127"/>
                  <a:pt x="1949" y="121"/>
                  <a:pt x="1956" y="120"/>
                </a:cubicBezTo>
                <a:cubicBezTo>
                  <a:pt x="2006" y="118"/>
                  <a:pt x="2056" y="117"/>
                  <a:pt x="2106" y="116"/>
                </a:cubicBezTo>
                <a:cubicBezTo>
                  <a:pt x="2113" y="116"/>
                  <a:pt x="2113" y="117"/>
                  <a:pt x="2106" y="119"/>
                </a:cubicBezTo>
                <a:cubicBezTo>
                  <a:pt x="2056" y="128"/>
                  <a:pt x="2006" y="139"/>
                  <a:pt x="1955" y="150"/>
                </a:cubicBezTo>
                <a:cubicBezTo>
                  <a:pt x="1948" y="151"/>
                  <a:pt x="1943" y="147"/>
                  <a:pt x="1943" y="140"/>
                </a:cubicBezTo>
                <a:cubicBezTo>
                  <a:pt x="1943" y="138"/>
                  <a:pt x="1943" y="136"/>
                  <a:pt x="1943" y="134"/>
                </a:cubicBezTo>
                <a:close/>
                <a:moveTo>
                  <a:pt x="1953" y="238"/>
                </a:moveTo>
                <a:cubicBezTo>
                  <a:pt x="1948" y="241"/>
                  <a:pt x="1943" y="238"/>
                  <a:pt x="1943" y="231"/>
                </a:cubicBezTo>
                <a:cubicBezTo>
                  <a:pt x="1943" y="217"/>
                  <a:pt x="1943" y="203"/>
                  <a:pt x="1943" y="189"/>
                </a:cubicBezTo>
                <a:cubicBezTo>
                  <a:pt x="1943" y="182"/>
                  <a:pt x="1948" y="175"/>
                  <a:pt x="1955" y="174"/>
                </a:cubicBezTo>
                <a:cubicBezTo>
                  <a:pt x="2008" y="162"/>
                  <a:pt x="2060" y="152"/>
                  <a:pt x="2112" y="142"/>
                </a:cubicBezTo>
                <a:cubicBezTo>
                  <a:pt x="2119" y="140"/>
                  <a:pt x="2120" y="142"/>
                  <a:pt x="2114" y="145"/>
                </a:cubicBezTo>
                <a:cubicBezTo>
                  <a:pt x="2061" y="175"/>
                  <a:pt x="2007" y="206"/>
                  <a:pt x="1953" y="238"/>
                </a:cubicBezTo>
                <a:close/>
              </a:path>
            </a:pathLst>
          </a:custGeom>
          <a:solidFill>
            <a:schemeClr val="tx1">
              <a:alpha val="16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17203014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241718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5842409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33433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9474352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36352378"/>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accent2"/>
                    </a:gs>
                    <a:gs pos="100000">
                      <a:schemeClr val="accent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8056685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71520630"/>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accent2"/>
                    </a:gs>
                    <a:gs pos="100000">
                      <a:schemeClr val="accent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9742309"/>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28733048"/>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accent2"/>
                    </a:gs>
                    <a:gs pos="100000">
                      <a:schemeClr val="accent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accent2"/>
                    </a:gs>
                    <a:gs pos="0">
                      <a:schemeClr val="accent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1723563"/>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1516216"/>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accent2"/>
                    </a:gs>
                    <a:gs pos="100000">
                      <a:schemeClr val="accent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accent2"/>
                    </a:gs>
                    <a:gs pos="100000">
                      <a:schemeClr val="accent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8303328"/>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0739397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63179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Tree>
    <p:extLst>
      <p:ext uri="{BB962C8B-B14F-4D97-AF65-F5344CB8AC3E}">
        <p14:creationId xmlns:p14="http://schemas.microsoft.com/office/powerpoint/2010/main" val="4107373962"/>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1738782694"/>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33527188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182494267"/>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0510591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503434358"/>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894608571"/>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39297945"/>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33554585"/>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4495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25830023"/>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36699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21732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626859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0"/>
            <a:ext cx="11151917" cy="746879"/>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799"/>
            <a:ext cx="11151917" cy="1128258"/>
          </a:xfrm>
        </p:spPr>
        <p:txBody>
          <a:bodyPr/>
          <a:lstStyle>
            <a:lvl1pPr marL="0" indent="0">
              <a:spcBef>
                <a:spcPts val="0"/>
              </a:spcBef>
              <a:spcAft>
                <a:spcPts val="900"/>
              </a:spcAft>
              <a:buNone/>
              <a:defRPr sz="4019" spc="-100" baseline="0">
                <a:latin typeface="Segoe UI Light" pitchFamily="34" charset="0"/>
              </a:defRPr>
            </a:lvl1pPr>
            <a:lvl2pPr marL="0" indent="0">
              <a:spcBef>
                <a:spcPts val="0"/>
              </a:spcBef>
              <a:spcAft>
                <a:spcPts val="400"/>
              </a:spcAft>
              <a:buNone/>
              <a:defRPr sz="1961" spc="-50" baseline="0"/>
            </a:lvl2pPr>
            <a:lvl3pPr marL="0" indent="0">
              <a:spcBef>
                <a:spcPts val="0"/>
              </a:spcBef>
              <a:spcAft>
                <a:spcPts val="400"/>
              </a:spcAft>
              <a:buNone/>
              <a:defRPr sz="1961"/>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391670247"/>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2" y="2130427"/>
            <a:ext cx="10363199" cy="1470025"/>
          </a:xfrm>
        </p:spPr>
        <p:txBody>
          <a:bodyPr/>
          <a:lstStyle/>
          <a:p>
            <a:r>
              <a:rPr lang="en-US"/>
              <a:t>Click to edit Master title style</a:t>
            </a:r>
          </a:p>
        </p:txBody>
      </p:sp>
      <p:sp>
        <p:nvSpPr>
          <p:cNvPr id="3" name="Subtitle 2"/>
          <p:cNvSpPr>
            <a:spLocks noGrp="1"/>
          </p:cNvSpPr>
          <p:nvPr>
            <p:ph type="subTitle" idx="1"/>
          </p:nvPr>
        </p:nvSpPr>
        <p:spPr>
          <a:xfrm>
            <a:off x="1828801" y="3886200"/>
            <a:ext cx="8534400" cy="727700"/>
          </a:xfrm>
        </p:spPr>
        <p:txBody>
          <a:bodyPr/>
          <a:lstStyle>
            <a:lvl1pPr marL="0" indent="0" algn="ctr">
              <a:buNone/>
              <a:defRPr>
                <a:solidFill>
                  <a:schemeClr val="tx1">
                    <a:tint val="75000"/>
                  </a:schemeClr>
                </a:solidFill>
              </a:defRPr>
            </a:lvl1pPr>
            <a:lvl2pPr marL="609376" indent="0" algn="ctr">
              <a:buNone/>
              <a:defRPr>
                <a:solidFill>
                  <a:schemeClr val="tx1">
                    <a:tint val="75000"/>
                  </a:schemeClr>
                </a:solidFill>
              </a:defRPr>
            </a:lvl2pPr>
            <a:lvl3pPr marL="1218753" indent="0" algn="ctr">
              <a:buNone/>
              <a:defRPr>
                <a:solidFill>
                  <a:schemeClr val="tx1">
                    <a:tint val="75000"/>
                  </a:schemeClr>
                </a:solidFill>
              </a:defRPr>
            </a:lvl3pPr>
            <a:lvl4pPr marL="1828129" indent="0" algn="ctr">
              <a:buNone/>
              <a:defRPr>
                <a:solidFill>
                  <a:schemeClr val="tx1">
                    <a:tint val="75000"/>
                  </a:schemeClr>
                </a:solidFill>
              </a:defRPr>
            </a:lvl4pPr>
            <a:lvl5pPr marL="2437505" indent="0" algn="ctr">
              <a:buNone/>
              <a:defRPr>
                <a:solidFill>
                  <a:schemeClr val="tx1">
                    <a:tint val="75000"/>
                  </a:schemeClr>
                </a:solidFill>
              </a:defRPr>
            </a:lvl5pPr>
            <a:lvl6pPr marL="3046882" indent="0" algn="ctr">
              <a:buNone/>
              <a:defRPr>
                <a:solidFill>
                  <a:schemeClr val="tx1">
                    <a:tint val="75000"/>
                  </a:schemeClr>
                </a:solidFill>
              </a:defRPr>
            </a:lvl6pPr>
            <a:lvl7pPr marL="3656258" indent="0" algn="ctr">
              <a:buNone/>
              <a:defRPr>
                <a:solidFill>
                  <a:schemeClr val="tx1">
                    <a:tint val="75000"/>
                  </a:schemeClr>
                </a:solidFill>
              </a:defRPr>
            </a:lvl7pPr>
            <a:lvl8pPr marL="4265633" indent="0" algn="ctr">
              <a:buNone/>
              <a:defRPr>
                <a:solidFill>
                  <a:schemeClr val="tx1">
                    <a:tint val="75000"/>
                  </a:schemeClr>
                </a:solidFill>
              </a:defRPr>
            </a:lvl8pPr>
            <a:lvl9pPr marL="487501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0" y="6356352"/>
            <a:ext cx="2844800" cy="365125"/>
          </a:xfrm>
          <a:prstGeom prst="rect">
            <a:avLst/>
          </a:prstGeo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fld id="{1444068A-B0CA-4F3C-903F-80F1D76494BA}" type="datetimeFigureOut">
              <a:rPr kumimoji="0" lang="en-US" sz="1800" b="0"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l" defTabSz="914367" rtl="0" eaLnBrk="1" fontAlgn="auto" latinLnBrk="0" hangingPunct="1">
                <a:lnSpc>
                  <a:spcPct val="100000"/>
                </a:lnSpc>
                <a:spcBef>
                  <a:spcPts val="0"/>
                </a:spcBef>
                <a:spcAft>
                  <a:spcPts val="0"/>
                </a:spcAft>
                <a:buClrTx/>
                <a:buSzTx/>
                <a:buFontTx/>
                <a:buNone/>
                <a:tabLst/>
                <a:defRPr/>
              </a:pPr>
              <a:t>9/20/2016</a:t>
            </a:fld>
            <a:endParaRPr kumimoji="0" lang="en-US" sz="18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
        <p:nvSpPr>
          <p:cNvPr id="5" name="Footer Placeholder 4"/>
          <p:cNvSpPr>
            <a:spLocks noGrp="1"/>
          </p:cNvSpPr>
          <p:nvPr>
            <p:ph type="ftr" sz="quarter" idx="11"/>
          </p:nvPr>
        </p:nvSpPr>
        <p:spPr>
          <a:xfrm>
            <a:off x="4165600" y="6356352"/>
            <a:ext cx="3860801" cy="365125"/>
          </a:xfrm>
          <a:prstGeom prst="rect">
            <a:avLst/>
          </a:prstGeo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
        <p:nvSpPr>
          <p:cNvPr id="6" name="Slide Number Placeholder 5"/>
          <p:cNvSpPr>
            <a:spLocks noGrp="1"/>
          </p:cNvSpPr>
          <p:nvPr>
            <p:ph type="sldNum" sz="quarter" idx="12"/>
          </p:nvPr>
        </p:nvSpPr>
        <p:spPr>
          <a:xfrm>
            <a:off x="8737601" y="6356352"/>
            <a:ext cx="2844800" cy="365125"/>
          </a:xfrm>
          <a:prstGeom prst="rect">
            <a:avLst/>
          </a:prstGeo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fld id="{701E7D42-A4D6-4952-B574-12107F8FBC2E}" type="slidenum">
              <a:rPr kumimoji="0" lang="en-US" sz="1800" b="0"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l" defTabSz="914367"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Tree>
    <p:extLst>
      <p:ext uri="{BB962C8B-B14F-4D97-AF65-F5344CB8AC3E}">
        <p14:creationId xmlns:p14="http://schemas.microsoft.com/office/powerpoint/2010/main" val="3651228484"/>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7_Text Slide Full Magenta">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lumMod val="50000"/>
                  </a:schemeClr>
                </a:solidFill>
              </a:defRPr>
            </a:lvl1pPr>
          </a:lstStyle>
          <a:p>
            <a:r>
              <a:rPr lang="en-US"/>
              <a:t>Click to edit Master title style</a:t>
            </a:r>
          </a:p>
        </p:txBody>
      </p:sp>
      <p:sp>
        <p:nvSpPr>
          <p:cNvPr id="3" name="Slide Number Placeholder 2"/>
          <p:cNvSpPr>
            <a:spLocks noGrp="1"/>
          </p:cNvSpPr>
          <p:nvPr>
            <p:ph type="sldNum" sz="quarter" idx="10"/>
          </p:nvPr>
        </p:nvSpPr>
        <p:spPr>
          <a:xfrm>
            <a:off x="269238" y="6448425"/>
            <a:ext cx="452438" cy="273050"/>
          </a:xfrm>
          <a:prstGeom prst="rect">
            <a:avLst/>
          </a:prstGeo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fld id="{A71FF1B1-EC3B-294C-9558-D3EB467AF703}" type="slidenum">
              <a:rPr kumimoji="0" lang="en-US" sz="1800" b="0" i="0" u="none" strike="noStrike" kern="1200" cap="none" spc="0" normalizeH="0" baseline="0" noProof="0" smtClean="0">
                <a:ln>
                  <a:noFill/>
                </a:ln>
                <a:solidFill>
                  <a:srgbClr val="505050"/>
                </a:solidFill>
                <a:effectLst/>
                <a:uLnTx/>
                <a:uFillTx/>
                <a:latin typeface="Segoe UI"/>
                <a:ea typeface="+mn-ea"/>
                <a:cs typeface="+mn-cs"/>
              </a:rPr>
              <a:pPr marL="0" marR="0" lvl="0" indent="0" algn="l" defTabSz="914367"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 name="Content Placeholder 4"/>
          <p:cNvSpPr>
            <a:spLocks noGrp="1"/>
          </p:cNvSpPr>
          <p:nvPr>
            <p:ph sz="quarter" idx="11"/>
          </p:nvPr>
        </p:nvSpPr>
        <p:spPr>
          <a:xfrm>
            <a:off x="233904" y="1446382"/>
            <a:ext cx="11380577" cy="1484765"/>
          </a:xfrm>
        </p:spPr>
        <p:txBody>
          <a:bodyPr>
            <a:spAutoFit/>
          </a:bodyPr>
          <a:lstStyle>
            <a:lvl1pPr>
              <a:spcBef>
                <a:spcPts val="1200"/>
              </a:spcBef>
              <a:defRPr>
                <a:solidFill>
                  <a:schemeClr val="bg1">
                    <a:lumMod val="50000"/>
                  </a:schemeClr>
                </a:solidFill>
              </a:defRPr>
            </a:lvl1pPr>
            <a:lvl2pPr>
              <a:lnSpc>
                <a:spcPct val="100000"/>
              </a:lnSpc>
              <a:spcBef>
                <a:spcPts val="800"/>
              </a:spcBef>
              <a:defRPr>
                <a:solidFill>
                  <a:schemeClr val="bg1">
                    <a:lumMod val="50000"/>
                  </a:schemeClr>
                </a:solidFill>
              </a:defRPr>
            </a:lvl2pPr>
            <a:lvl3pPr marL="0" indent="0">
              <a:lnSpc>
                <a:spcPct val="100000"/>
              </a:lnSpc>
              <a:spcBef>
                <a:spcPts val="600"/>
              </a:spcBef>
              <a:defRPr sz="1400">
                <a:solidFill>
                  <a:schemeClr val="bg1">
                    <a:lumMod val="50000"/>
                  </a:schemeClr>
                </a:solidFill>
              </a:defRPr>
            </a:lvl3pPr>
            <a:lvl4pPr>
              <a:defRPr>
                <a:solidFill>
                  <a:schemeClr val="bg1">
                    <a:lumMod val="50000"/>
                  </a:schemeClr>
                </a:solidFill>
              </a:defRPr>
            </a:lvl4pPr>
            <a:lvl5pPr>
              <a:defRPr>
                <a:solidFill>
                  <a:schemeClr val="bg1">
                    <a:lumMod val="50000"/>
                  </a:schemeClr>
                </a:solidFill>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128200143"/>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userDrawn="1">
  <p:cSld name="Section Header">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6700" y="2026130"/>
            <a:ext cx="11639550" cy="2421692"/>
          </a:xfrm>
        </p:spPr>
        <p:txBody>
          <a:bodyPr anchor="t" anchorCtr="0">
            <a:noAutofit/>
          </a:bodyPr>
          <a:lstStyle>
            <a:lvl1pPr algn="l">
              <a:defRPr sz="8038">
                <a:solidFill>
                  <a:srgbClr val="FFFFFF"/>
                </a:solidFill>
              </a:defRPr>
            </a:lvl1pPr>
          </a:lstStyle>
          <a:p>
            <a:r>
              <a:rPr lang="en-US" dirty="0"/>
              <a:t>Click to edit title</a:t>
            </a:r>
            <a:br>
              <a:rPr lang="en-US" dirty="0"/>
            </a:br>
            <a:endParaRPr lang="en-US" dirty="0"/>
          </a:p>
        </p:txBody>
      </p:sp>
      <p:pic>
        <p:nvPicPr>
          <p:cNvPr id="4" name="Picture 3"/>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57551" y="4950224"/>
            <a:ext cx="11276899" cy="1415713"/>
          </a:xfrm>
          <a:prstGeom prst="rect">
            <a:avLst/>
          </a:prstGeom>
        </p:spPr>
      </p:pic>
    </p:spTree>
    <p:extLst>
      <p:ext uri="{BB962C8B-B14F-4D97-AF65-F5344CB8AC3E}">
        <p14:creationId xmlns:p14="http://schemas.microsoft.com/office/powerpoint/2010/main" val="23815933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4_Blue Tile Title">
    <p:spTree>
      <p:nvGrpSpPr>
        <p:cNvPr id="1" name=""/>
        <p:cNvGrpSpPr/>
        <p:nvPr/>
      </p:nvGrpSpPr>
      <p:grpSpPr>
        <a:xfrm>
          <a:off x="0" y="0"/>
          <a:ext cx="0" cy="0"/>
          <a:chOff x="0" y="0"/>
          <a:chExt cx="0" cy="0"/>
        </a:xfrm>
      </p:grpSpPr>
      <p:sp>
        <p:nvSpPr>
          <p:cNvPr id="2" name="TextBox 1"/>
          <p:cNvSpPr txBox="1"/>
          <p:nvPr userDrawn="1"/>
        </p:nvSpPr>
        <p:spPr>
          <a:xfrm>
            <a:off x="-1783512" y="-448276"/>
            <a:ext cx="896425" cy="896552"/>
          </a:xfrm>
          <a:prstGeom prst="rect">
            <a:avLst/>
          </a:prstGeom>
          <a:noFill/>
        </p:spPr>
        <p:txBody>
          <a:bodyPr wrap="none" lIns="179285" tIns="143428" rIns="179285" bIns="143428"/>
          <a:lstStyle/>
          <a:p>
            <a:pPr marL="0" marR="0" lvl="0" indent="0" algn="l" defTabSz="913949" rtl="0" eaLnBrk="1" fontAlgn="auto" latinLnBrk="0" hangingPunct="1">
              <a:lnSpc>
                <a:spcPct val="90000"/>
              </a:lnSpc>
              <a:spcBef>
                <a:spcPts val="0"/>
              </a:spcBef>
              <a:spcAft>
                <a:spcPts val="588"/>
              </a:spcAft>
              <a:buClrTx/>
              <a:buSzTx/>
              <a:buFontTx/>
              <a:buNone/>
              <a:tabLst/>
              <a:defRPr/>
            </a:pPr>
            <a:endParaRPr kumimoji="0" lang="en-US" sz="2353"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3" name="TextBox 2"/>
          <p:cNvSpPr txBox="1"/>
          <p:nvPr userDrawn="1"/>
        </p:nvSpPr>
        <p:spPr>
          <a:xfrm>
            <a:off x="15606507" y="-3195523"/>
            <a:ext cx="896425" cy="896552"/>
          </a:xfrm>
          <a:prstGeom prst="rect">
            <a:avLst/>
          </a:prstGeom>
          <a:noFill/>
        </p:spPr>
        <p:txBody>
          <a:bodyPr wrap="none" lIns="179285" tIns="143428" rIns="179285" bIns="143428"/>
          <a:lstStyle/>
          <a:p>
            <a:pPr marL="0" marR="0" lvl="0" indent="0" algn="l" defTabSz="913949" rtl="0" eaLnBrk="1" fontAlgn="auto" latinLnBrk="0" hangingPunct="1">
              <a:lnSpc>
                <a:spcPct val="90000"/>
              </a:lnSpc>
              <a:spcBef>
                <a:spcPts val="0"/>
              </a:spcBef>
              <a:spcAft>
                <a:spcPts val="588"/>
              </a:spcAft>
              <a:buClrTx/>
              <a:buSzTx/>
              <a:buFontTx/>
              <a:buNone/>
              <a:tabLst/>
              <a:defRPr/>
            </a:pPr>
            <a:endParaRPr kumimoji="0" lang="en-US" sz="2353"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443444561"/>
      </p:ext>
    </p:extLst>
  </p:cSld>
  <p:clrMapOvr>
    <a:masterClrMapping/>
  </p:clrMapOvr>
  <p:transition spd="slow">
    <p:wipe dir="r"/>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cSld name="빈 화면">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4663304"/>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49819" y="471123"/>
            <a:ext cx="2507467" cy="537211"/>
          </a:xfrm>
          <a:prstGeom prst="rect">
            <a:avLst/>
          </a:prstGeom>
        </p:spPr>
      </p:pic>
      <p:pic>
        <p:nvPicPr>
          <p:cNvPr id="6" name="Picture 2" descr="\\211.47.134.14\2014\Microsoft\0924_techdays korea 2014_구예진 B\로고\techday logo- gray 90.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978586" y="99421"/>
            <a:ext cx="1929777" cy="10695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25324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7007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1_Title Slide 3">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2">
            <a:extLst>
              <a:ext uri="{28A0092B-C50C-407E-A947-70E740481C1C}">
                <a14:useLocalDpi xmlns:a14="http://schemas.microsoft.com/office/drawing/2010/main" val="0"/>
              </a:ext>
            </a:extLst>
          </a:blip>
          <a:srcRect t="12682" r="18628" b="10323"/>
          <a:stretch/>
        </p:blipFill>
        <p:spPr>
          <a:xfrm>
            <a:off x="0" y="0"/>
            <a:ext cx="12192000" cy="6858001"/>
          </a:xfrm>
          <a:prstGeom prst="rect">
            <a:avLst/>
          </a:prstGeom>
        </p:spPr>
      </p:pic>
      <p:sp>
        <p:nvSpPr>
          <p:cNvPr id="18" name="Rectangle 17"/>
          <p:cNvSpPr/>
          <p:nvPr/>
        </p:nvSpPr>
        <p:spPr bwMode="gray">
          <a:xfrm>
            <a:off x="269239" y="2084172"/>
            <a:ext cx="6274974" cy="3586208"/>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1"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6274911"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9302" y="3880390"/>
            <a:ext cx="6274911"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a:t>Speaker Name</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449322" y="471125"/>
            <a:ext cx="1522404" cy="326166"/>
          </a:xfrm>
          <a:prstGeom prst="rect">
            <a:avLst/>
          </a:prstGeom>
        </p:spPr>
      </p:pic>
      <p:pic>
        <p:nvPicPr>
          <p:cNvPr id="10" name="Picture 2" descr="\\211.47.134.14\2014\Microsoft\0924_techdays korea 2014_구예진 B\로고\techday logo- gray 90.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978586" y="99421"/>
            <a:ext cx="1929777" cy="10695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491459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1_Title Slide 4">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6" y="0"/>
            <a:ext cx="12190269" cy="6857999"/>
          </a:xfrm>
          <a:prstGeom prst="rect">
            <a:avLst/>
          </a:prstGeom>
        </p:spPr>
      </p:pic>
      <p:sp>
        <p:nvSpPr>
          <p:cNvPr id="17" name="Rectangle 16"/>
          <p:cNvSpPr/>
          <p:nvPr/>
        </p:nvSpPr>
        <p:spPr bwMode="gray">
          <a:xfrm>
            <a:off x="269239" y="2084172"/>
            <a:ext cx="6274974" cy="3586208"/>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1"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6276530"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7683" y="3880390"/>
            <a:ext cx="6276530" cy="1789991"/>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449322" y="471125"/>
            <a:ext cx="1522404" cy="326166"/>
          </a:xfrm>
          <a:prstGeom prst="rect">
            <a:avLst/>
          </a:prstGeom>
        </p:spPr>
      </p:pic>
      <p:pic>
        <p:nvPicPr>
          <p:cNvPr id="10" name="Picture 2" descr="\\211.47.134.14\2014\Microsoft\0924_techdays korea 2014_구예진 B\로고\techday logo- gray 90.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978586" y="99421"/>
            <a:ext cx="1929777" cy="10695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54925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06" y="894"/>
            <a:ext cx="12188387" cy="6858973"/>
          </a:xfrm>
          <a:prstGeom prst="rect">
            <a:avLst/>
          </a:prstGeom>
        </p:spPr>
      </p:pic>
      <p:sp>
        <p:nvSpPr>
          <p:cNvPr id="17" name="Rectangle 16"/>
          <p:cNvSpPr/>
          <p:nvPr/>
        </p:nvSpPr>
        <p:spPr bwMode="gray">
          <a:xfrm>
            <a:off x="269239" y="2084172"/>
            <a:ext cx="7171399" cy="3586208"/>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1"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267683" y="3880390"/>
            <a:ext cx="7172955" cy="178999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ltLang="ko-KR"/>
              <a:t>Click to edit Master text styles</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pic>
        <p:nvPicPr>
          <p:cNvPr id="2050" name="Picture 2" descr="\\211.47.134.14\2014\Microsoft\0924_techdays korea 2014_구예진 B\로고\techdayskorea2014_logo.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236966" y="390456"/>
            <a:ext cx="1412998" cy="6380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14275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1_Title Slide 6">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t="13312" r="17641" b="16929"/>
          <a:stretch/>
        </p:blipFill>
        <p:spPr>
          <a:xfrm>
            <a:off x="0" y="0"/>
            <a:ext cx="12192000" cy="6857999"/>
          </a:xfrm>
          <a:prstGeom prst="rect">
            <a:avLst/>
          </a:prstGeom>
        </p:spPr>
      </p:pic>
      <p:sp>
        <p:nvSpPr>
          <p:cNvPr id="17" name="Rectangle 16"/>
          <p:cNvSpPr/>
          <p:nvPr/>
        </p:nvSpPr>
        <p:spPr bwMode="gray">
          <a:xfrm>
            <a:off x="269239" y="2084172"/>
            <a:ext cx="7171399" cy="3586208"/>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1"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7172955" cy="1794808"/>
          </a:xfrm>
          <a:noFill/>
        </p:spPr>
        <p:txBody>
          <a:bodyPr lIns="146304" tIns="91440" rIns="146304" bIns="91440" anchor="t" anchorCtr="0"/>
          <a:lstStyle>
            <a:lvl1pPr>
              <a:defRPr sz="5294"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7683" y="3869494"/>
            <a:ext cx="7172955" cy="1793104"/>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pic>
        <p:nvPicPr>
          <p:cNvPr id="8" name="Picture 2" descr="\\211.47.134.14\2014\Microsoft\0924_techdays korea 2014_구예진 B\로고\techday logo- gray 90.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978586" y="99421"/>
            <a:ext cx="1929777" cy="10695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391150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1_Title Slide 7">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l="3333" t="3333" r="4875" b="4875"/>
          <a:stretch/>
        </p:blipFill>
        <p:spPr>
          <a:xfrm>
            <a:off x="864" y="-1"/>
            <a:ext cx="12190272" cy="6858001"/>
          </a:xfrm>
          <a:prstGeom prst="rect">
            <a:avLst/>
          </a:prstGeom>
        </p:spPr>
      </p:pic>
      <p:sp>
        <p:nvSpPr>
          <p:cNvPr id="18" name="Rectangle 17"/>
          <p:cNvSpPr/>
          <p:nvPr/>
        </p:nvSpPr>
        <p:spPr bwMode="gray">
          <a:xfrm>
            <a:off x="269239" y="1187621"/>
            <a:ext cx="6274974" cy="3586208"/>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1"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1187621"/>
            <a:ext cx="6276530" cy="1793105"/>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2980724"/>
            <a:ext cx="6274974" cy="1793104"/>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39755287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1_Title Slide 8 ">
    <p:spTree>
      <p:nvGrpSpPr>
        <p:cNvPr id="1" name=""/>
        <p:cNvGrpSpPr/>
        <p:nvPr/>
      </p:nvGrpSpPr>
      <p:grpSpPr>
        <a:xfrm>
          <a:off x="0" y="0"/>
          <a:ext cx="0" cy="0"/>
          <a:chOff x="0" y="0"/>
          <a:chExt cx="0" cy="0"/>
        </a:xfrm>
      </p:grpSpPr>
      <p:pic>
        <p:nvPicPr>
          <p:cNvPr id="10" name="Picture 2"/>
          <p:cNvPicPr>
            <a:picLocks noChangeAspect="1" noChangeArrowheads="1"/>
          </p:cNvPicPr>
          <p:nvPr/>
        </p:nvPicPr>
        <p:blipFill>
          <a:blip r:embed="rId2">
            <a:extLst>
              <a:ext uri="{28A0092B-C50C-407E-A947-70E740481C1C}">
                <a14:useLocalDpi xmlns:a14="http://schemas.microsoft.com/office/drawing/2010/main"/>
              </a:ext>
            </a:extLst>
          </a:blip>
          <a:stretch>
            <a:fillRect/>
          </a:stretch>
        </p:blipFill>
        <p:spPr bwMode="auto">
          <a:xfrm>
            <a:off x="2358" y="7783"/>
            <a:ext cx="12187284" cy="6842434"/>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p:nvSpPr>
        <p:spPr bwMode="gray">
          <a:xfrm>
            <a:off x="269302" y="2084186"/>
            <a:ext cx="7171399" cy="4482746"/>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1"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9239" y="2084172"/>
            <a:ext cx="7171399" cy="2689656"/>
          </a:xfrm>
          <a:noFill/>
        </p:spPr>
        <p:txBody>
          <a:bodyPr lIns="146304" tIns="91440" rIns="146304" bIns="91440" anchor="t" anchorCtr="0"/>
          <a:lstStyle>
            <a:lvl1pPr>
              <a:defRPr sz="6470" spc="-98"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69240" y="4772271"/>
            <a:ext cx="7171399" cy="1794661"/>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24503519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3" name="Rectangle 2"/>
          <p:cNvSpPr/>
          <p:nvPr/>
        </p:nvSpPr>
        <p:spPr bwMode="auto">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1"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49819" y="471123"/>
            <a:ext cx="2507467" cy="537211"/>
          </a:xfrm>
          <a:prstGeom prst="rect">
            <a:avLst/>
          </a:prstGeom>
        </p:spPr>
      </p:pic>
      <p:sp>
        <p:nvSpPr>
          <p:cNvPr id="5" name="Text Placeholder 4"/>
          <p:cNvSpPr>
            <a:spLocks noGrp="1"/>
          </p:cNvSpPr>
          <p:nvPr>
            <p:ph type="body" sz="quarter" idx="12" hasCustomPrompt="1"/>
          </p:nvPr>
        </p:nvSpPr>
        <p:spPr>
          <a:xfrm>
            <a:off x="269302" y="3878574"/>
            <a:ext cx="8964186"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6" name="Picture 2" descr="\\211.47.134.14\2014\Microsoft\0924_techdays korea 2014_구예진 B\로고\techday logo- gray 90.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978586" y="99421"/>
            <a:ext cx="1929777" cy="10695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4831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31" y="0"/>
            <a:ext cx="12182534" cy="6857999"/>
          </a:xfrm>
          <a:prstGeom prst="rect">
            <a:avLst/>
          </a:prstGeom>
        </p:spPr>
      </p:pic>
      <p:sp>
        <p:nvSpPr>
          <p:cNvPr id="18" name="Rectangle 17"/>
          <p:cNvSpPr/>
          <p:nvPr/>
        </p:nvSpPr>
        <p:spPr bwMode="gray">
          <a:xfrm>
            <a:off x="269239" y="2084172"/>
            <a:ext cx="7171399" cy="3586208"/>
          </a:xfrm>
          <a:prstGeom prst="rect">
            <a:avLst/>
          </a:prstGeom>
          <a:solidFill>
            <a:schemeClr val="accent3">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1"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9302" y="3880390"/>
            <a:ext cx="7172955"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a:t>Speaker Name</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1537845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itle Slide 4">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6" y="0"/>
            <a:ext cx="12190269" cy="6857999"/>
          </a:xfrm>
          <a:prstGeom prst="rect">
            <a:avLst/>
          </a:prstGeom>
        </p:spPr>
      </p:pic>
      <p:sp>
        <p:nvSpPr>
          <p:cNvPr id="17" name="Rectangle 16"/>
          <p:cNvSpPr/>
          <p:nvPr/>
        </p:nvSpPr>
        <p:spPr bwMode="gray">
          <a:xfrm>
            <a:off x="269239" y="2084172"/>
            <a:ext cx="6274974" cy="3586208"/>
          </a:xfrm>
          <a:prstGeom prst="rect">
            <a:avLst/>
          </a:prstGeom>
          <a:solidFill>
            <a:schemeClr val="accent2">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1"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6276530"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7683" y="3880390"/>
            <a:ext cx="6276530" cy="1789991"/>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14517242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itle Slide 5">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screen">
            <a:extLst>
              <a:ext uri="{28A0092B-C50C-407E-A947-70E740481C1C}">
                <a14:useLocalDpi xmlns:a14="http://schemas.microsoft.com/office/drawing/2010/main"/>
              </a:ext>
            </a:extLst>
          </a:blip>
          <a:srcRect b="-1"/>
          <a:stretch/>
        </p:blipFill>
        <p:spPr bwMode="gray">
          <a:xfrm flipH="1">
            <a:off x="0" y="0"/>
            <a:ext cx="12192001" cy="6858000"/>
          </a:xfrm>
          <a:prstGeom prst="rect">
            <a:avLst/>
          </a:prstGeom>
        </p:spPr>
      </p:pic>
      <p:sp>
        <p:nvSpPr>
          <p:cNvPr id="17" name="Rectangle 16"/>
          <p:cNvSpPr/>
          <p:nvPr/>
        </p:nvSpPr>
        <p:spPr bwMode="gray">
          <a:xfrm>
            <a:off x="269239" y="2084172"/>
            <a:ext cx="7171399" cy="3586208"/>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1"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267683" y="3880390"/>
            <a:ext cx="7172955" cy="178999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ltLang="ko-KR"/>
              <a:t>Click to edit Master text styles</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449324" y="471125"/>
            <a:ext cx="1522399" cy="326166"/>
          </a:xfrm>
          <a:prstGeom prst="rect">
            <a:avLst/>
          </a:prstGeom>
        </p:spPr>
      </p:pic>
    </p:spTree>
    <p:extLst>
      <p:ext uri="{BB962C8B-B14F-4D97-AF65-F5344CB8AC3E}">
        <p14:creationId xmlns:p14="http://schemas.microsoft.com/office/powerpoint/2010/main" val="37832468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18797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062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le Slide 6">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t="13312" r="17641" b="16929"/>
          <a:stretch/>
        </p:blipFill>
        <p:spPr>
          <a:xfrm>
            <a:off x="0" y="0"/>
            <a:ext cx="12192000" cy="6857999"/>
          </a:xfrm>
          <a:prstGeom prst="rect">
            <a:avLst/>
          </a:prstGeom>
        </p:spPr>
      </p:pic>
      <p:sp>
        <p:nvSpPr>
          <p:cNvPr id="17" name="Rectangle 16"/>
          <p:cNvSpPr/>
          <p:nvPr/>
        </p:nvSpPr>
        <p:spPr bwMode="gray">
          <a:xfrm>
            <a:off x="269239" y="2084172"/>
            <a:ext cx="7171399" cy="3586208"/>
          </a:xfrm>
          <a:prstGeom prst="rect">
            <a:avLst/>
          </a:prstGeom>
          <a:solidFill>
            <a:schemeClr val="accent3">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1"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7172955" cy="1794808"/>
          </a:xfrm>
          <a:noFill/>
        </p:spPr>
        <p:txBody>
          <a:bodyPr lIns="146304" tIns="91440" rIns="146304" bIns="91440" anchor="t" anchorCtr="0"/>
          <a:lstStyle>
            <a:lvl1pPr>
              <a:defRPr sz="5294"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7683" y="3869494"/>
            <a:ext cx="7172955" cy="1793104"/>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1579801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itle Slide 7">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l="3333" t="3333" r="4875" b="4875"/>
          <a:stretch/>
        </p:blipFill>
        <p:spPr>
          <a:xfrm>
            <a:off x="864" y="-1"/>
            <a:ext cx="12190272" cy="6858001"/>
          </a:xfrm>
          <a:prstGeom prst="rect">
            <a:avLst/>
          </a:prstGeom>
        </p:spPr>
      </p:pic>
      <p:sp>
        <p:nvSpPr>
          <p:cNvPr id="18" name="Rectangle 17"/>
          <p:cNvSpPr/>
          <p:nvPr/>
        </p:nvSpPr>
        <p:spPr bwMode="gray">
          <a:xfrm>
            <a:off x="269239" y="1187621"/>
            <a:ext cx="6274974" cy="3586208"/>
          </a:xfrm>
          <a:prstGeom prst="rect">
            <a:avLst/>
          </a:prstGeom>
          <a:solidFill>
            <a:schemeClr val="accent2">
              <a:alpha val="8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1"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1187621"/>
            <a:ext cx="6276530" cy="1793105"/>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2980724"/>
            <a:ext cx="6274974" cy="1793104"/>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4064142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itle Slide 8 ">
    <p:spTree>
      <p:nvGrpSpPr>
        <p:cNvPr id="1" name=""/>
        <p:cNvGrpSpPr/>
        <p:nvPr/>
      </p:nvGrpSpPr>
      <p:grpSpPr>
        <a:xfrm>
          <a:off x="0" y="0"/>
          <a:ext cx="0" cy="0"/>
          <a:chOff x="0" y="0"/>
          <a:chExt cx="0" cy="0"/>
        </a:xfrm>
      </p:grpSpPr>
      <p:pic>
        <p:nvPicPr>
          <p:cNvPr id="10" name="Picture 2"/>
          <p:cNvPicPr>
            <a:picLocks noChangeAspect="1" noChangeArrowheads="1"/>
          </p:cNvPicPr>
          <p:nvPr/>
        </p:nvPicPr>
        <p:blipFill>
          <a:blip r:embed="rId2">
            <a:extLst>
              <a:ext uri="{28A0092B-C50C-407E-A947-70E740481C1C}">
                <a14:useLocalDpi xmlns:a14="http://schemas.microsoft.com/office/drawing/2010/main"/>
              </a:ext>
            </a:extLst>
          </a:blip>
          <a:stretch>
            <a:fillRect/>
          </a:stretch>
        </p:blipFill>
        <p:spPr bwMode="auto">
          <a:xfrm>
            <a:off x="2358" y="7783"/>
            <a:ext cx="12187284" cy="6842434"/>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p:nvSpPr>
        <p:spPr bwMode="gray">
          <a:xfrm>
            <a:off x="269302" y="2084186"/>
            <a:ext cx="7171399" cy="3586194"/>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1"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9239" y="2084173"/>
            <a:ext cx="7171399" cy="1793104"/>
          </a:xfrm>
          <a:noFill/>
        </p:spPr>
        <p:txBody>
          <a:bodyPr lIns="146304" tIns="91440" rIns="146304" bIns="91440" anchor="t" anchorCtr="0"/>
          <a:lstStyle>
            <a:lvl1pPr>
              <a:defRPr sz="5882" spc="-98"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69239" y="3877276"/>
            <a:ext cx="7171399" cy="1794661"/>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6537793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1"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6" name="Picture 2" descr="\\211.47.134.14\2014\Microsoft\0924_techdays korea 2014_구예진 B\로고\techday logo- gray 90.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78586" y="99421"/>
            <a:ext cx="1929777" cy="10695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40175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1"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Video title</a:t>
            </a:r>
          </a:p>
        </p:txBody>
      </p:sp>
      <p:pic>
        <p:nvPicPr>
          <p:cNvPr id="5" name="Picture 2" descr="\\211.47.134.14\2014\Microsoft\0924_techdays korea 2014_구예진 B\로고\techday logo- gray 90.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78586" y="99421"/>
            <a:ext cx="1929777" cy="10695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298600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275923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520972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444169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en-US" dirty="0"/>
          </a:p>
        </p:txBody>
      </p:sp>
      <p:pic>
        <p:nvPicPr>
          <p:cNvPr id="4" name="Picture 2" descr="\\211.47.134.14\2014\Microsoft\0924_techdays korea 2014_구예진 B\로고\techday logo- gray 90.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78586" y="99421"/>
            <a:ext cx="1929777" cy="10695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72213393"/>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en-US" dirty="0"/>
          </a:p>
        </p:txBody>
      </p:sp>
      <p:pic>
        <p:nvPicPr>
          <p:cNvPr id="4" name="Picture 2" descr="\\211.47.134.14\2014\Microsoft\0924_techdays korea 2014_구예진 B\로고\techday logo- gray 90.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78586" y="99421"/>
            <a:ext cx="1929777" cy="10695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1208607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7" y="2816940"/>
            <a:ext cx="11034444" cy="2387600"/>
          </a:xfrm>
        </p:spPr>
        <p:txBody>
          <a:bodyPr anchor="b">
            <a:noAutofit/>
          </a:bodyPr>
          <a:lstStyle>
            <a:lvl1pPr algn="l">
              <a:defRPr sz="23888">
                <a:solidFill>
                  <a:schemeClr val="bg1"/>
                </a:solidFill>
              </a:defRPr>
            </a:lvl1pPr>
          </a:lstStyle>
          <a:p>
            <a:r>
              <a:rPr lang="en-US" dirty="0"/>
              <a:t>web</a:t>
            </a:r>
          </a:p>
        </p:txBody>
      </p:sp>
    </p:spTree>
    <p:extLst>
      <p:ext uri="{BB962C8B-B14F-4D97-AF65-F5344CB8AC3E}">
        <p14:creationId xmlns:p14="http://schemas.microsoft.com/office/powerpoint/2010/main" val="3427693969"/>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제목 및 내용">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en-US" dirty="0"/>
          </a:p>
        </p:txBody>
      </p:sp>
      <p:sp>
        <p:nvSpPr>
          <p:cNvPr id="6" name="Title 5"/>
          <p:cNvSpPr>
            <a:spLocks noGrp="1"/>
          </p:cNvSpPr>
          <p:nvPr>
            <p:ph type="title"/>
          </p:nvPr>
        </p:nvSpPr>
        <p:spPr/>
        <p:txBody>
          <a:bodyPr/>
          <a:lstStyle/>
          <a:p>
            <a:r>
              <a:rPr lang="en-US" altLang="ko-KR"/>
              <a:t>Click to edit Master title style</a:t>
            </a:r>
            <a:endParaRPr lang="en-US"/>
          </a:p>
        </p:txBody>
      </p:sp>
    </p:spTree>
    <p:extLst>
      <p:ext uri="{BB962C8B-B14F-4D97-AF65-F5344CB8AC3E}">
        <p14:creationId xmlns:p14="http://schemas.microsoft.com/office/powerpoint/2010/main" val="978233335"/>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lvl1pPr>
              <a:defRPr>
                <a:gradFill>
                  <a:gsLst>
                    <a:gs pos="1250">
                      <a:schemeClr val="tx2"/>
                    </a:gs>
                    <a:gs pos="99000">
                      <a:schemeClr val="tx2"/>
                    </a:gs>
                  </a:gsLst>
                  <a:lin ang="5400000" scaled="0"/>
                </a:gradFill>
              </a:defRPr>
            </a:lvl1pPr>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en-US" dirty="0"/>
          </a:p>
        </p:txBody>
      </p:sp>
      <p:sp>
        <p:nvSpPr>
          <p:cNvPr id="6" name="Title 5"/>
          <p:cNvSpPr>
            <a:spLocks noGrp="1"/>
          </p:cNvSpPr>
          <p:nvPr>
            <p:ph type="title"/>
          </p:nvPr>
        </p:nvSpPr>
        <p:spPr/>
        <p:txBody>
          <a:bodyPr/>
          <a:lstStyle/>
          <a:p>
            <a:r>
              <a:rPr lang="en-US" altLang="ko-KR"/>
              <a:t>Click to edit Master title style</a:t>
            </a:r>
            <a:endParaRPr lang="en-US"/>
          </a:p>
        </p:txBody>
      </p:sp>
      <p:pic>
        <p:nvPicPr>
          <p:cNvPr id="5" name="Picture 2" descr="\\211.47.134.14\2014\Microsoft\0924_techdays korea 2014_구예진 B\로고\techday logo- gray 90.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78586" y="99421"/>
            <a:ext cx="1929777" cy="10695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95557450"/>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en-US" dirty="0"/>
          </a:p>
        </p:txBody>
      </p:sp>
    </p:spTree>
    <p:extLst>
      <p:ext uri="{BB962C8B-B14F-4D97-AF65-F5344CB8AC3E}">
        <p14:creationId xmlns:p14="http://schemas.microsoft.com/office/powerpoint/2010/main" val="2753521717"/>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en-US" dirty="0"/>
          </a:p>
        </p:txBody>
      </p:sp>
    </p:spTree>
    <p:extLst>
      <p:ext uri="{BB962C8B-B14F-4D97-AF65-F5344CB8AC3E}">
        <p14:creationId xmlns:p14="http://schemas.microsoft.com/office/powerpoint/2010/main" val="3243404349"/>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en-US" dirty="0"/>
          </a:p>
        </p:txBody>
      </p:sp>
    </p:spTree>
    <p:extLst>
      <p:ext uri="{BB962C8B-B14F-4D97-AF65-F5344CB8AC3E}">
        <p14:creationId xmlns:p14="http://schemas.microsoft.com/office/powerpoint/2010/main" val="2851546232"/>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en-US" dirty="0"/>
          </a:p>
        </p:txBody>
      </p:sp>
    </p:spTree>
    <p:extLst>
      <p:ext uri="{BB962C8B-B14F-4D97-AF65-F5344CB8AC3E}">
        <p14:creationId xmlns:p14="http://schemas.microsoft.com/office/powerpoint/2010/main" val="3194001184"/>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제목만">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a:t>Click to edit Master title style</a:t>
            </a:r>
            <a:endParaRPr lang="en-US"/>
          </a:p>
        </p:txBody>
      </p:sp>
      <p:pic>
        <p:nvPicPr>
          <p:cNvPr id="3" name="Picture 2" descr="\\211.47.134.14\2014\Microsoft\0924_techdays korea 2014_구예진 B\로고\techday logo- gray 90.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78586" y="99421"/>
            <a:ext cx="1929777" cy="10695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99617697"/>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빈 화면">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0346382"/>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pic>
        <p:nvPicPr>
          <p:cNvPr id="2" name="Picture 2" descr="\\211.47.134.14\2014\Microsoft\0924_techdays korea 2014_구예진 B\로고\techday logo- gray 90.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78586" y="99421"/>
            <a:ext cx="1929777" cy="10695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66920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35991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24551100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7"/>
            <a:ext cx="2743200" cy="365125"/>
          </a:xfrm>
          <a:prstGeom prst="rect">
            <a:avLst/>
          </a:prstGeom>
        </p:spPr>
        <p:txBody>
          <a:bodyPr/>
          <a:lstStyle/>
          <a:p>
            <a:pPr defTabSz="914367" latinLnBrk="0"/>
            <a:fld id="{0A164282-434E-41D4-9582-783D542A7B68}" type="slidenum">
              <a:rPr lang="en-US" sz="1765" smtClean="0">
                <a:solidFill>
                  <a:srgbClr val="505050"/>
                </a:solidFill>
              </a:rPr>
              <a:pPr defTabSz="914367" latinLnBrk="0"/>
              <a:t>‹#›</a:t>
            </a:fld>
            <a:endParaRPr lang="en-US" sz="1765">
              <a:solidFill>
                <a:srgbClr val="505050"/>
              </a:solidFill>
            </a:endParaRPr>
          </a:p>
        </p:txBody>
      </p:sp>
    </p:spTree>
    <p:extLst>
      <p:ext uri="{BB962C8B-B14F-4D97-AF65-F5344CB8AC3E}">
        <p14:creationId xmlns:p14="http://schemas.microsoft.com/office/powerpoint/2010/main" val="124643562"/>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99710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1"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726" indent="0">
              <a:buNone/>
              <a:defRPr>
                <a:gradFill>
                  <a:gsLst>
                    <a:gs pos="1250">
                      <a:srgbClr val="000000"/>
                    </a:gs>
                    <a:gs pos="100000">
                      <a:srgbClr val="000000"/>
                    </a:gs>
                  </a:gsLst>
                  <a:lin ang="5400000" scaled="0"/>
                </a:gradFill>
                <a:latin typeface="Segoe UI" pitchFamily="34" charset="0"/>
                <a:cs typeface="Segoe UI" pitchFamily="34" charset="0"/>
              </a:defRPr>
            </a:lvl2pPr>
            <a:lvl3pPr marL="57309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516"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29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en-US" dirty="0"/>
          </a:p>
        </p:txBody>
      </p:sp>
    </p:spTree>
    <p:extLst>
      <p:ext uri="{BB962C8B-B14F-4D97-AF65-F5344CB8AC3E}">
        <p14:creationId xmlns:p14="http://schemas.microsoft.com/office/powerpoint/2010/main" val="4045289098"/>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ltLang="ko-KR"/>
              <a:t>Click to edit Master title style</a:t>
            </a:r>
            <a:endParaRPr lang="en-US" dirty="0"/>
          </a:p>
        </p:txBody>
      </p:sp>
      <p:pic>
        <p:nvPicPr>
          <p:cNvPr id="3074" name="Picture 2" descr="\\211.47.134.14\2014\Microsoft\0924_techdays korea 2014_구예진 B\로고\techday logo - white Ver.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47692" y="82030"/>
            <a:ext cx="2069541" cy="11520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245520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ltLang="ko-KR"/>
              <a:t>Click to edit Master title style</a:t>
            </a:r>
            <a:endParaRPr lang="ko-KR" alt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ltLang="ko-KR"/>
              <a:t>Click to edit Master subtitle style</a:t>
            </a:r>
            <a:endParaRPr lang="ko-KR" alt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pPr marL="0" marR="0" lvl="0" indent="0" algn="l" defTabSz="914400" rtl="0" eaLnBrk="1" fontAlgn="auto" latinLnBrk="1" hangingPunct="1">
              <a:lnSpc>
                <a:spcPct val="100000"/>
              </a:lnSpc>
              <a:spcBef>
                <a:spcPts val="0"/>
              </a:spcBef>
              <a:spcAft>
                <a:spcPts val="0"/>
              </a:spcAft>
              <a:buClrTx/>
              <a:buSzTx/>
              <a:buFontTx/>
              <a:buNone/>
              <a:tabLst/>
              <a:defRPr/>
            </a:pPr>
            <a:fld id="{0E95E16D-752B-4FAA-8ADB-610870E68D02}" type="datetimeFigureOut">
              <a:rPr kumimoji="0" lang="ko-KR" altLang="en-US" sz="1800" b="0" i="0" u="none" strike="noStrike" kern="1200" cap="none" spc="0" normalizeH="0" baseline="0" noProof="0" smtClean="0">
                <a:ln>
                  <a:noFill/>
                </a:ln>
                <a:solidFill>
                  <a:srgbClr val="505050"/>
                </a:solidFill>
                <a:effectLst/>
                <a:uLnTx/>
                <a:uFillTx/>
                <a:latin typeface="Segoe UI"/>
                <a:ea typeface="+mn-ea"/>
                <a:cs typeface="+mn-cs"/>
              </a:rPr>
              <a:pPr marL="0" marR="0" lvl="0" indent="0" algn="l" defTabSz="914400" rtl="0" eaLnBrk="1" fontAlgn="auto" latinLnBrk="1" hangingPunct="1">
                <a:lnSpc>
                  <a:spcPct val="100000"/>
                </a:lnSpc>
                <a:spcBef>
                  <a:spcPts val="0"/>
                </a:spcBef>
                <a:spcAft>
                  <a:spcPts val="0"/>
                </a:spcAft>
                <a:buClrTx/>
                <a:buSzTx/>
                <a:buFontTx/>
                <a:buNone/>
                <a:tabLst/>
                <a:defRPr/>
              </a:pPr>
              <a:t>2016-09-20</a:t>
            </a:fld>
            <a:endParaRPr kumimoji="0" lang="ko-KR" alt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pPr marL="0" marR="0" lvl="0" indent="0" algn="l" defTabSz="914400" rtl="0" eaLnBrk="1" fontAlgn="auto" latinLnBrk="1" hangingPunct="1">
              <a:lnSpc>
                <a:spcPct val="100000"/>
              </a:lnSpc>
              <a:spcBef>
                <a:spcPts val="0"/>
              </a:spcBef>
              <a:spcAft>
                <a:spcPts val="0"/>
              </a:spcAft>
              <a:buClrTx/>
              <a:buSzTx/>
              <a:buFontTx/>
              <a:buNone/>
              <a:tabLst/>
              <a:defRPr/>
            </a:pPr>
            <a:fld id="{B194E7E1-DA4E-4185-BB25-F602B56F5F48}" type="slidenum">
              <a:rPr kumimoji="0" lang="ko-KR" altLang="en-US" sz="1800" b="0" i="0" u="none" strike="noStrike" kern="1200" cap="none" spc="0" normalizeH="0" baseline="0" noProof="0" smtClean="0">
                <a:ln>
                  <a:noFill/>
                </a:ln>
                <a:solidFill>
                  <a:srgbClr val="505050"/>
                </a:solidFill>
                <a:effectLst/>
                <a:uLnTx/>
                <a:uFillTx/>
                <a:latin typeface="Segoe UI"/>
                <a:ea typeface="+mn-ea"/>
                <a:cs typeface="+mn-cs"/>
              </a:rPr>
              <a:pPr marL="0" marR="0" lvl="0" indent="0" algn="l" defTabSz="914400" rtl="0" eaLnBrk="1" fontAlgn="auto" latinLnBrk="1" hangingPunct="1">
                <a:lnSpc>
                  <a:spcPct val="100000"/>
                </a:lnSpc>
                <a:spcBef>
                  <a:spcPts val="0"/>
                </a:spcBef>
                <a:spcAft>
                  <a:spcPts val="0"/>
                </a:spcAft>
                <a:buClrTx/>
                <a:buSzTx/>
                <a:buFontTx/>
                <a:buNone/>
                <a:tabLst/>
                <a:defRPr/>
              </a:pPr>
              <a:t>‹#›</a:t>
            </a:fld>
            <a:endParaRPr kumimoji="0" lang="ko-KR" altLang="en-US" sz="1800"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146617312"/>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Title Slide Photo">
    <p:bg>
      <p:bgPr>
        <a:solidFill>
          <a:srgbClr val="00B294"/>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5429545" y="0"/>
            <a:ext cx="6762455" cy="6858914"/>
          </a:xfrm>
          <a:prstGeom prst="rect">
            <a:avLst/>
          </a:prstGeom>
        </p:spPr>
      </p:pic>
      <p:sp>
        <p:nvSpPr>
          <p:cNvPr id="9" name="Title 1"/>
          <p:cNvSpPr>
            <a:spLocks noGrp="1"/>
          </p:cNvSpPr>
          <p:nvPr>
            <p:ph type="title" hasCustomPrompt="1"/>
          </p:nvPr>
        </p:nvSpPr>
        <p:spPr bwMode="ltGray">
          <a:xfrm>
            <a:off x="267683" y="2084173"/>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4146244"/>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13" name="Picture 12"/>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9430972" y="5060911"/>
            <a:ext cx="1196593" cy="436750"/>
          </a:xfrm>
          <a:prstGeom prst="rect">
            <a:avLst/>
          </a:prstGeom>
        </p:spPr>
      </p:pic>
      <p:pic>
        <p:nvPicPr>
          <p:cNvPr id="19" name="Picture 18"/>
          <p:cNvPicPr>
            <a:picLocks noChangeAspect="1"/>
          </p:cNvPicPr>
          <p:nvPr userDrawn="1"/>
        </p:nvPicPr>
        <p:blipFill>
          <a:blip r:embed="rId4" cstate="print">
            <a:lum bright="70000" contrast="-70000"/>
            <a:extLst>
              <a:ext uri="{BEBA8EAE-BF5A-486C-A8C5-ECC9F3942E4B}">
                <a14:imgProps xmlns:a14="http://schemas.microsoft.com/office/drawing/2010/main">
                  <a14:imgLayer r:embed="rId5">
                    <a14:imgEffect>
                      <a14:artisticPhotocopy/>
                    </a14:imgEffect>
                    <a14:imgEffect>
                      <a14:colorTemperature colorTemp="6625"/>
                    </a14:imgEffect>
                    <a14:imgEffect>
                      <a14:saturation sat="25000"/>
                    </a14:imgEffect>
                  </a14:imgLayer>
                </a14:imgProps>
              </a:ext>
              <a:ext uri="{28A0092B-C50C-407E-A947-70E740481C1C}">
                <a14:useLocalDpi xmlns:a14="http://schemas.microsoft.com/office/drawing/2010/main" val="0"/>
              </a:ext>
            </a:extLst>
          </a:blip>
          <a:stretch>
            <a:fillRect/>
          </a:stretch>
        </p:blipFill>
        <p:spPr>
          <a:xfrm>
            <a:off x="5915750" y="2140145"/>
            <a:ext cx="733926" cy="861876"/>
          </a:xfrm>
          <a:prstGeom prst="rect">
            <a:avLst/>
          </a:prstGeom>
        </p:spPr>
      </p:pic>
      <p:grpSp>
        <p:nvGrpSpPr>
          <p:cNvPr id="20" name="Group 19"/>
          <p:cNvGrpSpPr/>
          <p:nvPr userDrawn="1"/>
        </p:nvGrpSpPr>
        <p:grpSpPr>
          <a:xfrm>
            <a:off x="7031306" y="4681987"/>
            <a:ext cx="590250" cy="690610"/>
            <a:chOff x="1502342" y="238442"/>
            <a:chExt cx="1596433" cy="1867608"/>
          </a:xfrm>
          <a:solidFill>
            <a:schemeClr val="bg1"/>
          </a:solidFill>
        </p:grpSpPr>
        <p:sp>
          <p:nvSpPr>
            <p:cNvPr id="21" name="Freeform 25"/>
            <p:cNvSpPr>
              <a:spLocks noEditPoints="1"/>
            </p:cNvSpPr>
            <p:nvPr/>
          </p:nvSpPr>
          <p:spPr bwMode="auto">
            <a:xfrm>
              <a:off x="1502342" y="825623"/>
              <a:ext cx="1596433" cy="681218"/>
            </a:xfrm>
            <a:custGeom>
              <a:avLst/>
              <a:gdLst>
                <a:gd name="T0" fmla="*/ 574 w 618"/>
                <a:gd name="T1" fmla="*/ 0 h 264"/>
                <a:gd name="T2" fmla="*/ 530 w 618"/>
                <a:gd name="T3" fmla="*/ 45 h 264"/>
                <a:gd name="T4" fmla="*/ 530 w 618"/>
                <a:gd name="T5" fmla="*/ 219 h 264"/>
                <a:gd name="T6" fmla="*/ 574 w 618"/>
                <a:gd name="T7" fmla="*/ 264 h 264"/>
                <a:gd name="T8" fmla="*/ 618 w 618"/>
                <a:gd name="T9" fmla="*/ 219 h 264"/>
                <a:gd name="T10" fmla="*/ 618 w 618"/>
                <a:gd name="T11" fmla="*/ 45 h 264"/>
                <a:gd name="T12" fmla="*/ 574 w 618"/>
                <a:gd name="T13" fmla="*/ 0 h 264"/>
                <a:gd name="T14" fmla="*/ 44 w 618"/>
                <a:gd name="T15" fmla="*/ 0 h 264"/>
                <a:gd name="T16" fmla="*/ 0 w 618"/>
                <a:gd name="T17" fmla="*/ 45 h 264"/>
                <a:gd name="T18" fmla="*/ 0 w 618"/>
                <a:gd name="T19" fmla="*/ 219 h 264"/>
                <a:gd name="T20" fmla="*/ 44 w 618"/>
                <a:gd name="T21" fmla="*/ 264 h 264"/>
                <a:gd name="T22" fmla="*/ 88 w 618"/>
                <a:gd name="T23" fmla="*/ 219 h 264"/>
                <a:gd name="T24" fmla="*/ 88 w 618"/>
                <a:gd name="T25" fmla="*/ 45 h 264"/>
                <a:gd name="T26" fmla="*/ 44 w 618"/>
                <a:gd name="T27" fmla="*/ 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8" h="264">
                  <a:moveTo>
                    <a:pt x="574" y="0"/>
                  </a:moveTo>
                  <a:cubicBezTo>
                    <a:pt x="550" y="0"/>
                    <a:pt x="530" y="20"/>
                    <a:pt x="530" y="45"/>
                  </a:cubicBezTo>
                  <a:cubicBezTo>
                    <a:pt x="530" y="219"/>
                    <a:pt x="530" y="219"/>
                    <a:pt x="530" y="219"/>
                  </a:cubicBezTo>
                  <a:cubicBezTo>
                    <a:pt x="530" y="244"/>
                    <a:pt x="550" y="264"/>
                    <a:pt x="574" y="264"/>
                  </a:cubicBezTo>
                  <a:cubicBezTo>
                    <a:pt x="598" y="264"/>
                    <a:pt x="618" y="244"/>
                    <a:pt x="618" y="219"/>
                  </a:cubicBezTo>
                  <a:cubicBezTo>
                    <a:pt x="618" y="45"/>
                    <a:pt x="618" y="45"/>
                    <a:pt x="618" y="45"/>
                  </a:cubicBezTo>
                  <a:cubicBezTo>
                    <a:pt x="618" y="20"/>
                    <a:pt x="598" y="0"/>
                    <a:pt x="574" y="0"/>
                  </a:cubicBezTo>
                  <a:close/>
                  <a:moveTo>
                    <a:pt x="44" y="0"/>
                  </a:moveTo>
                  <a:cubicBezTo>
                    <a:pt x="20" y="0"/>
                    <a:pt x="0" y="20"/>
                    <a:pt x="0" y="45"/>
                  </a:cubicBezTo>
                  <a:cubicBezTo>
                    <a:pt x="0" y="219"/>
                    <a:pt x="0" y="219"/>
                    <a:pt x="0" y="219"/>
                  </a:cubicBezTo>
                  <a:cubicBezTo>
                    <a:pt x="0" y="244"/>
                    <a:pt x="20" y="264"/>
                    <a:pt x="44" y="264"/>
                  </a:cubicBezTo>
                  <a:cubicBezTo>
                    <a:pt x="68" y="264"/>
                    <a:pt x="88" y="244"/>
                    <a:pt x="88" y="219"/>
                  </a:cubicBezTo>
                  <a:cubicBezTo>
                    <a:pt x="88" y="45"/>
                    <a:pt x="88" y="45"/>
                    <a:pt x="88" y="45"/>
                  </a:cubicBezTo>
                  <a:cubicBezTo>
                    <a:pt x="88" y="20"/>
                    <a:pt x="68" y="0"/>
                    <a:pt x="44" y="0"/>
                  </a:cubicBezTo>
                  <a:close/>
                </a:path>
              </a:pathLst>
            </a:custGeom>
            <a:grpFill/>
            <a:ln>
              <a:noFill/>
            </a:ln>
            <a:effectLs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2" name="Freeform 26"/>
            <p:cNvSpPr>
              <a:spLocks/>
            </p:cNvSpPr>
            <p:nvPr/>
          </p:nvSpPr>
          <p:spPr bwMode="auto">
            <a:xfrm>
              <a:off x="1798666" y="827810"/>
              <a:ext cx="1008158" cy="1278240"/>
            </a:xfrm>
            <a:custGeom>
              <a:avLst/>
              <a:gdLst>
                <a:gd name="T0" fmla="*/ 0 w 390"/>
                <a:gd name="T1" fmla="*/ 0 h 495"/>
                <a:gd name="T2" fmla="*/ 0 w 390"/>
                <a:gd name="T3" fmla="*/ 319 h 495"/>
                <a:gd name="T4" fmla="*/ 34 w 390"/>
                <a:gd name="T5" fmla="*/ 353 h 495"/>
                <a:gd name="T6" fmla="*/ 73 w 390"/>
                <a:gd name="T7" fmla="*/ 353 h 495"/>
                <a:gd name="T8" fmla="*/ 73 w 390"/>
                <a:gd name="T9" fmla="*/ 450 h 495"/>
                <a:gd name="T10" fmla="*/ 117 w 390"/>
                <a:gd name="T11" fmla="*/ 495 h 495"/>
                <a:gd name="T12" fmla="*/ 161 w 390"/>
                <a:gd name="T13" fmla="*/ 450 h 495"/>
                <a:gd name="T14" fmla="*/ 161 w 390"/>
                <a:gd name="T15" fmla="*/ 353 h 495"/>
                <a:gd name="T16" fmla="*/ 229 w 390"/>
                <a:gd name="T17" fmla="*/ 353 h 495"/>
                <a:gd name="T18" fmla="*/ 229 w 390"/>
                <a:gd name="T19" fmla="*/ 450 h 495"/>
                <a:gd name="T20" fmla="*/ 273 w 390"/>
                <a:gd name="T21" fmla="*/ 495 h 495"/>
                <a:gd name="T22" fmla="*/ 317 w 390"/>
                <a:gd name="T23" fmla="*/ 450 h 495"/>
                <a:gd name="T24" fmla="*/ 317 w 390"/>
                <a:gd name="T25" fmla="*/ 353 h 495"/>
                <a:gd name="T26" fmla="*/ 356 w 390"/>
                <a:gd name="T27" fmla="*/ 353 h 495"/>
                <a:gd name="T28" fmla="*/ 390 w 390"/>
                <a:gd name="T29" fmla="*/ 319 h 495"/>
                <a:gd name="T30" fmla="*/ 390 w 390"/>
                <a:gd name="T31" fmla="*/ 0 h 495"/>
                <a:gd name="T32" fmla="*/ 0 w 390"/>
                <a:gd name="T33" fmla="*/ 0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0" h="495">
                  <a:moveTo>
                    <a:pt x="0" y="0"/>
                  </a:moveTo>
                  <a:cubicBezTo>
                    <a:pt x="0" y="319"/>
                    <a:pt x="0" y="319"/>
                    <a:pt x="0" y="319"/>
                  </a:cubicBezTo>
                  <a:cubicBezTo>
                    <a:pt x="0" y="338"/>
                    <a:pt x="15" y="353"/>
                    <a:pt x="34" y="353"/>
                  </a:cubicBezTo>
                  <a:cubicBezTo>
                    <a:pt x="73" y="353"/>
                    <a:pt x="73" y="353"/>
                    <a:pt x="73" y="353"/>
                  </a:cubicBezTo>
                  <a:cubicBezTo>
                    <a:pt x="73" y="450"/>
                    <a:pt x="73" y="450"/>
                    <a:pt x="73" y="450"/>
                  </a:cubicBezTo>
                  <a:cubicBezTo>
                    <a:pt x="73" y="475"/>
                    <a:pt x="93" y="495"/>
                    <a:pt x="117" y="495"/>
                  </a:cubicBezTo>
                  <a:cubicBezTo>
                    <a:pt x="141" y="495"/>
                    <a:pt x="161" y="475"/>
                    <a:pt x="161" y="450"/>
                  </a:cubicBezTo>
                  <a:cubicBezTo>
                    <a:pt x="161" y="353"/>
                    <a:pt x="161" y="353"/>
                    <a:pt x="161" y="353"/>
                  </a:cubicBezTo>
                  <a:cubicBezTo>
                    <a:pt x="229" y="353"/>
                    <a:pt x="229" y="353"/>
                    <a:pt x="229" y="353"/>
                  </a:cubicBezTo>
                  <a:cubicBezTo>
                    <a:pt x="229" y="450"/>
                    <a:pt x="229" y="450"/>
                    <a:pt x="229" y="450"/>
                  </a:cubicBezTo>
                  <a:cubicBezTo>
                    <a:pt x="229" y="475"/>
                    <a:pt x="249" y="495"/>
                    <a:pt x="273" y="495"/>
                  </a:cubicBezTo>
                  <a:cubicBezTo>
                    <a:pt x="297" y="495"/>
                    <a:pt x="317" y="475"/>
                    <a:pt x="317" y="450"/>
                  </a:cubicBezTo>
                  <a:cubicBezTo>
                    <a:pt x="317" y="353"/>
                    <a:pt x="317" y="353"/>
                    <a:pt x="317" y="353"/>
                  </a:cubicBezTo>
                  <a:cubicBezTo>
                    <a:pt x="356" y="353"/>
                    <a:pt x="356" y="353"/>
                    <a:pt x="356" y="353"/>
                  </a:cubicBezTo>
                  <a:cubicBezTo>
                    <a:pt x="375" y="353"/>
                    <a:pt x="390" y="338"/>
                    <a:pt x="390" y="319"/>
                  </a:cubicBezTo>
                  <a:cubicBezTo>
                    <a:pt x="390" y="0"/>
                    <a:pt x="390" y="0"/>
                    <a:pt x="390" y="0"/>
                  </a:cubicBezTo>
                  <a:lnTo>
                    <a:pt x="0" y="0"/>
                  </a:lnTo>
                  <a:close/>
                </a:path>
              </a:pathLst>
            </a:custGeom>
            <a:grpFill/>
            <a:ln>
              <a:noFill/>
            </a:ln>
            <a:effectLs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3" name="Freeform 27"/>
            <p:cNvSpPr>
              <a:spLocks noEditPoints="1"/>
            </p:cNvSpPr>
            <p:nvPr/>
          </p:nvSpPr>
          <p:spPr bwMode="auto">
            <a:xfrm>
              <a:off x="1796479" y="238442"/>
              <a:ext cx="1007065" cy="517201"/>
            </a:xfrm>
            <a:custGeom>
              <a:avLst/>
              <a:gdLst>
                <a:gd name="T0" fmla="*/ 288 w 390"/>
                <a:gd name="T1" fmla="*/ 63 h 200"/>
                <a:gd name="T2" fmla="*/ 324 w 390"/>
                <a:gd name="T3" fmla="*/ 11 h 200"/>
                <a:gd name="T4" fmla="*/ 323 w 390"/>
                <a:gd name="T5" fmla="*/ 2 h 200"/>
                <a:gd name="T6" fmla="*/ 314 w 390"/>
                <a:gd name="T7" fmla="*/ 4 h 200"/>
                <a:gd name="T8" fmla="*/ 276 w 390"/>
                <a:gd name="T9" fmla="*/ 59 h 200"/>
                <a:gd name="T10" fmla="*/ 195 w 390"/>
                <a:gd name="T11" fmla="*/ 43 h 200"/>
                <a:gd name="T12" fmla="*/ 114 w 390"/>
                <a:gd name="T13" fmla="*/ 59 h 200"/>
                <a:gd name="T14" fmla="*/ 76 w 390"/>
                <a:gd name="T15" fmla="*/ 4 h 200"/>
                <a:gd name="T16" fmla="*/ 67 w 390"/>
                <a:gd name="T17" fmla="*/ 2 h 200"/>
                <a:gd name="T18" fmla="*/ 66 w 390"/>
                <a:gd name="T19" fmla="*/ 11 h 200"/>
                <a:gd name="T20" fmla="*/ 102 w 390"/>
                <a:gd name="T21" fmla="*/ 63 h 200"/>
                <a:gd name="T22" fmla="*/ 0 w 390"/>
                <a:gd name="T23" fmla="*/ 200 h 200"/>
                <a:gd name="T24" fmla="*/ 390 w 390"/>
                <a:gd name="T25" fmla="*/ 200 h 200"/>
                <a:gd name="T26" fmla="*/ 288 w 390"/>
                <a:gd name="T27" fmla="*/ 63 h 200"/>
                <a:gd name="T28" fmla="*/ 113 w 390"/>
                <a:gd name="T29" fmla="*/ 146 h 200"/>
                <a:gd name="T30" fmla="*/ 91 w 390"/>
                <a:gd name="T31" fmla="*/ 124 h 200"/>
                <a:gd name="T32" fmla="*/ 113 w 390"/>
                <a:gd name="T33" fmla="*/ 103 h 200"/>
                <a:gd name="T34" fmla="*/ 134 w 390"/>
                <a:gd name="T35" fmla="*/ 124 h 200"/>
                <a:gd name="T36" fmla="*/ 113 w 390"/>
                <a:gd name="T37" fmla="*/ 146 h 200"/>
                <a:gd name="T38" fmla="*/ 280 w 390"/>
                <a:gd name="T39" fmla="*/ 146 h 200"/>
                <a:gd name="T40" fmla="*/ 259 w 390"/>
                <a:gd name="T41" fmla="*/ 124 h 200"/>
                <a:gd name="T42" fmla="*/ 280 w 390"/>
                <a:gd name="T43" fmla="*/ 103 h 200"/>
                <a:gd name="T44" fmla="*/ 302 w 390"/>
                <a:gd name="T45" fmla="*/ 124 h 200"/>
                <a:gd name="T46" fmla="*/ 280 w 390"/>
                <a:gd name="T47" fmla="*/ 14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0" h="200">
                  <a:moveTo>
                    <a:pt x="288" y="63"/>
                  </a:moveTo>
                  <a:cubicBezTo>
                    <a:pt x="324" y="11"/>
                    <a:pt x="324" y="11"/>
                    <a:pt x="324" y="11"/>
                  </a:cubicBezTo>
                  <a:cubicBezTo>
                    <a:pt x="326" y="8"/>
                    <a:pt x="325" y="4"/>
                    <a:pt x="323" y="2"/>
                  </a:cubicBezTo>
                  <a:cubicBezTo>
                    <a:pt x="320" y="0"/>
                    <a:pt x="316" y="1"/>
                    <a:pt x="314" y="4"/>
                  </a:cubicBezTo>
                  <a:cubicBezTo>
                    <a:pt x="276" y="59"/>
                    <a:pt x="276" y="59"/>
                    <a:pt x="276" y="59"/>
                  </a:cubicBezTo>
                  <a:cubicBezTo>
                    <a:pt x="251" y="49"/>
                    <a:pt x="224" y="43"/>
                    <a:pt x="195" y="43"/>
                  </a:cubicBezTo>
                  <a:cubicBezTo>
                    <a:pt x="166" y="43"/>
                    <a:pt x="139" y="49"/>
                    <a:pt x="114" y="59"/>
                  </a:cubicBezTo>
                  <a:cubicBezTo>
                    <a:pt x="76" y="4"/>
                    <a:pt x="76" y="4"/>
                    <a:pt x="76" y="4"/>
                  </a:cubicBezTo>
                  <a:cubicBezTo>
                    <a:pt x="74" y="1"/>
                    <a:pt x="70" y="0"/>
                    <a:pt x="67" y="2"/>
                  </a:cubicBezTo>
                  <a:cubicBezTo>
                    <a:pt x="65" y="4"/>
                    <a:pt x="64" y="8"/>
                    <a:pt x="66" y="11"/>
                  </a:cubicBezTo>
                  <a:cubicBezTo>
                    <a:pt x="102" y="63"/>
                    <a:pt x="102" y="63"/>
                    <a:pt x="102" y="63"/>
                  </a:cubicBezTo>
                  <a:cubicBezTo>
                    <a:pt x="45" y="90"/>
                    <a:pt x="5" y="141"/>
                    <a:pt x="0" y="200"/>
                  </a:cubicBezTo>
                  <a:cubicBezTo>
                    <a:pt x="390" y="200"/>
                    <a:pt x="390" y="200"/>
                    <a:pt x="390" y="200"/>
                  </a:cubicBezTo>
                  <a:cubicBezTo>
                    <a:pt x="385" y="141"/>
                    <a:pt x="345" y="90"/>
                    <a:pt x="288" y="63"/>
                  </a:cubicBezTo>
                  <a:close/>
                  <a:moveTo>
                    <a:pt x="113" y="146"/>
                  </a:moveTo>
                  <a:cubicBezTo>
                    <a:pt x="101" y="146"/>
                    <a:pt x="91" y="136"/>
                    <a:pt x="91" y="124"/>
                  </a:cubicBezTo>
                  <a:cubicBezTo>
                    <a:pt x="91" y="113"/>
                    <a:pt x="101" y="103"/>
                    <a:pt x="113" y="103"/>
                  </a:cubicBezTo>
                  <a:cubicBezTo>
                    <a:pt x="125" y="103"/>
                    <a:pt x="134" y="113"/>
                    <a:pt x="134" y="124"/>
                  </a:cubicBezTo>
                  <a:cubicBezTo>
                    <a:pt x="134" y="136"/>
                    <a:pt x="125" y="146"/>
                    <a:pt x="113" y="146"/>
                  </a:cubicBezTo>
                  <a:close/>
                  <a:moveTo>
                    <a:pt x="280" y="146"/>
                  </a:moveTo>
                  <a:cubicBezTo>
                    <a:pt x="268" y="146"/>
                    <a:pt x="259" y="136"/>
                    <a:pt x="259" y="124"/>
                  </a:cubicBezTo>
                  <a:cubicBezTo>
                    <a:pt x="259" y="113"/>
                    <a:pt x="268" y="103"/>
                    <a:pt x="280" y="103"/>
                  </a:cubicBezTo>
                  <a:cubicBezTo>
                    <a:pt x="292" y="103"/>
                    <a:pt x="302" y="113"/>
                    <a:pt x="302" y="124"/>
                  </a:cubicBezTo>
                  <a:cubicBezTo>
                    <a:pt x="302" y="136"/>
                    <a:pt x="292" y="146"/>
                    <a:pt x="280" y="146"/>
                  </a:cubicBezTo>
                  <a:close/>
                </a:path>
              </a:pathLst>
            </a:custGeom>
            <a:grpFill/>
            <a:ln>
              <a:noFill/>
            </a:ln>
            <a:effectLs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25" name="Picture 24"/>
          <p:cNvPicPr>
            <a:picLocks noChangeAspect="1"/>
          </p:cNvPicPr>
          <p:nvPr userDrawn="1"/>
        </p:nvPicPr>
        <p:blipFill>
          <a:blip r:embed="rId6" cstate="print">
            <a:lum bright="70000" contrast="-70000"/>
            <a:extLst>
              <a:ext uri="{28A0092B-C50C-407E-A947-70E740481C1C}">
                <a14:useLocalDpi xmlns:a14="http://schemas.microsoft.com/office/drawing/2010/main" val="0"/>
              </a:ext>
            </a:extLst>
          </a:blip>
          <a:stretch>
            <a:fillRect/>
          </a:stretch>
        </p:blipFill>
        <p:spPr>
          <a:xfrm>
            <a:off x="11361314" y="2490367"/>
            <a:ext cx="448668" cy="549106"/>
          </a:xfrm>
          <a:prstGeom prst="rect">
            <a:avLst/>
          </a:prstGeom>
        </p:spPr>
      </p:pic>
      <p:pic>
        <p:nvPicPr>
          <p:cNvPr id="15" name="Picture 14"/>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gray">
          <a:xfrm>
            <a:off x="449322" y="471251"/>
            <a:ext cx="1522404" cy="326167"/>
          </a:xfrm>
          <a:prstGeom prst="rect">
            <a:avLst/>
          </a:prstGeom>
        </p:spPr>
      </p:pic>
      <p:sp>
        <p:nvSpPr>
          <p:cNvPr id="16" name="Freeform 15"/>
          <p:cNvSpPr>
            <a:spLocks noChangeAspect="1" noEditPoints="1"/>
          </p:cNvSpPr>
          <p:nvPr userDrawn="1"/>
        </p:nvSpPr>
        <p:spPr bwMode="auto">
          <a:xfrm>
            <a:off x="-342355" y="5928340"/>
            <a:ext cx="12876710" cy="1816774"/>
          </a:xfrm>
          <a:custGeom>
            <a:avLst/>
            <a:gdLst>
              <a:gd name="T0" fmla="*/ 1088 w 2202"/>
              <a:gd name="T1" fmla="*/ 0 h 277"/>
              <a:gd name="T2" fmla="*/ 261 w 2202"/>
              <a:gd name="T3" fmla="*/ 273 h 277"/>
              <a:gd name="T4" fmla="*/ 560 w 2202"/>
              <a:gd name="T5" fmla="*/ 241 h 277"/>
              <a:gd name="T6" fmla="*/ 886 w 2202"/>
              <a:gd name="T7" fmla="*/ 185 h 277"/>
              <a:gd name="T8" fmla="*/ 1315 w 2202"/>
              <a:gd name="T9" fmla="*/ 185 h 277"/>
              <a:gd name="T10" fmla="*/ 1642 w 2202"/>
              <a:gd name="T11" fmla="*/ 241 h 277"/>
              <a:gd name="T12" fmla="*/ 1941 w 2202"/>
              <a:gd name="T13" fmla="*/ 273 h 277"/>
              <a:gd name="T14" fmla="*/ 248 w 2202"/>
              <a:gd name="T15" fmla="*/ 238 h 277"/>
              <a:gd name="T16" fmla="*/ 258 w 2202"/>
              <a:gd name="T17" fmla="*/ 231 h 277"/>
              <a:gd name="T18" fmla="*/ 246 w 2202"/>
              <a:gd name="T19" fmla="*/ 120 h 277"/>
              <a:gd name="T20" fmla="*/ 158 w 2202"/>
              <a:gd name="T21" fmla="*/ 95 h 277"/>
              <a:gd name="T22" fmla="*/ 294 w 2202"/>
              <a:gd name="T23" fmla="*/ 74 h 277"/>
              <a:gd name="T24" fmla="*/ 294 w 2202"/>
              <a:gd name="T25" fmla="*/ 99 h 277"/>
              <a:gd name="T26" fmla="*/ 293 w 2202"/>
              <a:gd name="T27" fmla="*/ 184 h 277"/>
              <a:gd name="T28" fmla="*/ 351 w 2202"/>
              <a:gd name="T29" fmla="*/ 174 h 277"/>
              <a:gd name="T30" fmla="*/ 410 w 2202"/>
              <a:gd name="T31" fmla="*/ 129 h 277"/>
              <a:gd name="T32" fmla="*/ 402 w 2202"/>
              <a:gd name="T33" fmla="*/ 186 h 277"/>
              <a:gd name="T34" fmla="*/ 535 w 2202"/>
              <a:gd name="T35" fmla="*/ 151 h 277"/>
              <a:gd name="T36" fmla="*/ 492 w 2202"/>
              <a:gd name="T37" fmla="*/ 102 h 277"/>
              <a:gd name="T38" fmla="*/ 569 w 2202"/>
              <a:gd name="T39" fmla="*/ 71 h 277"/>
              <a:gd name="T40" fmla="*/ 558 w 2202"/>
              <a:gd name="T41" fmla="*/ 78 h 277"/>
              <a:gd name="T42" fmla="*/ 697 w 2202"/>
              <a:gd name="T43" fmla="*/ 153 h 277"/>
              <a:gd name="T44" fmla="*/ 764 w 2202"/>
              <a:gd name="T45" fmla="*/ 166 h 277"/>
              <a:gd name="T46" fmla="*/ 811 w 2202"/>
              <a:gd name="T47" fmla="*/ 101 h 277"/>
              <a:gd name="T48" fmla="*/ 700 w 2202"/>
              <a:gd name="T49" fmla="*/ 125 h 277"/>
              <a:gd name="T50" fmla="*/ 811 w 2202"/>
              <a:gd name="T51" fmla="*/ 101 h 277"/>
              <a:gd name="T52" fmla="*/ 846 w 2202"/>
              <a:gd name="T53" fmla="*/ 101 h 277"/>
              <a:gd name="T54" fmla="*/ 846 w 2202"/>
              <a:gd name="T55" fmla="*/ 171 h 277"/>
              <a:gd name="T56" fmla="*/ 879 w 2202"/>
              <a:gd name="T57" fmla="*/ 152 h 277"/>
              <a:gd name="T58" fmla="*/ 1020 w 2202"/>
              <a:gd name="T59" fmla="*/ 64 h 277"/>
              <a:gd name="T60" fmla="*/ 934 w 2202"/>
              <a:gd name="T61" fmla="*/ 151 h 277"/>
              <a:gd name="T62" fmla="*/ 1112 w 2202"/>
              <a:gd name="T63" fmla="*/ 172 h 277"/>
              <a:gd name="T64" fmla="*/ 1125 w 2202"/>
              <a:gd name="T65" fmla="*/ 183 h 277"/>
              <a:gd name="T66" fmla="*/ 1355 w 2202"/>
              <a:gd name="T67" fmla="*/ 171 h 277"/>
              <a:gd name="T68" fmla="*/ 1299 w 2202"/>
              <a:gd name="T69" fmla="*/ 146 h 277"/>
              <a:gd name="T70" fmla="*/ 1368 w 2202"/>
              <a:gd name="T71" fmla="*/ 92 h 277"/>
              <a:gd name="T72" fmla="*/ 1368 w 2202"/>
              <a:gd name="T73" fmla="*/ 41 h 277"/>
              <a:gd name="T74" fmla="*/ 1403 w 2202"/>
              <a:gd name="T75" fmla="*/ 164 h 277"/>
              <a:gd name="T76" fmla="*/ 1435 w 2202"/>
              <a:gd name="T77" fmla="*/ 131 h 277"/>
              <a:gd name="T78" fmla="*/ 1618 w 2202"/>
              <a:gd name="T79" fmla="*/ 43 h 277"/>
              <a:gd name="T80" fmla="*/ 1643 w 2202"/>
              <a:gd name="T81" fmla="*/ 204 h 277"/>
              <a:gd name="T82" fmla="*/ 1643 w 2202"/>
              <a:gd name="T83" fmla="*/ 152 h 277"/>
              <a:gd name="T84" fmla="*/ 1555 w 2202"/>
              <a:gd name="T85" fmla="*/ 119 h 277"/>
              <a:gd name="T86" fmla="*/ 1677 w 2202"/>
              <a:gd name="T87" fmla="*/ 77 h 277"/>
              <a:gd name="T88" fmla="*/ 1666 w 2202"/>
              <a:gd name="T89" fmla="*/ 81 h 277"/>
              <a:gd name="T90" fmla="*/ 1734 w 2202"/>
              <a:gd name="T91" fmla="*/ 132 h 277"/>
              <a:gd name="T92" fmla="*/ 1921 w 2202"/>
              <a:gd name="T93" fmla="*/ 230 h 277"/>
              <a:gd name="T94" fmla="*/ 1921 w 2202"/>
              <a:gd name="T95" fmla="*/ 195 h 277"/>
              <a:gd name="T96" fmla="*/ 1827 w 2202"/>
              <a:gd name="T97" fmla="*/ 168 h 277"/>
              <a:gd name="T98" fmla="*/ 1921 w 2202"/>
              <a:gd name="T99" fmla="*/ 144 h 277"/>
              <a:gd name="T100" fmla="*/ 1686 w 2202"/>
              <a:gd name="T101" fmla="*/ 57 h 277"/>
              <a:gd name="T102" fmla="*/ 1956 w 2202"/>
              <a:gd name="T103" fmla="*/ 80 h 277"/>
              <a:gd name="T104" fmla="*/ 1943 w 2202"/>
              <a:gd name="T105" fmla="*/ 134 h 277"/>
              <a:gd name="T106" fmla="*/ 1943 w 2202"/>
              <a:gd name="T107" fmla="*/ 140 h 277"/>
              <a:gd name="T108" fmla="*/ 1955 w 2202"/>
              <a:gd name="T109" fmla="*/ 17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02" h="277">
                <a:moveTo>
                  <a:pt x="2199" y="107"/>
                </a:moveTo>
                <a:cubicBezTo>
                  <a:pt x="2197" y="100"/>
                  <a:pt x="2190" y="93"/>
                  <a:pt x="2182" y="92"/>
                </a:cubicBezTo>
                <a:cubicBezTo>
                  <a:pt x="1829" y="31"/>
                  <a:pt x="1471" y="1"/>
                  <a:pt x="1114" y="0"/>
                </a:cubicBezTo>
                <a:cubicBezTo>
                  <a:pt x="1107" y="0"/>
                  <a:pt x="1101" y="0"/>
                  <a:pt x="1101" y="0"/>
                </a:cubicBezTo>
                <a:cubicBezTo>
                  <a:pt x="1101" y="0"/>
                  <a:pt x="1095" y="0"/>
                  <a:pt x="1088" y="0"/>
                </a:cubicBezTo>
                <a:cubicBezTo>
                  <a:pt x="730" y="1"/>
                  <a:pt x="373" y="31"/>
                  <a:pt x="19" y="92"/>
                </a:cubicBezTo>
                <a:cubicBezTo>
                  <a:pt x="12" y="93"/>
                  <a:pt x="5" y="100"/>
                  <a:pt x="3" y="107"/>
                </a:cubicBezTo>
                <a:cubicBezTo>
                  <a:pt x="2" y="108"/>
                  <a:pt x="2" y="109"/>
                  <a:pt x="2" y="110"/>
                </a:cubicBezTo>
                <a:cubicBezTo>
                  <a:pt x="0" y="117"/>
                  <a:pt x="3" y="126"/>
                  <a:pt x="9" y="129"/>
                </a:cubicBezTo>
                <a:cubicBezTo>
                  <a:pt x="92" y="175"/>
                  <a:pt x="176" y="224"/>
                  <a:pt x="261" y="273"/>
                </a:cubicBezTo>
                <a:cubicBezTo>
                  <a:pt x="266" y="277"/>
                  <a:pt x="276" y="276"/>
                  <a:pt x="282" y="271"/>
                </a:cubicBezTo>
                <a:cubicBezTo>
                  <a:pt x="307" y="250"/>
                  <a:pt x="332" y="230"/>
                  <a:pt x="357" y="210"/>
                </a:cubicBezTo>
                <a:cubicBezTo>
                  <a:pt x="362" y="205"/>
                  <a:pt x="373" y="203"/>
                  <a:pt x="379" y="204"/>
                </a:cubicBezTo>
                <a:cubicBezTo>
                  <a:pt x="431" y="217"/>
                  <a:pt x="483" y="229"/>
                  <a:pt x="535" y="243"/>
                </a:cubicBezTo>
                <a:cubicBezTo>
                  <a:pt x="542" y="245"/>
                  <a:pt x="553" y="244"/>
                  <a:pt x="560" y="241"/>
                </a:cubicBezTo>
                <a:cubicBezTo>
                  <a:pt x="612" y="218"/>
                  <a:pt x="664" y="196"/>
                  <a:pt x="717" y="175"/>
                </a:cubicBezTo>
                <a:cubicBezTo>
                  <a:pt x="724" y="172"/>
                  <a:pt x="734" y="173"/>
                  <a:pt x="740" y="177"/>
                </a:cubicBezTo>
                <a:cubicBezTo>
                  <a:pt x="764" y="192"/>
                  <a:pt x="788" y="208"/>
                  <a:pt x="812" y="223"/>
                </a:cubicBezTo>
                <a:cubicBezTo>
                  <a:pt x="818" y="227"/>
                  <a:pt x="827" y="227"/>
                  <a:pt x="833" y="222"/>
                </a:cubicBezTo>
                <a:cubicBezTo>
                  <a:pt x="851" y="210"/>
                  <a:pt x="868" y="197"/>
                  <a:pt x="886" y="185"/>
                </a:cubicBezTo>
                <a:cubicBezTo>
                  <a:pt x="892" y="181"/>
                  <a:pt x="903" y="178"/>
                  <a:pt x="910" y="179"/>
                </a:cubicBezTo>
                <a:cubicBezTo>
                  <a:pt x="969" y="188"/>
                  <a:pt x="1028" y="197"/>
                  <a:pt x="1088" y="208"/>
                </a:cubicBezTo>
                <a:cubicBezTo>
                  <a:pt x="1095" y="209"/>
                  <a:pt x="1107" y="209"/>
                  <a:pt x="1114" y="208"/>
                </a:cubicBezTo>
                <a:cubicBezTo>
                  <a:pt x="1173" y="197"/>
                  <a:pt x="1232" y="188"/>
                  <a:pt x="1292" y="179"/>
                </a:cubicBezTo>
                <a:cubicBezTo>
                  <a:pt x="1299" y="178"/>
                  <a:pt x="1309" y="181"/>
                  <a:pt x="1315" y="185"/>
                </a:cubicBezTo>
                <a:cubicBezTo>
                  <a:pt x="1333" y="197"/>
                  <a:pt x="1351" y="210"/>
                  <a:pt x="1368" y="222"/>
                </a:cubicBezTo>
                <a:cubicBezTo>
                  <a:pt x="1374" y="227"/>
                  <a:pt x="1384" y="227"/>
                  <a:pt x="1390" y="223"/>
                </a:cubicBezTo>
                <a:cubicBezTo>
                  <a:pt x="1414" y="208"/>
                  <a:pt x="1438" y="192"/>
                  <a:pt x="1462" y="177"/>
                </a:cubicBezTo>
                <a:cubicBezTo>
                  <a:pt x="1468" y="173"/>
                  <a:pt x="1478" y="172"/>
                  <a:pt x="1485" y="175"/>
                </a:cubicBezTo>
                <a:cubicBezTo>
                  <a:pt x="1537" y="196"/>
                  <a:pt x="1590" y="218"/>
                  <a:pt x="1642" y="241"/>
                </a:cubicBezTo>
                <a:cubicBezTo>
                  <a:pt x="1649" y="244"/>
                  <a:pt x="1660" y="245"/>
                  <a:pt x="1667" y="243"/>
                </a:cubicBezTo>
                <a:cubicBezTo>
                  <a:pt x="1719" y="229"/>
                  <a:pt x="1770" y="217"/>
                  <a:pt x="1822" y="204"/>
                </a:cubicBezTo>
                <a:cubicBezTo>
                  <a:pt x="1829" y="203"/>
                  <a:pt x="1839" y="205"/>
                  <a:pt x="1845" y="210"/>
                </a:cubicBezTo>
                <a:cubicBezTo>
                  <a:pt x="1870" y="230"/>
                  <a:pt x="1895" y="250"/>
                  <a:pt x="1920" y="271"/>
                </a:cubicBezTo>
                <a:cubicBezTo>
                  <a:pt x="1926" y="276"/>
                  <a:pt x="1935" y="277"/>
                  <a:pt x="1941" y="273"/>
                </a:cubicBezTo>
                <a:cubicBezTo>
                  <a:pt x="2025" y="224"/>
                  <a:pt x="2109" y="175"/>
                  <a:pt x="2193" y="129"/>
                </a:cubicBezTo>
                <a:cubicBezTo>
                  <a:pt x="2199" y="126"/>
                  <a:pt x="2202" y="117"/>
                  <a:pt x="2200" y="110"/>
                </a:cubicBezTo>
                <a:cubicBezTo>
                  <a:pt x="2199" y="109"/>
                  <a:pt x="2199" y="108"/>
                  <a:pt x="2199" y="107"/>
                </a:cubicBezTo>
                <a:close/>
                <a:moveTo>
                  <a:pt x="258" y="231"/>
                </a:moveTo>
                <a:cubicBezTo>
                  <a:pt x="258" y="238"/>
                  <a:pt x="254" y="241"/>
                  <a:pt x="248" y="238"/>
                </a:cubicBezTo>
                <a:cubicBezTo>
                  <a:pt x="194" y="206"/>
                  <a:pt x="141" y="175"/>
                  <a:pt x="87" y="145"/>
                </a:cubicBezTo>
                <a:cubicBezTo>
                  <a:pt x="81" y="142"/>
                  <a:pt x="82" y="140"/>
                  <a:pt x="89" y="142"/>
                </a:cubicBezTo>
                <a:cubicBezTo>
                  <a:pt x="141" y="152"/>
                  <a:pt x="194" y="162"/>
                  <a:pt x="246" y="174"/>
                </a:cubicBezTo>
                <a:cubicBezTo>
                  <a:pt x="253" y="175"/>
                  <a:pt x="258" y="182"/>
                  <a:pt x="258" y="190"/>
                </a:cubicBezTo>
                <a:cubicBezTo>
                  <a:pt x="258" y="203"/>
                  <a:pt x="258" y="217"/>
                  <a:pt x="258" y="231"/>
                </a:cubicBezTo>
                <a:close/>
                <a:moveTo>
                  <a:pt x="258" y="140"/>
                </a:moveTo>
                <a:cubicBezTo>
                  <a:pt x="258" y="147"/>
                  <a:pt x="253" y="151"/>
                  <a:pt x="246" y="150"/>
                </a:cubicBezTo>
                <a:cubicBezTo>
                  <a:pt x="196" y="139"/>
                  <a:pt x="145" y="129"/>
                  <a:pt x="95" y="119"/>
                </a:cubicBezTo>
                <a:cubicBezTo>
                  <a:pt x="88" y="117"/>
                  <a:pt x="88" y="116"/>
                  <a:pt x="95" y="117"/>
                </a:cubicBezTo>
                <a:cubicBezTo>
                  <a:pt x="145" y="117"/>
                  <a:pt x="195" y="118"/>
                  <a:pt x="246" y="120"/>
                </a:cubicBezTo>
                <a:cubicBezTo>
                  <a:pt x="253" y="121"/>
                  <a:pt x="258" y="127"/>
                  <a:pt x="258" y="134"/>
                </a:cubicBezTo>
                <a:cubicBezTo>
                  <a:pt x="258" y="136"/>
                  <a:pt x="258" y="138"/>
                  <a:pt x="258" y="140"/>
                </a:cubicBezTo>
                <a:close/>
                <a:moveTo>
                  <a:pt x="258" y="88"/>
                </a:moveTo>
                <a:cubicBezTo>
                  <a:pt x="258" y="93"/>
                  <a:pt x="253" y="97"/>
                  <a:pt x="246" y="97"/>
                </a:cubicBezTo>
                <a:cubicBezTo>
                  <a:pt x="216" y="96"/>
                  <a:pt x="187" y="95"/>
                  <a:pt x="158" y="95"/>
                </a:cubicBezTo>
                <a:cubicBezTo>
                  <a:pt x="151" y="94"/>
                  <a:pt x="151" y="93"/>
                  <a:pt x="158" y="92"/>
                </a:cubicBezTo>
                <a:cubicBezTo>
                  <a:pt x="187" y="88"/>
                  <a:pt x="216" y="84"/>
                  <a:pt x="245" y="80"/>
                </a:cubicBezTo>
                <a:cubicBezTo>
                  <a:pt x="253" y="79"/>
                  <a:pt x="258" y="83"/>
                  <a:pt x="258" y="88"/>
                </a:cubicBezTo>
                <a:close/>
                <a:moveTo>
                  <a:pt x="281" y="87"/>
                </a:moveTo>
                <a:cubicBezTo>
                  <a:pt x="281" y="81"/>
                  <a:pt x="287" y="75"/>
                  <a:pt x="294" y="74"/>
                </a:cubicBezTo>
                <a:cubicBezTo>
                  <a:pt x="367" y="64"/>
                  <a:pt x="440" y="56"/>
                  <a:pt x="513" y="50"/>
                </a:cubicBezTo>
                <a:cubicBezTo>
                  <a:pt x="520" y="49"/>
                  <a:pt x="521" y="52"/>
                  <a:pt x="515" y="57"/>
                </a:cubicBezTo>
                <a:cubicBezTo>
                  <a:pt x="497" y="71"/>
                  <a:pt x="479" y="85"/>
                  <a:pt x="460" y="100"/>
                </a:cubicBezTo>
                <a:cubicBezTo>
                  <a:pt x="454" y="104"/>
                  <a:pt x="444" y="108"/>
                  <a:pt x="437" y="107"/>
                </a:cubicBezTo>
                <a:cubicBezTo>
                  <a:pt x="389" y="104"/>
                  <a:pt x="341" y="101"/>
                  <a:pt x="294" y="99"/>
                </a:cubicBezTo>
                <a:cubicBezTo>
                  <a:pt x="287" y="99"/>
                  <a:pt x="281" y="94"/>
                  <a:pt x="281" y="87"/>
                </a:cubicBezTo>
                <a:close/>
                <a:moveTo>
                  <a:pt x="291" y="235"/>
                </a:moveTo>
                <a:cubicBezTo>
                  <a:pt x="286" y="240"/>
                  <a:pt x="281" y="238"/>
                  <a:pt x="281" y="230"/>
                </a:cubicBezTo>
                <a:cubicBezTo>
                  <a:pt x="281" y="218"/>
                  <a:pt x="281" y="207"/>
                  <a:pt x="281" y="195"/>
                </a:cubicBezTo>
                <a:cubicBezTo>
                  <a:pt x="281" y="187"/>
                  <a:pt x="286" y="183"/>
                  <a:pt x="293" y="184"/>
                </a:cubicBezTo>
                <a:cubicBezTo>
                  <a:pt x="305" y="187"/>
                  <a:pt x="316" y="190"/>
                  <a:pt x="328" y="192"/>
                </a:cubicBezTo>
                <a:cubicBezTo>
                  <a:pt x="335" y="194"/>
                  <a:pt x="335" y="199"/>
                  <a:pt x="330" y="204"/>
                </a:cubicBezTo>
                <a:cubicBezTo>
                  <a:pt x="317" y="214"/>
                  <a:pt x="304" y="224"/>
                  <a:pt x="291" y="235"/>
                </a:cubicBezTo>
                <a:close/>
                <a:moveTo>
                  <a:pt x="374" y="168"/>
                </a:moveTo>
                <a:cubicBezTo>
                  <a:pt x="368" y="173"/>
                  <a:pt x="358" y="175"/>
                  <a:pt x="351" y="174"/>
                </a:cubicBezTo>
                <a:cubicBezTo>
                  <a:pt x="332" y="169"/>
                  <a:pt x="312" y="165"/>
                  <a:pt x="293" y="160"/>
                </a:cubicBezTo>
                <a:cubicBezTo>
                  <a:pt x="286" y="159"/>
                  <a:pt x="281" y="152"/>
                  <a:pt x="281" y="144"/>
                </a:cubicBezTo>
                <a:cubicBezTo>
                  <a:pt x="281" y="141"/>
                  <a:pt x="281" y="138"/>
                  <a:pt x="281" y="135"/>
                </a:cubicBezTo>
                <a:cubicBezTo>
                  <a:pt x="281" y="127"/>
                  <a:pt x="287" y="122"/>
                  <a:pt x="294" y="122"/>
                </a:cubicBezTo>
                <a:cubicBezTo>
                  <a:pt x="332" y="124"/>
                  <a:pt x="371" y="126"/>
                  <a:pt x="410" y="129"/>
                </a:cubicBezTo>
                <a:cubicBezTo>
                  <a:pt x="417" y="129"/>
                  <a:pt x="418" y="133"/>
                  <a:pt x="412" y="138"/>
                </a:cubicBezTo>
                <a:cubicBezTo>
                  <a:pt x="399" y="148"/>
                  <a:pt x="387" y="158"/>
                  <a:pt x="374" y="168"/>
                </a:cubicBezTo>
                <a:close/>
                <a:moveTo>
                  <a:pt x="535" y="206"/>
                </a:moveTo>
                <a:cubicBezTo>
                  <a:pt x="535" y="213"/>
                  <a:pt x="530" y="218"/>
                  <a:pt x="523" y="216"/>
                </a:cubicBezTo>
                <a:cubicBezTo>
                  <a:pt x="483" y="206"/>
                  <a:pt x="442" y="195"/>
                  <a:pt x="402" y="186"/>
                </a:cubicBezTo>
                <a:cubicBezTo>
                  <a:pt x="395" y="184"/>
                  <a:pt x="395" y="179"/>
                  <a:pt x="401" y="174"/>
                </a:cubicBezTo>
                <a:cubicBezTo>
                  <a:pt x="415" y="163"/>
                  <a:pt x="430" y="151"/>
                  <a:pt x="444" y="140"/>
                </a:cubicBezTo>
                <a:cubicBezTo>
                  <a:pt x="450" y="135"/>
                  <a:pt x="461" y="132"/>
                  <a:pt x="468" y="132"/>
                </a:cubicBezTo>
                <a:cubicBezTo>
                  <a:pt x="486" y="134"/>
                  <a:pt x="504" y="135"/>
                  <a:pt x="523" y="137"/>
                </a:cubicBezTo>
                <a:cubicBezTo>
                  <a:pt x="530" y="137"/>
                  <a:pt x="535" y="143"/>
                  <a:pt x="535" y="151"/>
                </a:cubicBezTo>
                <a:cubicBezTo>
                  <a:pt x="535" y="169"/>
                  <a:pt x="535" y="188"/>
                  <a:pt x="535" y="206"/>
                </a:cubicBezTo>
                <a:close/>
                <a:moveTo>
                  <a:pt x="535" y="101"/>
                </a:moveTo>
                <a:cubicBezTo>
                  <a:pt x="535" y="109"/>
                  <a:pt x="530" y="114"/>
                  <a:pt x="523" y="113"/>
                </a:cubicBezTo>
                <a:cubicBezTo>
                  <a:pt x="513" y="113"/>
                  <a:pt x="504" y="112"/>
                  <a:pt x="494" y="111"/>
                </a:cubicBezTo>
                <a:cubicBezTo>
                  <a:pt x="487" y="111"/>
                  <a:pt x="486" y="107"/>
                  <a:pt x="492" y="102"/>
                </a:cubicBezTo>
                <a:cubicBezTo>
                  <a:pt x="503" y="94"/>
                  <a:pt x="514" y="85"/>
                  <a:pt x="525" y="77"/>
                </a:cubicBezTo>
                <a:cubicBezTo>
                  <a:pt x="531" y="72"/>
                  <a:pt x="535" y="74"/>
                  <a:pt x="535" y="81"/>
                </a:cubicBezTo>
                <a:cubicBezTo>
                  <a:pt x="535" y="88"/>
                  <a:pt x="535" y="95"/>
                  <a:pt x="535" y="101"/>
                </a:cubicBezTo>
                <a:close/>
                <a:moveTo>
                  <a:pt x="558" y="78"/>
                </a:moveTo>
                <a:cubicBezTo>
                  <a:pt x="558" y="71"/>
                  <a:pt x="563" y="68"/>
                  <a:pt x="569" y="71"/>
                </a:cubicBezTo>
                <a:cubicBezTo>
                  <a:pt x="595" y="87"/>
                  <a:pt x="621" y="103"/>
                  <a:pt x="647" y="119"/>
                </a:cubicBezTo>
                <a:cubicBezTo>
                  <a:pt x="653" y="123"/>
                  <a:pt x="652" y="125"/>
                  <a:pt x="645" y="125"/>
                </a:cubicBezTo>
                <a:cubicBezTo>
                  <a:pt x="620" y="122"/>
                  <a:pt x="595" y="120"/>
                  <a:pt x="571" y="118"/>
                </a:cubicBezTo>
                <a:cubicBezTo>
                  <a:pt x="564" y="117"/>
                  <a:pt x="558" y="111"/>
                  <a:pt x="558" y="104"/>
                </a:cubicBezTo>
                <a:cubicBezTo>
                  <a:pt x="558" y="95"/>
                  <a:pt x="558" y="86"/>
                  <a:pt x="558" y="78"/>
                </a:cubicBezTo>
                <a:close/>
                <a:moveTo>
                  <a:pt x="570" y="211"/>
                </a:moveTo>
                <a:cubicBezTo>
                  <a:pt x="564" y="214"/>
                  <a:pt x="558" y="211"/>
                  <a:pt x="558" y="204"/>
                </a:cubicBezTo>
                <a:cubicBezTo>
                  <a:pt x="558" y="187"/>
                  <a:pt x="558" y="170"/>
                  <a:pt x="558" y="152"/>
                </a:cubicBezTo>
                <a:cubicBezTo>
                  <a:pt x="558" y="145"/>
                  <a:pt x="564" y="140"/>
                  <a:pt x="571" y="141"/>
                </a:cubicBezTo>
                <a:cubicBezTo>
                  <a:pt x="613" y="144"/>
                  <a:pt x="655" y="148"/>
                  <a:pt x="697" y="153"/>
                </a:cubicBezTo>
                <a:cubicBezTo>
                  <a:pt x="704" y="153"/>
                  <a:pt x="704" y="156"/>
                  <a:pt x="697" y="159"/>
                </a:cubicBezTo>
                <a:cubicBezTo>
                  <a:pt x="655" y="176"/>
                  <a:pt x="613" y="194"/>
                  <a:pt x="570" y="211"/>
                </a:cubicBezTo>
                <a:close/>
                <a:moveTo>
                  <a:pt x="811" y="182"/>
                </a:moveTo>
                <a:cubicBezTo>
                  <a:pt x="811" y="190"/>
                  <a:pt x="806" y="192"/>
                  <a:pt x="800" y="189"/>
                </a:cubicBezTo>
                <a:cubicBezTo>
                  <a:pt x="788" y="181"/>
                  <a:pt x="776" y="173"/>
                  <a:pt x="764" y="166"/>
                </a:cubicBezTo>
                <a:cubicBezTo>
                  <a:pt x="758" y="162"/>
                  <a:pt x="759" y="160"/>
                  <a:pt x="766" y="161"/>
                </a:cubicBezTo>
                <a:cubicBezTo>
                  <a:pt x="777" y="162"/>
                  <a:pt x="787" y="163"/>
                  <a:pt x="798" y="164"/>
                </a:cubicBezTo>
                <a:cubicBezTo>
                  <a:pt x="805" y="165"/>
                  <a:pt x="811" y="172"/>
                  <a:pt x="811" y="179"/>
                </a:cubicBezTo>
                <a:cubicBezTo>
                  <a:pt x="811" y="180"/>
                  <a:pt x="811" y="181"/>
                  <a:pt x="811" y="182"/>
                </a:cubicBezTo>
                <a:close/>
                <a:moveTo>
                  <a:pt x="811" y="101"/>
                </a:moveTo>
                <a:cubicBezTo>
                  <a:pt x="811" y="108"/>
                  <a:pt x="805" y="116"/>
                  <a:pt x="799" y="119"/>
                </a:cubicBezTo>
                <a:cubicBezTo>
                  <a:pt x="788" y="123"/>
                  <a:pt x="777" y="127"/>
                  <a:pt x="766" y="131"/>
                </a:cubicBezTo>
                <a:cubicBezTo>
                  <a:pt x="760" y="134"/>
                  <a:pt x="748" y="136"/>
                  <a:pt x="741" y="135"/>
                </a:cubicBezTo>
                <a:cubicBezTo>
                  <a:pt x="735" y="134"/>
                  <a:pt x="729" y="133"/>
                  <a:pt x="723" y="133"/>
                </a:cubicBezTo>
                <a:cubicBezTo>
                  <a:pt x="716" y="132"/>
                  <a:pt x="705" y="128"/>
                  <a:pt x="700" y="125"/>
                </a:cubicBezTo>
                <a:cubicBezTo>
                  <a:pt x="660" y="100"/>
                  <a:pt x="621" y="75"/>
                  <a:pt x="581" y="51"/>
                </a:cubicBezTo>
                <a:cubicBezTo>
                  <a:pt x="575" y="47"/>
                  <a:pt x="576" y="44"/>
                  <a:pt x="583" y="43"/>
                </a:cubicBezTo>
                <a:cubicBezTo>
                  <a:pt x="655" y="38"/>
                  <a:pt x="726" y="33"/>
                  <a:pt x="798" y="30"/>
                </a:cubicBezTo>
                <a:cubicBezTo>
                  <a:pt x="805" y="29"/>
                  <a:pt x="811" y="35"/>
                  <a:pt x="811" y="42"/>
                </a:cubicBezTo>
                <a:cubicBezTo>
                  <a:pt x="811" y="62"/>
                  <a:pt x="811" y="81"/>
                  <a:pt x="811" y="101"/>
                </a:cubicBezTo>
                <a:close/>
                <a:moveTo>
                  <a:pt x="834" y="41"/>
                </a:moveTo>
                <a:cubicBezTo>
                  <a:pt x="834" y="34"/>
                  <a:pt x="839" y="28"/>
                  <a:pt x="847" y="28"/>
                </a:cubicBezTo>
                <a:cubicBezTo>
                  <a:pt x="914" y="25"/>
                  <a:pt x="981" y="23"/>
                  <a:pt x="1048" y="23"/>
                </a:cubicBezTo>
                <a:cubicBezTo>
                  <a:pt x="1055" y="23"/>
                  <a:pt x="1055" y="25"/>
                  <a:pt x="1049" y="27"/>
                </a:cubicBezTo>
                <a:cubicBezTo>
                  <a:pt x="981" y="50"/>
                  <a:pt x="913" y="75"/>
                  <a:pt x="846" y="101"/>
                </a:cubicBezTo>
                <a:cubicBezTo>
                  <a:pt x="839" y="103"/>
                  <a:pt x="834" y="100"/>
                  <a:pt x="834" y="92"/>
                </a:cubicBezTo>
                <a:cubicBezTo>
                  <a:pt x="834" y="75"/>
                  <a:pt x="834" y="58"/>
                  <a:pt x="834" y="41"/>
                </a:cubicBezTo>
                <a:close/>
                <a:moveTo>
                  <a:pt x="844" y="187"/>
                </a:moveTo>
                <a:cubicBezTo>
                  <a:pt x="838" y="191"/>
                  <a:pt x="833" y="189"/>
                  <a:pt x="833" y="182"/>
                </a:cubicBezTo>
                <a:cubicBezTo>
                  <a:pt x="833" y="175"/>
                  <a:pt x="839" y="170"/>
                  <a:pt x="846" y="171"/>
                </a:cubicBezTo>
                <a:cubicBezTo>
                  <a:pt x="848" y="171"/>
                  <a:pt x="849" y="171"/>
                  <a:pt x="851" y="171"/>
                </a:cubicBezTo>
                <a:cubicBezTo>
                  <a:pt x="858" y="172"/>
                  <a:pt x="859" y="176"/>
                  <a:pt x="853" y="181"/>
                </a:cubicBezTo>
                <a:cubicBezTo>
                  <a:pt x="850" y="183"/>
                  <a:pt x="847" y="185"/>
                  <a:pt x="844" y="187"/>
                </a:cubicBezTo>
                <a:close/>
                <a:moveTo>
                  <a:pt x="902" y="146"/>
                </a:moveTo>
                <a:cubicBezTo>
                  <a:pt x="896" y="150"/>
                  <a:pt x="886" y="153"/>
                  <a:pt x="879" y="152"/>
                </a:cubicBezTo>
                <a:cubicBezTo>
                  <a:pt x="868" y="151"/>
                  <a:pt x="857" y="149"/>
                  <a:pt x="846" y="148"/>
                </a:cubicBezTo>
                <a:cubicBezTo>
                  <a:pt x="839" y="147"/>
                  <a:pt x="834" y="142"/>
                  <a:pt x="834" y="138"/>
                </a:cubicBezTo>
                <a:cubicBezTo>
                  <a:pt x="834" y="133"/>
                  <a:pt x="839" y="127"/>
                  <a:pt x="846" y="125"/>
                </a:cubicBezTo>
                <a:cubicBezTo>
                  <a:pt x="903" y="103"/>
                  <a:pt x="961" y="82"/>
                  <a:pt x="1019" y="61"/>
                </a:cubicBezTo>
                <a:cubicBezTo>
                  <a:pt x="1025" y="59"/>
                  <a:pt x="1026" y="60"/>
                  <a:pt x="1020" y="64"/>
                </a:cubicBezTo>
                <a:cubicBezTo>
                  <a:pt x="981" y="91"/>
                  <a:pt x="942" y="119"/>
                  <a:pt x="902" y="146"/>
                </a:cubicBezTo>
                <a:close/>
                <a:moveTo>
                  <a:pt x="1089" y="172"/>
                </a:moveTo>
                <a:cubicBezTo>
                  <a:pt x="1089" y="179"/>
                  <a:pt x="1083" y="184"/>
                  <a:pt x="1076" y="183"/>
                </a:cubicBezTo>
                <a:cubicBezTo>
                  <a:pt x="1030" y="175"/>
                  <a:pt x="983" y="167"/>
                  <a:pt x="937" y="160"/>
                </a:cubicBezTo>
                <a:cubicBezTo>
                  <a:pt x="929" y="159"/>
                  <a:pt x="929" y="155"/>
                  <a:pt x="934" y="151"/>
                </a:cubicBezTo>
                <a:cubicBezTo>
                  <a:pt x="982" y="117"/>
                  <a:pt x="1030" y="84"/>
                  <a:pt x="1078" y="51"/>
                </a:cubicBezTo>
                <a:cubicBezTo>
                  <a:pt x="1084" y="47"/>
                  <a:pt x="1089" y="49"/>
                  <a:pt x="1089" y="57"/>
                </a:cubicBezTo>
                <a:cubicBezTo>
                  <a:pt x="1089" y="95"/>
                  <a:pt x="1089" y="133"/>
                  <a:pt x="1089" y="172"/>
                </a:cubicBezTo>
                <a:close/>
                <a:moveTo>
                  <a:pt x="1125" y="183"/>
                </a:moveTo>
                <a:cubicBezTo>
                  <a:pt x="1118" y="184"/>
                  <a:pt x="1112" y="179"/>
                  <a:pt x="1112" y="172"/>
                </a:cubicBezTo>
                <a:cubicBezTo>
                  <a:pt x="1112" y="133"/>
                  <a:pt x="1112" y="95"/>
                  <a:pt x="1112" y="57"/>
                </a:cubicBezTo>
                <a:cubicBezTo>
                  <a:pt x="1112" y="49"/>
                  <a:pt x="1117" y="47"/>
                  <a:pt x="1123" y="51"/>
                </a:cubicBezTo>
                <a:cubicBezTo>
                  <a:pt x="1171" y="84"/>
                  <a:pt x="1219" y="117"/>
                  <a:pt x="1267" y="151"/>
                </a:cubicBezTo>
                <a:cubicBezTo>
                  <a:pt x="1273" y="155"/>
                  <a:pt x="1272" y="159"/>
                  <a:pt x="1265" y="160"/>
                </a:cubicBezTo>
                <a:cubicBezTo>
                  <a:pt x="1218" y="167"/>
                  <a:pt x="1171" y="175"/>
                  <a:pt x="1125" y="183"/>
                </a:cubicBezTo>
                <a:close/>
                <a:moveTo>
                  <a:pt x="1368" y="182"/>
                </a:moveTo>
                <a:cubicBezTo>
                  <a:pt x="1368" y="189"/>
                  <a:pt x="1363" y="191"/>
                  <a:pt x="1357" y="187"/>
                </a:cubicBezTo>
                <a:cubicBezTo>
                  <a:pt x="1354" y="185"/>
                  <a:pt x="1351" y="183"/>
                  <a:pt x="1348" y="181"/>
                </a:cubicBezTo>
                <a:cubicBezTo>
                  <a:pt x="1342" y="176"/>
                  <a:pt x="1343" y="172"/>
                  <a:pt x="1350" y="171"/>
                </a:cubicBezTo>
                <a:cubicBezTo>
                  <a:pt x="1352" y="171"/>
                  <a:pt x="1353" y="171"/>
                  <a:pt x="1355" y="171"/>
                </a:cubicBezTo>
                <a:cubicBezTo>
                  <a:pt x="1362" y="170"/>
                  <a:pt x="1368" y="175"/>
                  <a:pt x="1368" y="182"/>
                </a:cubicBezTo>
                <a:close/>
                <a:moveTo>
                  <a:pt x="1368" y="138"/>
                </a:moveTo>
                <a:cubicBezTo>
                  <a:pt x="1368" y="142"/>
                  <a:pt x="1362" y="147"/>
                  <a:pt x="1355" y="148"/>
                </a:cubicBezTo>
                <a:cubicBezTo>
                  <a:pt x="1344" y="149"/>
                  <a:pt x="1333" y="151"/>
                  <a:pt x="1323" y="152"/>
                </a:cubicBezTo>
                <a:cubicBezTo>
                  <a:pt x="1316" y="153"/>
                  <a:pt x="1305" y="150"/>
                  <a:pt x="1299" y="146"/>
                </a:cubicBezTo>
                <a:cubicBezTo>
                  <a:pt x="1260" y="119"/>
                  <a:pt x="1220" y="91"/>
                  <a:pt x="1181" y="64"/>
                </a:cubicBezTo>
                <a:cubicBezTo>
                  <a:pt x="1175" y="60"/>
                  <a:pt x="1176" y="59"/>
                  <a:pt x="1183" y="61"/>
                </a:cubicBezTo>
                <a:cubicBezTo>
                  <a:pt x="1240" y="82"/>
                  <a:pt x="1298" y="103"/>
                  <a:pt x="1355" y="125"/>
                </a:cubicBezTo>
                <a:cubicBezTo>
                  <a:pt x="1362" y="127"/>
                  <a:pt x="1368" y="133"/>
                  <a:pt x="1368" y="138"/>
                </a:cubicBezTo>
                <a:close/>
                <a:moveTo>
                  <a:pt x="1368" y="92"/>
                </a:moveTo>
                <a:cubicBezTo>
                  <a:pt x="1368" y="100"/>
                  <a:pt x="1362" y="103"/>
                  <a:pt x="1355" y="101"/>
                </a:cubicBezTo>
                <a:cubicBezTo>
                  <a:pt x="1288" y="75"/>
                  <a:pt x="1220" y="50"/>
                  <a:pt x="1153" y="27"/>
                </a:cubicBezTo>
                <a:cubicBezTo>
                  <a:pt x="1146" y="25"/>
                  <a:pt x="1146" y="23"/>
                  <a:pt x="1154" y="23"/>
                </a:cubicBezTo>
                <a:cubicBezTo>
                  <a:pt x="1221" y="23"/>
                  <a:pt x="1288" y="25"/>
                  <a:pt x="1355" y="28"/>
                </a:cubicBezTo>
                <a:cubicBezTo>
                  <a:pt x="1362" y="28"/>
                  <a:pt x="1368" y="34"/>
                  <a:pt x="1368" y="41"/>
                </a:cubicBezTo>
                <a:cubicBezTo>
                  <a:pt x="1368" y="58"/>
                  <a:pt x="1368" y="75"/>
                  <a:pt x="1368" y="92"/>
                </a:cubicBezTo>
                <a:close/>
                <a:moveTo>
                  <a:pt x="1401" y="189"/>
                </a:moveTo>
                <a:cubicBezTo>
                  <a:pt x="1395" y="192"/>
                  <a:pt x="1390" y="190"/>
                  <a:pt x="1390" y="182"/>
                </a:cubicBezTo>
                <a:cubicBezTo>
                  <a:pt x="1390" y="181"/>
                  <a:pt x="1390" y="180"/>
                  <a:pt x="1390" y="179"/>
                </a:cubicBezTo>
                <a:cubicBezTo>
                  <a:pt x="1390" y="172"/>
                  <a:pt x="1396" y="165"/>
                  <a:pt x="1403" y="164"/>
                </a:cubicBezTo>
                <a:cubicBezTo>
                  <a:pt x="1414" y="163"/>
                  <a:pt x="1424" y="162"/>
                  <a:pt x="1435" y="161"/>
                </a:cubicBezTo>
                <a:cubicBezTo>
                  <a:pt x="1442" y="160"/>
                  <a:pt x="1443" y="162"/>
                  <a:pt x="1437" y="166"/>
                </a:cubicBezTo>
                <a:cubicBezTo>
                  <a:pt x="1425" y="173"/>
                  <a:pt x="1413" y="181"/>
                  <a:pt x="1401" y="189"/>
                </a:cubicBezTo>
                <a:close/>
                <a:moveTo>
                  <a:pt x="1460" y="135"/>
                </a:moveTo>
                <a:cubicBezTo>
                  <a:pt x="1453" y="136"/>
                  <a:pt x="1441" y="134"/>
                  <a:pt x="1435" y="131"/>
                </a:cubicBezTo>
                <a:cubicBezTo>
                  <a:pt x="1424" y="127"/>
                  <a:pt x="1413" y="123"/>
                  <a:pt x="1403" y="119"/>
                </a:cubicBezTo>
                <a:cubicBezTo>
                  <a:pt x="1396" y="116"/>
                  <a:pt x="1390" y="108"/>
                  <a:pt x="1390" y="101"/>
                </a:cubicBezTo>
                <a:cubicBezTo>
                  <a:pt x="1390" y="81"/>
                  <a:pt x="1390" y="62"/>
                  <a:pt x="1390" y="42"/>
                </a:cubicBezTo>
                <a:cubicBezTo>
                  <a:pt x="1390" y="35"/>
                  <a:pt x="1396" y="29"/>
                  <a:pt x="1403" y="30"/>
                </a:cubicBezTo>
                <a:cubicBezTo>
                  <a:pt x="1475" y="33"/>
                  <a:pt x="1546" y="38"/>
                  <a:pt x="1618" y="43"/>
                </a:cubicBezTo>
                <a:cubicBezTo>
                  <a:pt x="1625" y="44"/>
                  <a:pt x="1626" y="47"/>
                  <a:pt x="1620" y="51"/>
                </a:cubicBezTo>
                <a:cubicBezTo>
                  <a:pt x="1581" y="75"/>
                  <a:pt x="1541" y="100"/>
                  <a:pt x="1502" y="125"/>
                </a:cubicBezTo>
                <a:cubicBezTo>
                  <a:pt x="1496" y="128"/>
                  <a:pt x="1485" y="132"/>
                  <a:pt x="1478" y="133"/>
                </a:cubicBezTo>
                <a:cubicBezTo>
                  <a:pt x="1472" y="133"/>
                  <a:pt x="1466" y="134"/>
                  <a:pt x="1460" y="135"/>
                </a:cubicBezTo>
                <a:close/>
                <a:moveTo>
                  <a:pt x="1643" y="204"/>
                </a:moveTo>
                <a:cubicBezTo>
                  <a:pt x="1643" y="211"/>
                  <a:pt x="1638" y="214"/>
                  <a:pt x="1631" y="211"/>
                </a:cubicBezTo>
                <a:cubicBezTo>
                  <a:pt x="1589" y="194"/>
                  <a:pt x="1546" y="176"/>
                  <a:pt x="1504" y="159"/>
                </a:cubicBezTo>
                <a:cubicBezTo>
                  <a:pt x="1497" y="156"/>
                  <a:pt x="1498" y="153"/>
                  <a:pt x="1505" y="153"/>
                </a:cubicBezTo>
                <a:cubicBezTo>
                  <a:pt x="1547" y="148"/>
                  <a:pt x="1589" y="144"/>
                  <a:pt x="1630" y="141"/>
                </a:cubicBezTo>
                <a:cubicBezTo>
                  <a:pt x="1638" y="140"/>
                  <a:pt x="1643" y="145"/>
                  <a:pt x="1643" y="152"/>
                </a:cubicBezTo>
                <a:cubicBezTo>
                  <a:pt x="1643" y="170"/>
                  <a:pt x="1643" y="187"/>
                  <a:pt x="1643" y="204"/>
                </a:cubicBezTo>
                <a:close/>
                <a:moveTo>
                  <a:pt x="1643" y="104"/>
                </a:moveTo>
                <a:cubicBezTo>
                  <a:pt x="1643" y="111"/>
                  <a:pt x="1638" y="117"/>
                  <a:pt x="1630" y="118"/>
                </a:cubicBezTo>
                <a:cubicBezTo>
                  <a:pt x="1606" y="120"/>
                  <a:pt x="1581" y="122"/>
                  <a:pt x="1557" y="125"/>
                </a:cubicBezTo>
                <a:cubicBezTo>
                  <a:pt x="1550" y="125"/>
                  <a:pt x="1549" y="123"/>
                  <a:pt x="1555" y="119"/>
                </a:cubicBezTo>
                <a:cubicBezTo>
                  <a:pt x="1581" y="103"/>
                  <a:pt x="1607" y="87"/>
                  <a:pt x="1633" y="71"/>
                </a:cubicBezTo>
                <a:cubicBezTo>
                  <a:pt x="1638" y="68"/>
                  <a:pt x="1643" y="71"/>
                  <a:pt x="1643" y="78"/>
                </a:cubicBezTo>
                <a:cubicBezTo>
                  <a:pt x="1643" y="86"/>
                  <a:pt x="1643" y="95"/>
                  <a:pt x="1643" y="104"/>
                </a:cubicBezTo>
                <a:close/>
                <a:moveTo>
                  <a:pt x="1666" y="81"/>
                </a:moveTo>
                <a:cubicBezTo>
                  <a:pt x="1666" y="74"/>
                  <a:pt x="1671" y="72"/>
                  <a:pt x="1677" y="77"/>
                </a:cubicBezTo>
                <a:cubicBezTo>
                  <a:pt x="1687" y="85"/>
                  <a:pt x="1698" y="93"/>
                  <a:pt x="1709" y="102"/>
                </a:cubicBezTo>
                <a:cubicBezTo>
                  <a:pt x="1715" y="106"/>
                  <a:pt x="1714" y="111"/>
                  <a:pt x="1707" y="111"/>
                </a:cubicBezTo>
                <a:cubicBezTo>
                  <a:pt x="1697" y="112"/>
                  <a:pt x="1688" y="113"/>
                  <a:pt x="1679" y="113"/>
                </a:cubicBezTo>
                <a:cubicBezTo>
                  <a:pt x="1672" y="114"/>
                  <a:pt x="1666" y="109"/>
                  <a:pt x="1666" y="101"/>
                </a:cubicBezTo>
                <a:cubicBezTo>
                  <a:pt x="1666" y="95"/>
                  <a:pt x="1666" y="88"/>
                  <a:pt x="1666" y="81"/>
                </a:cubicBezTo>
                <a:close/>
                <a:moveTo>
                  <a:pt x="1678" y="216"/>
                </a:moveTo>
                <a:cubicBezTo>
                  <a:pt x="1671" y="218"/>
                  <a:pt x="1666" y="213"/>
                  <a:pt x="1666" y="206"/>
                </a:cubicBezTo>
                <a:cubicBezTo>
                  <a:pt x="1666" y="188"/>
                  <a:pt x="1666" y="169"/>
                  <a:pt x="1666" y="151"/>
                </a:cubicBezTo>
                <a:cubicBezTo>
                  <a:pt x="1666" y="143"/>
                  <a:pt x="1672" y="137"/>
                  <a:pt x="1679" y="137"/>
                </a:cubicBezTo>
                <a:cubicBezTo>
                  <a:pt x="1697" y="135"/>
                  <a:pt x="1715" y="134"/>
                  <a:pt x="1734" y="132"/>
                </a:cubicBezTo>
                <a:cubicBezTo>
                  <a:pt x="1741" y="132"/>
                  <a:pt x="1751" y="135"/>
                  <a:pt x="1757" y="140"/>
                </a:cubicBezTo>
                <a:cubicBezTo>
                  <a:pt x="1772" y="151"/>
                  <a:pt x="1786" y="163"/>
                  <a:pt x="1801" y="174"/>
                </a:cubicBezTo>
                <a:cubicBezTo>
                  <a:pt x="1806" y="179"/>
                  <a:pt x="1806" y="184"/>
                  <a:pt x="1799" y="186"/>
                </a:cubicBezTo>
                <a:cubicBezTo>
                  <a:pt x="1759" y="195"/>
                  <a:pt x="1718" y="206"/>
                  <a:pt x="1678" y="216"/>
                </a:cubicBezTo>
                <a:close/>
                <a:moveTo>
                  <a:pt x="1921" y="230"/>
                </a:moveTo>
                <a:cubicBezTo>
                  <a:pt x="1921" y="238"/>
                  <a:pt x="1916" y="240"/>
                  <a:pt x="1910" y="235"/>
                </a:cubicBezTo>
                <a:cubicBezTo>
                  <a:pt x="1897" y="224"/>
                  <a:pt x="1884" y="214"/>
                  <a:pt x="1871" y="204"/>
                </a:cubicBezTo>
                <a:cubicBezTo>
                  <a:pt x="1866" y="199"/>
                  <a:pt x="1866" y="194"/>
                  <a:pt x="1873" y="192"/>
                </a:cubicBezTo>
                <a:cubicBezTo>
                  <a:pt x="1885" y="190"/>
                  <a:pt x="1897" y="187"/>
                  <a:pt x="1908" y="184"/>
                </a:cubicBezTo>
                <a:cubicBezTo>
                  <a:pt x="1915" y="183"/>
                  <a:pt x="1921" y="187"/>
                  <a:pt x="1921" y="195"/>
                </a:cubicBezTo>
                <a:cubicBezTo>
                  <a:pt x="1921" y="207"/>
                  <a:pt x="1921" y="218"/>
                  <a:pt x="1921" y="230"/>
                </a:cubicBezTo>
                <a:close/>
                <a:moveTo>
                  <a:pt x="1921" y="144"/>
                </a:moveTo>
                <a:cubicBezTo>
                  <a:pt x="1921" y="152"/>
                  <a:pt x="1915" y="159"/>
                  <a:pt x="1908" y="160"/>
                </a:cubicBezTo>
                <a:cubicBezTo>
                  <a:pt x="1889" y="165"/>
                  <a:pt x="1869" y="169"/>
                  <a:pt x="1850" y="174"/>
                </a:cubicBezTo>
                <a:cubicBezTo>
                  <a:pt x="1843" y="175"/>
                  <a:pt x="1833" y="173"/>
                  <a:pt x="1827" y="168"/>
                </a:cubicBezTo>
                <a:cubicBezTo>
                  <a:pt x="1814" y="158"/>
                  <a:pt x="1802" y="148"/>
                  <a:pt x="1789" y="138"/>
                </a:cubicBezTo>
                <a:cubicBezTo>
                  <a:pt x="1783" y="133"/>
                  <a:pt x="1784" y="129"/>
                  <a:pt x="1791" y="128"/>
                </a:cubicBezTo>
                <a:cubicBezTo>
                  <a:pt x="1830" y="126"/>
                  <a:pt x="1869" y="124"/>
                  <a:pt x="1908" y="122"/>
                </a:cubicBezTo>
                <a:cubicBezTo>
                  <a:pt x="1915" y="122"/>
                  <a:pt x="1921" y="127"/>
                  <a:pt x="1921" y="135"/>
                </a:cubicBezTo>
                <a:cubicBezTo>
                  <a:pt x="1921" y="138"/>
                  <a:pt x="1921" y="141"/>
                  <a:pt x="1921" y="144"/>
                </a:cubicBezTo>
                <a:close/>
                <a:moveTo>
                  <a:pt x="1921" y="87"/>
                </a:moveTo>
                <a:cubicBezTo>
                  <a:pt x="1921" y="93"/>
                  <a:pt x="1915" y="99"/>
                  <a:pt x="1908" y="99"/>
                </a:cubicBezTo>
                <a:cubicBezTo>
                  <a:pt x="1860" y="101"/>
                  <a:pt x="1812" y="104"/>
                  <a:pt x="1764" y="107"/>
                </a:cubicBezTo>
                <a:cubicBezTo>
                  <a:pt x="1757" y="108"/>
                  <a:pt x="1747" y="104"/>
                  <a:pt x="1741" y="99"/>
                </a:cubicBezTo>
                <a:cubicBezTo>
                  <a:pt x="1723" y="85"/>
                  <a:pt x="1704" y="71"/>
                  <a:pt x="1686" y="57"/>
                </a:cubicBezTo>
                <a:cubicBezTo>
                  <a:pt x="1680" y="52"/>
                  <a:pt x="1681" y="49"/>
                  <a:pt x="1689" y="50"/>
                </a:cubicBezTo>
                <a:cubicBezTo>
                  <a:pt x="1762" y="56"/>
                  <a:pt x="1835" y="64"/>
                  <a:pt x="1908" y="74"/>
                </a:cubicBezTo>
                <a:cubicBezTo>
                  <a:pt x="1915" y="74"/>
                  <a:pt x="1921" y="81"/>
                  <a:pt x="1921" y="87"/>
                </a:cubicBezTo>
                <a:close/>
                <a:moveTo>
                  <a:pt x="1943" y="88"/>
                </a:moveTo>
                <a:cubicBezTo>
                  <a:pt x="1943" y="83"/>
                  <a:pt x="1949" y="79"/>
                  <a:pt x="1956" y="80"/>
                </a:cubicBezTo>
                <a:cubicBezTo>
                  <a:pt x="1985" y="84"/>
                  <a:pt x="2014" y="88"/>
                  <a:pt x="2043" y="92"/>
                </a:cubicBezTo>
                <a:cubicBezTo>
                  <a:pt x="2050" y="93"/>
                  <a:pt x="2050" y="94"/>
                  <a:pt x="2043" y="95"/>
                </a:cubicBezTo>
                <a:cubicBezTo>
                  <a:pt x="2014" y="95"/>
                  <a:pt x="1985" y="96"/>
                  <a:pt x="1956" y="97"/>
                </a:cubicBezTo>
                <a:cubicBezTo>
                  <a:pt x="1949" y="97"/>
                  <a:pt x="1943" y="93"/>
                  <a:pt x="1943" y="88"/>
                </a:cubicBezTo>
                <a:close/>
                <a:moveTo>
                  <a:pt x="1943" y="134"/>
                </a:moveTo>
                <a:cubicBezTo>
                  <a:pt x="1943" y="127"/>
                  <a:pt x="1949" y="121"/>
                  <a:pt x="1956" y="120"/>
                </a:cubicBezTo>
                <a:cubicBezTo>
                  <a:pt x="2006" y="118"/>
                  <a:pt x="2056" y="117"/>
                  <a:pt x="2106" y="116"/>
                </a:cubicBezTo>
                <a:cubicBezTo>
                  <a:pt x="2113" y="116"/>
                  <a:pt x="2113" y="117"/>
                  <a:pt x="2106" y="119"/>
                </a:cubicBezTo>
                <a:cubicBezTo>
                  <a:pt x="2056" y="128"/>
                  <a:pt x="2006" y="139"/>
                  <a:pt x="1955" y="150"/>
                </a:cubicBezTo>
                <a:cubicBezTo>
                  <a:pt x="1948" y="151"/>
                  <a:pt x="1943" y="147"/>
                  <a:pt x="1943" y="140"/>
                </a:cubicBezTo>
                <a:cubicBezTo>
                  <a:pt x="1943" y="138"/>
                  <a:pt x="1943" y="136"/>
                  <a:pt x="1943" y="134"/>
                </a:cubicBezTo>
                <a:close/>
                <a:moveTo>
                  <a:pt x="1953" y="238"/>
                </a:moveTo>
                <a:cubicBezTo>
                  <a:pt x="1948" y="241"/>
                  <a:pt x="1943" y="238"/>
                  <a:pt x="1943" y="231"/>
                </a:cubicBezTo>
                <a:cubicBezTo>
                  <a:pt x="1943" y="217"/>
                  <a:pt x="1943" y="203"/>
                  <a:pt x="1943" y="189"/>
                </a:cubicBezTo>
                <a:cubicBezTo>
                  <a:pt x="1943" y="182"/>
                  <a:pt x="1948" y="175"/>
                  <a:pt x="1955" y="174"/>
                </a:cubicBezTo>
                <a:cubicBezTo>
                  <a:pt x="2008" y="162"/>
                  <a:pt x="2060" y="152"/>
                  <a:pt x="2112" y="142"/>
                </a:cubicBezTo>
                <a:cubicBezTo>
                  <a:pt x="2119" y="140"/>
                  <a:pt x="2120" y="142"/>
                  <a:pt x="2114" y="145"/>
                </a:cubicBezTo>
                <a:cubicBezTo>
                  <a:pt x="2061" y="175"/>
                  <a:pt x="2007" y="206"/>
                  <a:pt x="1953" y="238"/>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pic>
        <p:nvPicPr>
          <p:cNvPr id="17" name="Picture 16"/>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32811" y="316985"/>
            <a:ext cx="544787" cy="785218"/>
          </a:xfrm>
          <a:prstGeom prst="rect">
            <a:avLst/>
          </a:prstGeom>
        </p:spPr>
      </p:pic>
      <p:pic>
        <p:nvPicPr>
          <p:cNvPr id="18" name="Picture 2"/>
          <p:cNvPicPr>
            <a:picLocks noChangeAspect="1" noChangeArrowheads="1"/>
          </p:cNvPicPr>
          <p:nvPr userDrawn="1"/>
        </p:nvPicPr>
        <p:blipFill>
          <a:blip r:embed="rId9" cstate="print">
            <a:extLst>
              <a:ext uri="{28A0092B-C50C-407E-A947-70E740481C1C}">
                <a14:useLocalDpi xmlns:a14="http://schemas.microsoft.com/office/drawing/2010/main" val="0"/>
              </a:ext>
            </a:extLst>
          </a:blip>
          <a:stretch>
            <a:fillRect/>
          </a:stretch>
        </p:blipFill>
        <p:spPr bwMode="auto">
          <a:xfrm>
            <a:off x="9781445" y="191674"/>
            <a:ext cx="631571" cy="631660"/>
          </a:xfrm>
          <a:prstGeom prst="rect">
            <a:avLst/>
          </a:prstGeom>
          <a:noFill/>
          <a:ln>
            <a:noFill/>
          </a:ln>
          <a:extLst/>
        </p:spPr>
      </p:pic>
      <p:pic>
        <p:nvPicPr>
          <p:cNvPr id="28" name="Picture 2" descr="http://upload.wikimedia.org/wikipedia/commons/thumb/2/27/PHP-logo.svg/1000px-PHP-logo.svg.png"/>
          <p:cNvPicPr>
            <a:picLocks noChangeAspect="1" noChangeArrowheads="1"/>
          </p:cNvPicPr>
          <p:nvPr/>
        </p:nvPicPr>
        <p:blipFill>
          <a:blip r:embed="rId10" cstate="print">
            <a:lum bright="70000" contrast="-70000"/>
            <a:extLst>
              <a:ext uri="{28A0092B-C50C-407E-A947-70E740481C1C}">
                <a14:useLocalDpi xmlns:a14="http://schemas.microsoft.com/office/drawing/2010/main" val="0"/>
              </a:ext>
            </a:extLst>
          </a:blip>
          <a:srcRect/>
          <a:stretch>
            <a:fillRect/>
          </a:stretch>
        </p:blipFill>
        <p:spPr bwMode="auto">
          <a:xfrm>
            <a:off x="5915749" y="3156641"/>
            <a:ext cx="758444" cy="401975"/>
          </a:xfrm>
          <a:prstGeom prst="rect">
            <a:avLst/>
          </a:prstGeom>
          <a:noFill/>
          <a:extLst/>
        </p:spPr>
      </p:pic>
      <p:pic>
        <p:nvPicPr>
          <p:cNvPr id="31" name="Picture 2">
            <a:hlinkClick r:id="rId11"/>
          </p:cNvPr>
          <p:cNvPicPr>
            <a:picLocks noChangeAspect="1" noChangeArrowheads="1"/>
          </p:cNvPicPr>
          <p:nvPr/>
        </p:nvPicPr>
        <p:blipFill>
          <a:blip r:embed="rId12" cstate="print">
            <a:biLevel thresh="25000"/>
            <a:extLst>
              <a:ext uri="{28A0092B-C50C-407E-A947-70E740481C1C}">
                <a14:useLocalDpi xmlns:a14="http://schemas.microsoft.com/office/drawing/2010/main" val="0"/>
              </a:ext>
            </a:extLst>
          </a:blip>
          <a:stretch>
            <a:fillRect/>
          </a:stretch>
        </p:blipFill>
        <p:spPr bwMode="auto">
          <a:xfrm>
            <a:off x="6072009" y="611584"/>
            <a:ext cx="1441603" cy="493344"/>
          </a:xfrm>
          <a:prstGeom prst="rect">
            <a:avLst/>
          </a:prstGeom>
          <a:noFill/>
          <a:extLst/>
        </p:spPr>
      </p:pic>
      <p:pic>
        <p:nvPicPr>
          <p:cNvPr id="34" name="Picture 2" descr="C:\Users\claudette\Documents\2011 Jobs\Kelly Young\02-Crystal\graphics\java.png"/>
          <p:cNvPicPr>
            <a:picLocks noChangeAspect="1" noChangeArrowheads="1"/>
          </p:cNvPicPr>
          <p:nvPr/>
        </p:nvPicPr>
        <p:blipFill>
          <a:blip r:embed="rId13" cstate="print">
            <a:biLevel thresh="50000"/>
            <a:extLst>
              <a:ext uri="{28A0092B-C50C-407E-A947-70E740481C1C}">
                <a14:useLocalDpi xmlns:a14="http://schemas.microsoft.com/office/drawing/2010/main" val="0"/>
              </a:ext>
            </a:extLst>
          </a:blip>
          <a:srcRect/>
          <a:stretch>
            <a:fillRect/>
          </a:stretch>
        </p:blipFill>
        <p:spPr bwMode="auto">
          <a:xfrm>
            <a:off x="11274685" y="3324443"/>
            <a:ext cx="469103" cy="862878"/>
          </a:xfrm>
          <a:prstGeom prst="rect">
            <a:avLst/>
          </a:prstGeom>
          <a:noFill/>
          <a:extLst/>
        </p:spPr>
      </p:pic>
      <p:pic>
        <p:nvPicPr>
          <p:cNvPr id="2" name="Picture 1"/>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6626216" y="252799"/>
            <a:ext cx="1774792" cy="408332"/>
          </a:xfrm>
          <a:prstGeom prst="rect">
            <a:avLst/>
          </a:prstGeom>
        </p:spPr>
      </p:pic>
    </p:spTree>
    <p:extLst>
      <p:ext uri="{BB962C8B-B14F-4D97-AF65-F5344CB8AC3E}">
        <p14:creationId xmlns:p14="http://schemas.microsoft.com/office/powerpoint/2010/main" val="3042866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1_Title Slide Photo">
    <p:bg>
      <p:bgPr>
        <a:solidFill>
          <a:srgbClr val="0072C6"/>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ltGray">
          <a:xfrm>
            <a:off x="267683" y="2084173"/>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4146244"/>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49322" y="471251"/>
            <a:ext cx="1522404" cy="326167"/>
          </a:xfrm>
          <a:prstGeom prst="rect">
            <a:avLst/>
          </a:prstGeom>
        </p:spPr>
      </p:pic>
      <p:pic>
        <p:nvPicPr>
          <p:cNvPr id="6" name="Picture 5"/>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57551" y="4950224"/>
            <a:ext cx="11276899" cy="1415713"/>
          </a:xfrm>
          <a:prstGeom prst="rect">
            <a:avLst/>
          </a:prstGeom>
        </p:spPr>
      </p:pic>
    </p:spTree>
    <p:extLst>
      <p:ext uri="{BB962C8B-B14F-4D97-AF65-F5344CB8AC3E}">
        <p14:creationId xmlns:p14="http://schemas.microsoft.com/office/powerpoint/2010/main" val="30192923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0550830"/>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cSld name="1_제목 및 내용">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ko-KR" altLang="en-US"/>
              <a:t>마스터 제목 스타일 편집</a:t>
            </a:r>
          </a:p>
        </p:txBody>
      </p:sp>
      <p:sp>
        <p:nvSpPr>
          <p:cNvPr id="3" name="Content Placeholder 2"/>
          <p:cNvSpPr>
            <a:spLocks noGrp="1"/>
          </p:cNvSpPr>
          <p:nvPr>
            <p:ph idx="1"/>
          </p:nvPr>
        </p:nvSpPr>
        <p:spPr/>
        <p:txBody>
          <a:bodyPr/>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8" name="Text Placeholder 7"/>
          <p:cNvSpPr>
            <a:spLocks noGrp="1"/>
          </p:cNvSpPr>
          <p:nvPr>
            <p:ph type="body" sz="quarter" idx="10"/>
          </p:nvPr>
        </p:nvSpPr>
        <p:spPr>
          <a:xfrm>
            <a:off x="312418" y="783773"/>
            <a:ext cx="11567160" cy="429208"/>
          </a:xfrm>
        </p:spPr>
        <p:txBody>
          <a:bodyPr vert="horz" lIns="91440" tIns="45720" rIns="91440" bIns="45720" rtlCol="0" anchor="ctr">
            <a:normAutofit/>
          </a:bodyPr>
          <a:lstStyle>
            <a:lvl1pPr marL="0" indent="0">
              <a:buNone/>
              <a:defRPr lang="ko-KR" altLang="en-US" sz="1800" b="0" baseline="0" dirty="0">
                <a:latin typeface="+mn-lt"/>
                <a:ea typeface="+mn-ea"/>
                <a:cs typeface="+mj-cs"/>
              </a:defRPr>
            </a:lvl1pPr>
          </a:lstStyle>
          <a:p>
            <a:pPr lvl="0">
              <a:spcBef>
                <a:spcPct val="0"/>
              </a:spcBef>
            </a:pPr>
            <a:r>
              <a:rPr lang="ko-KR" altLang="en-US"/>
              <a:t>마스터 텍스트 스타일을 편집합니다</a:t>
            </a:r>
          </a:p>
        </p:txBody>
      </p:sp>
    </p:spTree>
    <p:extLst>
      <p:ext uri="{BB962C8B-B14F-4D97-AF65-F5344CB8AC3E}">
        <p14:creationId xmlns:p14="http://schemas.microsoft.com/office/powerpoint/2010/main" val="1815927853"/>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1_PresentationTitle_Manufacturing1">
    <p:bg>
      <p:bgPr>
        <a:solidFill>
          <a:schemeClr val="bg1"/>
        </a:soli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4">
            <a:extLst>
              <a:ext uri="{28A0092B-C50C-407E-A947-70E740481C1C}">
                <a14:useLocalDpi xmlns:a14="http://schemas.microsoft.com/office/drawing/2010/main" val="0"/>
              </a:ext>
            </a:extLst>
          </a:blip>
          <a:srcRect t="15225"/>
          <a:stretch/>
        </p:blipFill>
        <p:spPr>
          <a:xfrm flipH="1">
            <a:off x="6" y="0"/>
            <a:ext cx="12192000" cy="6885223"/>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64" y="1559"/>
          <a:ext cx="1556" cy="1556"/>
        </p:xfrm>
        <a:graphic>
          <a:graphicData uri="http://schemas.openxmlformats.org/presentationml/2006/ole">
            <mc:AlternateContent xmlns:mc="http://schemas.openxmlformats.org/markup-compatibility/2006">
              <mc:Choice xmlns:v="urn:schemas-microsoft-com:vml" Requires="v">
                <p:oleObj spid="_x0000_s206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64" y="1559"/>
                        <a:ext cx="1556" cy="1556"/>
                      </a:xfrm>
                      <a:prstGeom prst="rect">
                        <a:avLst/>
                      </a:prstGeom>
                    </p:spPr>
                  </p:pic>
                </p:oleObj>
              </mc:Fallback>
            </mc:AlternateContent>
          </a:graphicData>
        </a:graphic>
      </p:graphicFrame>
      <p:sp>
        <p:nvSpPr>
          <p:cNvPr id="9" name="Rectangle 8"/>
          <p:cNvSpPr/>
          <p:nvPr/>
        </p:nvSpPr>
        <p:spPr bwMode="auto">
          <a:xfrm>
            <a:off x="5" y="938794"/>
            <a:ext cx="6900421" cy="3818020"/>
          </a:xfrm>
          <a:prstGeom prst="rect">
            <a:avLst/>
          </a:prstGeom>
          <a:solidFill>
            <a:schemeClr val="accent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1" tIns="143311" rIns="179141" bIns="143311" numCol="1" spcCol="0" rtlCol="0" fromWordArt="0" anchor="t" anchorCtr="0" forceAA="0" compatLnSpc="1">
            <a:prstTxWarp prst="textNoShape">
              <a:avLst/>
            </a:prstTxWarp>
            <a:noAutofit/>
          </a:bodyPr>
          <a:lstStyle/>
          <a:p>
            <a:pPr marL="0" marR="0" lvl="0" indent="0" algn="ctr" defTabSz="91328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Title 1"/>
          <p:cNvSpPr>
            <a:spLocks noGrp="1"/>
          </p:cNvSpPr>
          <p:nvPr>
            <p:ph type="ctrTitle" hasCustomPrompt="1"/>
          </p:nvPr>
        </p:nvSpPr>
        <p:spPr>
          <a:xfrm>
            <a:off x="457206" y="1089524"/>
            <a:ext cx="6313281" cy="1329595"/>
          </a:xfrm>
          <a:prstGeom prst="rect">
            <a:avLst/>
          </a:prstGeom>
        </p:spPr>
        <p:txBody>
          <a:bodyPr wrap="square" lIns="149143" tIns="0" rIns="149143" bIns="0" anchor="t">
            <a:spAutoFit/>
          </a:bodyPr>
          <a:lstStyle>
            <a:lvl1pPr>
              <a:lnSpc>
                <a:spcPct val="90000"/>
              </a:lnSpc>
              <a:spcBef>
                <a:spcPts val="0"/>
              </a:spcBef>
              <a:defRPr sz="4803" baseline="0">
                <a:solidFill>
                  <a:schemeClr val="bg1"/>
                </a:solidFill>
              </a:defRPr>
            </a:lvl1pPr>
          </a:lstStyle>
          <a:p>
            <a:r>
              <a:rPr lang="en-US" dirty="0"/>
              <a:t>Headline here, second line here</a:t>
            </a:r>
          </a:p>
        </p:txBody>
      </p:sp>
      <p:sp>
        <p:nvSpPr>
          <p:cNvPr id="17" name="Subtitle 2"/>
          <p:cNvSpPr>
            <a:spLocks noGrp="1"/>
          </p:cNvSpPr>
          <p:nvPr>
            <p:ph type="subTitle" idx="1" hasCustomPrompt="1"/>
          </p:nvPr>
        </p:nvSpPr>
        <p:spPr>
          <a:xfrm>
            <a:off x="457205" y="3545815"/>
            <a:ext cx="6152293" cy="1034783"/>
          </a:xfrm>
          <a:prstGeom prst="rect">
            <a:avLst/>
          </a:prstGeom>
        </p:spPr>
        <p:txBody>
          <a:bodyPr lIns="149143" tIns="0" rIns="149143" bIns="0">
            <a:normAutofit/>
          </a:bodyPr>
          <a:lstStyle>
            <a:lvl1pPr marL="0" indent="0" algn="l">
              <a:lnSpc>
                <a:spcPct val="90000"/>
              </a:lnSpc>
              <a:spcBef>
                <a:spcPts val="0"/>
              </a:spcBef>
              <a:buNone/>
              <a:defRPr sz="1961">
                <a:solidFill>
                  <a:schemeClr val="bg1"/>
                </a:solidFill>
                <a:latin typeface="+mn-lt"/>
              </a:defRPr>
            </a:lvl1pPr>
            <a:lvl2pPr marL="447789" indent="0" algn="ctr">
              <a:buNone/>
              <a:defRPr>
                <a:solidFill>
                  <a:schemeClr val="tx1">
                    <a:tint val="75000"/>
                  </a:schemeClr>
                </a:solidFill>
              </a:defRPr>
            </a:lvl2pPr>
            <a:lvl3pPr marL="895581" indent="0" algn="ctr">
              <a:buNone/>
              <a:defRPr>
                <a:solidFill>
                  <a:schemeClr val="tx1">
                    <a:tint val="75000"/>
                  </a:schemeClr>
                </a:solidFill>
              </a:defRPr>
            </a:lvl3pPr>
            <a:lvl4pPr marL="1343372" indent="0" algn="ctr">
              <a:buNone/>
              <a:defRPr>
                <a:solidFill>
                  <a:schemeClr val="tx1">
                    <a:tint val="75000"/>
                  </a:schemeClr>
                </a:solidFill>
              </a:defRPr>
            </a:lvl4pPr>
            <a:lvl5pPr marL="1791164" indent="0" algn="ctr">
              <a:buNone/>
              <a:defRPr>
                <a:solidFill>
                  <a:schemeClr val="tx1">
                    <a:tint val="75000"/>
                  </a:schemeClr>
                </a:solidFill>
              </a:defRPr>
            </a:lvl5pPr>
            <a:lvl6pPr marL="2238952" indent="0" algn="ctr">
              <a:buNone/>
              <a:defRPr>
                <a:solidFill>
                  <a:schemeClr val="tx1">
                    <a:tint val="75000"/>
                  </a:schemeClr>
                </a:solidFill>
              </a:defRPr>
            </a:lvl6pPr>
            <a:lvl7pPr marL="2686743" indent="0" algn="ctr">
              <a:buNone/>
              <a:defRPr>
                <a:solidFill>
                  <a:schemeClr val="tx1">
                    <a:tint val="75000"/>
                  </a:schemeClr>
                </a:solidFill>
              </a:defRPr>
            </a:lvl7pPr>
            <a:lvl8pPr marL="3134533" indent="0" algn="ctr">
              <a:buNone/>
              <a:defRPr>
                <a:solidFill>
                  <a:schemeClr val="tx1">
                    <a:tint val="75000"/>
                  </a:schemeClr>
                </a:solidFill>
              </a:defRPr>
            </a:lvl8pPr>
            <a:lvl9pPr marL="3582322" indent="0" algn="ctr">
              <a:buNone/>
              <a:defRPr>
                <a:solidFill>
                  <a:schemeClr val="tx1">
                    <a:tint val="75000"/>
                  </a:schemeClr>
                </a:solidFill>
              </a:defRPr>
            </a:lvl9pPr>
          </a:lstStyle>
          <a:p>
            <a:r>
              <a:rPr lang="en-US" dirty="0"/>
              <a:t>Speaker Name</a:t>
            </a:r>
            <a:br>
              <a:rPr lang="en-US" dirty="0"/>
            </a:br>
            <a:r>
              <a:rPr lang="en-US" dirty="0"/>
              <a:t>Date</a:t>
            </a:r>
          </a:p>
        </p:txBody>
      </p:sp>
      <p:sp>
        <p:nvSpPr>
          <p:cNvPr id="19" name="Text Placeholder 7"/>
          <p:cNvSpPr>
            <a:spLocks noGrp="1"/>
          </p:cNvSpPr>
          <p:nvPr>
            <p:ph type="body" sz="quarter" idx="10" hasCustomPrompt="1"/>
          </p:nvPr>
        </p:nvSpPr>
        <p:spPr>
          <a:xfrm>
            <a:off x="457579" y="2492991"/>
            <a:ext cx="6329720" cy="863867"/>
          </a:xfrm>
          <a:prstGeom prst="rect">
            <a:avLst/>
          </a:prstGeom>
        </p:spPr>
        <p:txBody>
          <a:bodyPr lIns="149143" tIns="0" rIns="149143" bIns="0">
            <a:normAutofit/>
          </a:bodyPr>
          <a:lstStyle>
            <a:lvl1pPr marL="0" indent="0">
              <a:lnSpc>
                <a:spcPct val="90000"/>
              </a:lnSpc>
              <a:spcBef>
                <a:spcPts val="0"/>
              </a:spcBef>
              <a:buNone/>
              <a:defRPr sz="1961" baseline="0">
                <a:solidFill>
                  <a:schemeClr val="bg1"/>
                </a:solidFill>
                <a:latin typeface="+mn-lt"/>
              </a:defRPr>
            </a:lvl1pPr>
            <a:lvl2pPr marL="335842" indent="0">
              <a:buNone/>
              <a:defRPr sz="1568">
                <a:solidFill>
                  <a:schemeClr val="bg1"/>
                </a:solidFill>
                <a:latin typeface="+mj-lt"/>
              </a:defRPr>
            </a:lvl2pPr>
            <a:lvl3pPr marL="559739" indent="0">
              <a:buNone/>
              <a:defRPr sz="1274">
                <a:solidFill>
                  <a:schemeClr val="bg1"/>
                </a:solidFill>
                <a:latin typeface="+mj-lt"/>
              </a:defRPr>
            </a:lvl3pPr>
            <a:lvl4pPr marL="783634" indent="0">
              <a:buNone/>
              <a:defRPr sz="1176">
                <a:solidFill>
                  <a:schemeClr val="bg1"/>
                </a:solidFill>
                <a:latin typeface="+mj-lt"/>
              </a:defRPr>
            </a:lvl4pPr>
            <a:lvl5pPr marL="1007527" indent="0">
              <a:buNone/>
              <a:defRPr sz="1176">
                <a:solidFill>
                  <a:schemeClr val="bg1"/>
                </a:solidFill>
                <a:latin typeface="+mj-lt"/>
              </a:defRPr>
            </a:lvl5pPr>
          </a:lstStyle>
          <a:p>
            <a:pPr lvl="0"/>
            <a:r>
              <a:rPr lang="en-US" dirty="0"/>
              <a:t>Sub header here</a:t>
            </a:r>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0568149" y="6402586"/>
            <a:ext cx="1278487" cy="280187"/>
          </a:xfrm>
          <a:prstGeom prst="rect">
            <a:avLst/>
          </a:prstGeom>
        </p:spPr>
      </p:pic>
    </p:spTree>
    <p:extLst>
      <p:ext uri="{BB962C8B-B14F-4D97-AF65-F5344CB8AC3E}">
        <p14:creationId xmlns:p14="http://schemas.microsoft.com/office/powerpoint/2010/main" val="20498292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2_PresentationTitle_Manufacturing1">
    <p:bg>
      <p:bgPr>
        <a:solidFill>
          <a:schemeClr val="bg1"/>
        </a:solidFill>
        <a:effectLst/>
      </p:bgPr>
    </p:bg>
    <p:spTree>
      <p:nvGrpSpPr>
        <p:cNvPr id="1" name=""/>
        <p:cNvGrpSpPr/>
        <p:nvPr/>
      </p:nvGrpSpPr>
      <p:grpSpPr>
        <a:xfrm>
          <a:off x="0" y="0"/>
          <a:ext cx="0" cy="0"/>
          <a:chOff x="0" y="0"/>
          <a:chExt cx="0" cy="0"/>
        </a:xfrm>
      </p:grpSpPr>
      <p:pic>
        <p:nvPicPr>
          <p:cNvPr id="11" name="Picture 10" descr="IOYT Image 1.png"/>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6" y="6"/>
            <a:ext cx="12192000" cy="6924583"/>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64" y="1559"/>
          <a:ext cx="1556" cy="1556"/>
        </p:xfrm>
        <a:graphic>
          <a:graphicData uri="http://schemas.openxmlformats.org/presentationml/2006/ole">
            <mc:AlternateContent xmlns:mc="http://schemas.openxmlformats.org/markup-compatibility/2006">
              <mc:Choice xmlns:v="urn:schemas-microsoft-com:vml" Requires="v">
                <p:oleObj spid="_x0000_s309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64" y="1559"/>
                        <a:ext cx="1556" cy="1556"/>
                      </a:xfrm>
                      <a:prstGeom prst="rect">
                        <a:avLst/>
                      </a:prstGeom>
                    </p:spPr>
                  </p:pic>
                </p:oleObj>
              </mc:Fallback>
            </mc:AlternateContent>
          </a:graphicData>
        </a:graphic>
      </p:graphicFrame>
      <p:sp>
        <p:nvSpPr>
          <p:cNvPr id="9" name="Rectangle 8"/>
          <p:cNvSpPr/>
          <p:nvPr/>
        </p:nvSpPr>
        <p:spPr bwMode="auto">
          <a:xfrm>
            <a:off x="-1" y="2584566"/>
            <a:ext cx="7956223" cy="3818020"/>
          </a:xfrm>
          <a:prstGeom prst="rect">
            <a:avLst/>
          </a:prstGeom>
          <a:solidFill>
            <a:srgbClr val="00188F">
              <a:alpha val="84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1" tIns="143311" rIns="179141" bIns="143311" numCol="1" spcCol="0" rtlCol="0" fromWordArt="0" anchor="t" anchorCtr="0" forceAA="0" compatLnSpc="1">
            <a:prstTxWarp prst="textNoShape">
              <a:avLst/>
            </a:prstTxWarp>
            <a:noAutofit/>
          </a:bodyPr>
          <a:lstStyle/>
          <a:p>
            <a:pPr marL="0" marR="0" lvl="0" indent="0" algn="ctr" defTabSz="91328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Title 1"/>
          <p:cNvSpPr>
            <a:spLocks noGrp="1"/>
          </p:cNvSpPr>
          <p:nvPr>
            <p:ph type="ctrTitle" hasCustomPrompt="1"/>
          </p:nvPr>
        </p:nvSpPr>
        <p:spPr>
          <a:xfrm>
            <a:off x="457206" y="2735294"/>
            <a:ext cx="7272318" cy="1329595"/>
          </a:xfrm>
          <a:prstGeom prst="rect">
            <a:avLst/>
          </a:prstGeom>
        </p:spPr>
        <p:txBody>
          <a:bodyPr wrap="square" lIns="149143" tIns="0" rIns="149143" bIns="0" anchor="t">
            <a:spAutoFit/>
          </a:bodyPr>
          <a:lstStyle>
            <a:lvl1pPr>
              <a:lnSpc>
                <a:spcPct val="90000"/>
              </a:lnSpc>
              <a:spcBef>
                <a:spcPts val="0"/>
              </a:spcBef>
              <a:defRPr sz="4803" baseline="0">
                <a:solidFill>
                  <a:schemeClr val="bg1"/>
                </a:solidFill>
              </a:defRPr>
            </a:lvl1pPr>
          </a:lstStyle>
          <a:p>
            <a:r>
              <a:rPr lang="en-US" dirty="0"/>
              <a:t>Headline here, second line here</a:t>
            </a:r>
          </a:p>
        </p:txBody>
      </p:sp>
      <p:sp>
        <p:nvSpPr>
          <p:cNvPr id="17" name="Subtitle 2"/>
          <p:cNvSpPr>
            <a:spLocks noGrp="1"/>
          </p:cNvSpPr>
          <p:nvPr>
            <p:ph type="subTitle" idx="1" hasCustomPrompt="1"/>
          </p:nvPr>
        </p:nvSpPr>
        <p:spPr>
          <a:xfrm>
            <a:off x="457205" y="5191587"/>
            <a:ext cx="6152293" cy="1034783"/>
          </a:xfrm>
          <a:prstGeom prst="rect">
            <a:avLst/>
          </a:prstGeom>
        </p:spPr>
        <p:txBody>
          <a:bodyPr lIns="149143" tIns="0" rIns="149143" bIns="0">
            <a:normAutofit/>
          </a:bodyPr>
          <a:lstStyle>
            <a:lvl1pPr marL="0" indent="0" algn="l">
              <a:lnSpc>
                <a:spcPct val="90000"/>
              </a:lnSpc>
              <a:spcBef>
                <a:spcPts val="0"/>
              </a:spcBef>
              <a:buNone/>
              <a:defRPr sz="1961">
                <a:solidFill>
                  <a:schemeClr val="bg1"/>
                </a:solidFill>
                <a:latin typeface="+mn-lt"/>
              </a:defRPr>
            </a:lvl1pPr>
            <a:lvl2pPr marL="447789" indent="0" algn="ctr">
              <a:buNone/>
              <a:defRPr>
                <a:solidFill>
                  <a:schemeClr val="tx1">
                    <a:tint val="75000"/>
                  </a:schemeClr>
                </a:solidFill>
              </a:defRPr>
            </a:lvl2pPr>
            <a:lvl3pPr marL="895581" indent="0" algn="ctr">
              <a:buNone/>
              <a:defRPr>
                <a:solidFill>
                  <a:schemeClr val="tx1">
                    <a:tint val="75000"/>
                  </a:schemeClr>
                </a:solidFill>
              </a:defRPr>
            </a:lvl3pPr>
            <a:lvl4pPr marL="1343372" indent="0" algn="ctr">
              <a:buNone/>
              <a:defRPr>
                <a:solidFill>
                  <a:schemeClr val="tx1">
                    <a:tint val="75000"/>
                  </a:schemeClr>
                </a:solidFill>
              </a:defRPr>
            </a:lvl4pPr>
            <a:lvl5pPr marL="1791164" indent="0" algn="ctr">
              <a:buNone/>
              <a:defRPr>
                <a:solidFill>
                  <a:schemeClr val="tx1">
                    <a:tint val="75000"/>
                  </a:schemeClr>
                </a:solidFill>
              </a:defRPr>
            </a:lvl5pPr>
            <a:lvl6pPr marL="2238952" indent="0" algn="ctr">
              <a:buNone/>
              <a:defRPr>
                <a:solidFill>
                  <a:schemeClr val="tx1">
                    <a:tint val="75000"/>
                  </a:schemeClr>
                </a:solidFill>
              </a:defRPr>
            </a:lvl6pPr>
            <a:lvl7pPr marL="2686743" indent="0" algn="ctr">
              <a:buNone/>
              <a:defRPr>
                <a:solidFill>
                  <a:schemeClr val="tx1">
                    <a:tint val="75000"/>
                  </a:schemeClr>
                </a:solidFill>
              </a:defRPr>
            </a:lvl7pPr>
            <a:lvl8pPr marL="3134533" indent="0" algn="ctr">
              <a:buNone/>
              <a:defRPr>
                <a:solidFill>
                  <a:schemeClr val="tx1">
                    <a:tint val="75000"/>
                  </a:schemeClr>
                </a:solidFill>
              </a:defRPr>
            </a:lvl8pPr>
            <a:lvl9pPr marL="3582322" indent="0" algn="ctr">
              <a:buNone/>
              <a:defRPr>
                <a:solidFill>
                  <a:schemeClr val="tx1">
                    <a:tint val="75000"/>
                  </a:schemeClr>
                </a:solidFill>
              </a:defRPr>
            </a:lvl9pPr>
          </a:lstStyle>
          <a:p>
            <a:r>
              <a:rPr lang="en-US" dirty="0"/>
              <a:t>Speaker Name</a:t>
            </a:r>
            <a:br>
              <a:rPr lang="en-US" dirty="0"/>
            </a:br>
            <a:r>
              <a:rPr lang="en-US" dirty="0"/>
              <a:t>Date</a:t>
            </a:r>
          </a:p>
        </p:txBody>
      </p:sp>
      <p:sp>
        <p:nvSpPr>
          <p:cNvPr id="19" name="Text Placeholder 7"/>
          <p:cNvSpPr>
            <a:spLocks noGrp="1"/>
          </p:cNvSpPr>
          <p:nvPr>
            <p:ph type="body" sz="quarter" idx="10" hasCustomPrompt="1"/>
          </p:nvPr>
        </p:nvSpPr>
        <p:spPr>
          <a:xfrm>
            <a:off x="457585" y="4138763"/>
            <a:ext cx="7291254" cy="863867"/>
          </a:xfrm>
          <a:prstGeom prst="rect">
            <a:avLst/>
          </a:prstGeom>
        </p:spPr>
        <p:txBody>
          <a:bodyPr lIns="149143" tIns="0" rIns="149143" bIns="0">
            <a:normAutofit/>
          </a:bodyPr>
          <a:lstStyle>
            <a:lvl1pPr marL="0" indent="0">
              <a:lnSpc>
                <a:spcPct val="90000"/>
              </a:lnSpc>
              <a:spcBef>
                <a:spcPts val="0"/>
              </a:spcBef>
              <a:buNone/>
              <a:defRPr sz="1961" baseline="0">
                <a:solidFill>
                  <a:schemeClr val="bg1"/>
                </a:solidFill>
                <a:latin typeface="+mn-lt"/>
              </a:defRPr>
            </a:lvl1pPr>
            <a:lvl2pPr marL="335842" indent="0">
              <a:buNone/>
              <a:defRPr sz="1568">
                <a:solidFill>
                  <a:schemeClr val="bg1"/>
                </a:solidFill>
                <a:latin typeface="+mj-lt"/>
              </a:defRPr>
            </a:lvl2pPr>
            <a:lvl3pPr marL="559739" indent="0">
              <a:buNone/>
              <a:defRPr sz="1274">
                <a:solidFill>
                  <a:schemeClr val="bg1"/>
                </a:solidFill>
                <a:latin typeface="+mj-lt"/>
              </a:defRPr>
            </a:lvl3pPr>
            <a:lvl4pPr marL="783634" indent="0">
              <a:buNone/>
              <a:defRPr sz="1176">
                <a:solidFill>
                  <a:schemeClr val="bg1"/>
                </a:solidFill>
                <a:latin typeface="+mj-lt"/>
              </a:defRPr>
            </a:lvl4pPr>
            <a:lvl5pPr marL="1007527" indent="0">
              <a:buNone/>
              <a:defRPr sz="1176">
                <a:solidFill>
                  <a:schemeClr val="bg1"/>
                </a:solidFill>
                <a:latin typeface="+mj-lt"/>
              </a:defRPr>
            </a:lvl5pPr>
          </a:lstStyle>
          <a:p>
            <a:pPr lvl="0"/>
            <a:r>
              <a:rPr lang="en-US" dirty="0"/>
              <a:t>Sub header here</a:t>
            </a:r>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0568149" y="6402586"/>
            <a:ext cx="1278487" cy="280187"/>
          </a:xfrm>
          <a:prstGeom prst="rect">
            <a:avLst/>
          </a:prstGeom>
        </p:spPr>
      </p:pic>
    </p:spTree>
    <p:extLst>
      <p:ext uri="{BB962C8B-B14F-4D97-AF65-F5344CB8AC3E}">
        <p14:creationId xmlns:p14="http://schemas.microsoft.com/office/powerpoint/2010/main" val="30641854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7"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
        <p:nvSpPr>
          <p:cNvPr id="12" name="Content Placeholder 11"/>
          <p:cNvSpPr>
            <a:spLocks noGrp="1"/>
          </p:cNvSpPr>
          <p:nvPr>
            <p:ph sz="quarter" idx="10"/>
          </p:nvPr>
        </p:nvSpPr>
        <p:spPr>
          <a:xfrm>
            <a:off x="620298" y="1612373"/>
            <a:ext cx="10989093" cy="2184808"/>
          </a:xfrm>
          <a:prstGeom prst="rect">
            <a:avLst/>
          </a:prstGeom>
        </p:spPr>
        <p:txBody>
          <a:bodyPr/>
          <a:lstStyle>
            <a:lvl1pPr marL="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1pPr>
            <a:lvl2pPr marL="456976" indent="0">
              <a:buNone/>
              <a:defRPr>
                <a:solidFill>
                  <a:schemeClr val="tx1">
                    <a:lumMod val="75000"/>
                    <a:lumOff val="25000"/>
                  </a:schemeClr>
                </a:solidFill>
                <a:latin typeface="Segoe UI Light" panose="020B0502040204020203" pitchFamily="34" charset="0"/>
                <a:cs typeface="Segoe UI Light" panose="020B0502040204020203" pitchFamily="34" charset="0"/>
              </a:defRPr>
            </a:lvl2pPr>
            <a:lvl3pPr marL="91395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3pPr>
            <a:lvl4pPr marL="1370926" indent="0">
              <a:buNone/>
              <a:defRPr>
                <a:solidFill>
                  <a:schemeClr val="tx1">
                    <a:lumMod val="75000"/>
                    <a:lumOff val="25000"/>
                  </a:schemeClr>
                </a:solidFill>
                <a:latin typeface="Segoe UI Light" panose="020B0502040204020203" pitchFamily="34" charset="0"/>
                <a:cs typeface="Segoe UI Light" panose="020B0502040204020203" pitchFamily="34" charset="0"/>
              </a:defRPr>
            </a:lvl4pPr>
            <a:lvl5pPr marL="182790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36143977"/>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5_PresentationTitle_Manufacturing1">
    <p:bg>
      <p:bgPr>
        <a:solidFill>
          <a:schemeClr val="bg1"/>
        </a:solidFill>
        <a:effectLst/>
      </p:bgPr>
    </p:bg>
    <p:spTree>
      <p:nvGrpSpPr>
        <p:cNvPr id="1" name=""/>
        <p:cNvGrpSpPr/>
        <p:nvPr/>
      </p:nvGrpSpPr>
      <p:grpSpPr>
        <a:xfrm>
          <a:off x="0" y="0"/>
          <a:ext cx="0" cy="0"/>
          <a:chOff x="0" y="0"/>
          <a:chExt cx="0" cy="0"/>
        </a:xfrm>
      </p:grpSpPr>
      <p:pic>
        <p:nvPicPr>
          <p:cNvPr id="10" name="Picture 9" descr="STB13_SolarFarm_02.png"/>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1" y="-1"/>
            <a:ext cx="12190413" cy="6858001"/>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64" y="1559"/>
          <a:ext cx="1556" cy="1556"/>
        </p:xfrm>
        <a:graphic>
          <a:graphicData uri="http://schemas.openxmlformats.org/presentationml/2006/ole">
            <mc:AlternateContent xmlns:mc="http://schemas.openxmlformats.org/markup-compatibility/2006">
              <mc:Choice xmlns:v="urn:schemas-microsoft-com:vml" Requires="v">
                <p:oleObj spid="_x0000_s411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64" y="1559"/>
                        <a:ext cx="1556" cy="1556"/>
                      </a:xfrm>
                      <a:prstGeom prst="rect">
                        <a:avLst/>
                      </a:prstGeom>
                    </p:spPr>
                  </p:pic>
                </p:oleObj>
              </mc:Fallback>
            </mc:AlternateContent>
          </a:graphicData>
        </a:graphic>
      </p:graphicFrame>
      <p:sp>
        <p:nvSpPr>
          <p:cNvPr id="9" name="Rectangle 8"/>
          <p:cNvSpPr/>
          <p:nvPr/>
        </p:nvSpPr>
        <p:spPr bwMode="auto">
          <a:xfrm>
            <a:off x="0" y="548376"/>
            <a:ext cx="7956223" cy="3818020"/>
          </a:xfrm>
          <a:prstGeom prst="rect">
            <a:avLst/>
          </a:prstGeom>
          <a:solidFill>
            <a:schemeClr val="accent2">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1" tIns="143311" rIns="179141" bIns="143311" numCol="1" spcCol="0" rtlCol="0" fromWordArt="0" anchor="t" anchorCtr="0" forceAA="0" compatLnSpc="1">
            <a:prstTxWarp prst="textNoShape">
              <a:avLst/>
            </a:prstTxWarp>
            <a:noAutofit/>
          </a:bodyPr>
          <a:lstStyle/>
          <a:p>
            <a:pPr marL="0" marR="0" lvl="0" indent="0" algn="ctr" defTabSz="91328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Title 1"/>
          <p:cNvSpPr>
            <a:spLocks noGrp="1"/>
          </p:cNvSpPr>
          <p:nvPr>
            <p:ph type="ctrTitle" hasCustomPrompt="1"/>
          </p:nvPr>
        </p:nvSpPr>
        <p:spPr>
          <a:xfrm>
            <a:off x="457206" y="1543283"/>
            <a:ext cx="7272318" cy="1828193"/>
          </a:xfrm>
          <a:prstGeom prst="rect">
            <a:avLst/>
          </a:prstGeom>
        </p:spPr>
        <p:txBody>
          <a:bodyPr wrap="square" lIns="149143" tIns="0" rIns="149143" bIns="0" anchor="ctr" anchorCtr="0">
            <a:spAutoFit/>
          </a:bodyPr>
          <a:lstStyle>
            <a:lvl1pPr>
              <a:lnSpc>
                <a:spcPct val="90000"/>
              </a:lnSpc>
              <a:spcBef>
                <a:spcPts val="0"/>
              </a:spcBef>
              <a:defRPr sz="6568" baseline="0">
                <a:solidFill>
                  <a:schemeClr val="bg1"/>
                </a:solidFill>
              </a:defRPr>
            </a:lvl1pPr>
          </a:lstStyle>
          <a:p>
            <a:r>
              <a:rPr lang="en-US" dirty="0"/>
              <a:t>Headline here, second line here</a:t>
            </a:r>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0568149" y="6402586"/>
            <a:ext cx="1278487" cy="280187"/>
          </a:xfrm>
          <a:prstGeom prst="rect">
            <a:avLst/>
          </a:prstGeom>
        </p:spPr>
      </p:pic>
    </p:spTree>
    <p:extLst>
      <p:ext uri="{BB962C8B-B14F-4D97-AF65-F5344CB8AC3E}">
        <p14:creationId xmlns:p14="http://schemas.microsoft.com/office/powerpoint/2010/main" val="7674198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3_PresentationTitle_Manufacturing1">
    <p:bg>
      <p:bgPr>
        <a:solidFill>
          <a:schemeClr val="bg1"/>
        </a:soli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4">
            <a:extLst>
              <a:ext uri="{28A0092B-C50C-407E-A947-70E740481C1C}">
                <a14:useLocalDpi xmlns:a14="http://schemas.microsoft.com/office/drawing/2010/main" val="0"/>
              </a:ext>
            </a:extLst>
          </a:blip>
          <a:srcRect t="15225"/>
          <a:stretch/>
        </p:blipFill>
        <p:spPr>
          <a:xfrm flipH="1">
            <a:off x="6" y="0"/>
            <a:ext cx="12192000" cy="6885223"/>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64" y="1559"/>
          <a:ext cx="1556" cy="1556"/>
        </p:xfrm>
        <a:graphic>
          <a:graphicData uri="http://schemas.openxmlformats.org/presentationml/2006/ole">
            <mc:AlternateContent xmlns:mc="http://schemas.openxmlformats.org/markup-compatibility/2006">
              <mc:Choice xmlns:v="urn:schemas-microsoft-com:vml" Requires="v">
                <p:oleObj spid="_x0000_s514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64" y="1559"/>
                        <a:ext cx="1556" cy="1556"/>
                      </a:xfrm>
                      <a:prstGeom prst="rect">
                        <a:avLst/>
                      </a:prstGeom>
                    </p:spPr>
                  </p:pic>
                </p:oleObj>
              </mc:Fallback>
            </mc:AlternateContent>
          </a:graphicData>
        </a:graphic>
      </p:graphicFrame>
      <p:sp>
        <p:nvSpPr>
          <p:cNvPr id="9" name="Rectangle 8"/>
          <p:cNvSpPr/>
          <p:nvPr/>
        </p:nvSpPr>
        <p:spPr bwMode="auto">
          <a:xfrm>
            <a:off x="5" y="889512"/>
            <a:ext cx="6900421" cy="3818020"/>
          </a:xfrm>
          <a:prstGeom prst="rect">
            <a:avLst/>
          </a:prstGeom>
          <a:solidFill>
            <a:schemeClr val="accent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1" tIns="143311" rIns="179141" bIns="143311" numCol="1" spcCol="0" rtlCol="0" fromWordArt="0" anchor="t" anchorCtr="0" forceAA="0" compatLnSpc="1">
            <a:prstTxWarp prst="textNoShape">
              <a:avLst/>
            </a:prstTxWarp>
            <a:noAutofit/>
          </a:bodyPr>
          <a:lstStyle/>
          <a:p>
            <a:pPr marL="0" marR="0" lvl="0" indent="0" algn="ctr" defTabSz="91328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Title 1"/>
          <p:cNvSpPr>
            <a:spLocks noGrp="1"/>
          </p:cNvSpPr>
          <p:nvPr>
            <p:ph type="ctrTitle" hasCustomPrompt="1"/>
          </p:nvPr>
        </p:nvSpPr>
        <p:spPr>
          <a:xfrm>
            <a:off x="457206" y="1884419"/>
            <a:ext cx="6313281" cy="1828193"/>
          </a:xfrm>
          <a:prstGeom prst="rect">
            <a:avLst/>
          </a:prstGeom>
        </p:spPr>
        <p:txBody>
          <a:bodyPr wrap="square" lIns="149143" tIns="0" rIns="149143" bIns="0" anchor="ctr" anchorCtr="0">
            <a:spAutoFit/>
          </a:bodyPr>
          <a:lstStyle>
            <a:lvl1pPr>
              <a:lnSpc>
                <a:spcPct val="90000"/>
              </a:lnSpc>
              <a:spcBef>
                <a:spcPts val="0"/>
              </a:spcBef>
              <a:defRPr sz="6568" baseline="0">
                <a:solidFill>
                  <a:schemeClr val="bg1"/>
                </a:solidFill>
              </a:defRPr>
            </a:lvl1pPr>
          </a:lstStyle>
          <a:p>
            <a:r>
              <a:rPr lang="en-US" dirty="0"/>
              <a:t>Headline here, second line here</a:t>
            </a:r>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0568149" y="6402586"/>
            <a:ext cx="1278487" cy="280187"/>
          </a:xfrm>
          <a:prstGeom prst="rect">
            <a:avLst/>
          </a:prstGeom>
        </p:spPr>
      </p:pic>
    </p:spTree>
    <p:extLst>
      <p:ext uri="{BB962C8B-B14F-4D97-AF65-F5344CB8AC3E}">
        <p14:creationId xmlns:p14="http://schemas.microsoft.com/office/powerpoint/2010/main" val="14564502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6_PresentationTitle_Manufacturing1">
    <p:bg>
      <p:bgPr>
        <a:solidFill>
          <a:schemeClr val="bg1"/>
        </a:solidFill>
        <a:effectLst/>
      </p:bgPr>
    </p:bg>
    <p:spTree>
      <p:nvGrpSpPr>
        <p:cNvPr id="1" name=""/>
        <p:cNvGrpSpPr/>
        <p:nvPr/>
      </p:nvGrpSpPr>
      <p:grpSpPr>
        <a:xfrm>
          <a:off x="0" y="0"/>
          <a:ext cx="0" cy="0"/>
          <a:chOff x="0" y="0"/>
          <a:chExt cx="0" cy="0"/>
        </a:xfrm>
      </p:grpSpPr>
      <p:pic>
        <p:nvPicPr>
          <p:cNvPr id="11" name="Picture 10" descr="STB13_WindFarm_05.png"/>
          <p:cNvPicPr>
            <a:picLocks noChangeAspect="1"/>
          </p:cNvPicPr>
          <p:nvPr/>
        </p:nvPicPr>
        <p:blipFill rotWithShape="1">
          <a:blip r:embed="rId4" cstate="email">
            <a:extLst>
              <a:ext uri="{28A0092B-C50C-407E-A947-70E740481C1C}">
                <a14:useLocalDpi xmlns:a14="http://schemas.microsoft.com/office/drawing/2010/main" val="0"/>
              </a:ext>
            </a:extLst>
          </a:blip>
          <a:srcRect t="15560"/>
          <a:stretch/>
        </p:blipFill>
        <p:spPr>
          <a:xfrm flipH="1">
            <a:off x="6" y="0"/>
            <a:ext cx="12192000" cy="6858000"/>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64" y="1559"/>
          <a:ext cx="1556" cy="1556"/>
        </p:xfrm>
        <a:graphic>
          <a:graphicData uri="http://schemas.openxmlformats.org/presentationml/2006/ole">
            <mc:AlternateContent xmlns:mc="http://schemas.openxmlformats.org/markup-compatibility/2006">
              <mc:Choice xmlns:v="urn:schemas-microsoft-com:vml" Requires="v">
                <p:oleObj spid="_x0000_s616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64" y="1559"/>
                        <a:ext cx="1556" cy="1556"/>
                      </a:xfrm>
                      <a:prstGeom prst="rect">
                        <a:avLst/>
                      </a:prstGeom>
                    </p:spPr>
                  </p:pic>
                </p:oleObj>
              </mc:Fallback>
            </mc:AlternateContent>
          </a:graphicData>
        </a:graphic>
      </p:graphicFrame>
      <p:sp>
        <p:nvSpPr>
          <p:cNvPr id="9" name="Rectangle 8"/>
          <p:cNvSpPr/>
          <p:nvPr/>
        </p:nvSpPr>
        <p:spPr bwMode="auto">
          <a:xfrm>
            <a:off x="0" y="499087"/>
            <a:ext cx="7956223" cy="3818020"/>
          </a:xfrm>
          <a:prstGeom prst="rect">
            <a:avLst/>
          </a:prstGeom>
          <a:solidFill>
            <a:schemeClr val="accent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1" tIns="143311" rIns="179141" bIns="143311" numCol="1" spcCol="0" rtlCol="0" fromWordArt="0" anchor="t" anchorCtr="0" forceAA="0" compatLnSpc="1">
            <a:prstTxWarp prst="textNoShape">
              <a:avLst/>
            </a:prstTxWarp>
            <a:noAutofit/>
          </a:bodyPr>
          <a:lstStyle/>
          <a:p>
            <a:pPr marL="0" marR="0" lvl="0" indent="0" algn="ctr" defTabSz="91328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Title 1"/>
          <p:cNvSpPr>
            <a:spLocks noGrp="1"/>
          </p:cNvSpPr>
          <p:nvPr>
            <p:ph type="ctrTitle" hasCustomPrompt="1"/>
          </p:nvPr>
        </p:nvSpPr>
        <p:spPr>
          <a:xfrm>
            <a:off x="457206" y="1494002"/>
            <a:ext cx="7272318" cy="1828193"/>
          </a:xfrm>
          <a:prstGeom prst="rect">
            <a:avLst/>
          </a:prstGeom>
        </p:spPr>
        <p:txBody>
          <a:bodyPr wrap="square" lIns="149143" tIns="0" rIns="149143" bIns="0" anchor="ctr" anchorCtr="0">
            <a:spAutoFit/>
          </a:bodyPr>
          <a:lstStyle>
            <a:lvl1pPr>
              <a:lnSpc>
                <a:spcPct val="90000"/>
              </a:lnSpc>
              <a:spcBef>
                <a:spcPts val="0"/>
              </a:spcBef>
              <a:defRPr sz="6568" baseline="0">
                <a:solidFill>
                  <a:schemeClr val="bg1"/>
                </a:solidFill>
              </a:defRPr>
            </a:lvl1pPr>
          </a:lstStyle>
          <a:p>
            <a:r>
              <a:rPr lang="en-US" dirty="0"/>
              <a:t>Headline here, second line here</a:t>
            </a:r>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0568149" y="6402586"/>
            <a:ext cx="1278487" cy="280187"/>
          </a:xfrm>
          <a:prstGeom prst="rect">
            <a:avLst/>
          </a:prstGeom>
        </p:spPr>
      </p:pic>
    </p:spTree>
    <p:extLst>
      <p:ext uri="{BB962C8B-B14F-4D97-AF65-F5344CB8AC3E}">
        <p14:creationId xmlns:p14="http://schemas.microsoft.com/office/powerpoint/2010/main" val="34946080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4_PresentationTitle_">
    <p:bg>
      <p:bgPr>
        <a:solidFill>
          <a:schemeClr val="bg1"/>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rcRect t="15560"/>
          <a:stretch/>
        </p:blipFill>
        <p:spPr>
          <a:xfrm>
            <a:off x="6" y="0"/>
            <a:ext cx="12192000" cy="6858000"/>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64" y="1559"/>
          <a:ext cx="1556" cy="1556"/>
        </p:xfrm>
        <a:graphic>
          <a:graphicData uri="http://schemas.openxmlformats.org/presentationml/2006/ole">
            <mc:AlternateContent xmlns:mc="http://schemas.openxmlformats.org/markup-compatibility/2006">
              <mc:Choice xmlns:v="urn:schemas-microsoft-com:vml" Requires="v">
                <p:oleObj spid="_x0000_s718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64" y="1559"/>
                        <a:ext cx="1556" cy="1556"/>
                      </a:xfrm>
                      <a:prstGeom prst="rect">
                        <a:avLst/>
                      </a:prstGeom>
                    </p:spPr>
                  </p:pic>
                </p:oleObj>
              </mc:Fallback>
            </mc:AlternateContent>
          </a:graphicData>
        </a:graphic>
      </p:graphicFrame>
      <p:sp>
        <p:nvSpPr>
          <p:cNvPr id="9" name="Rectangle 8"/>
          <p:cNvSpPr/>
          <p:nvPr/>
        </p:nvSpPr>
        <p:spPr bwMode="auto">
          <a:xfrm>
            <a:off x="0" y="524939"/>
            <a:ext cx="7956223" cy="3818020"/>
          </a:xfrm>
          <a:prstGeom prst="rect">
            <a:avLst/>
          </a:prstGeom>
          <a:solidFill>
            <a:schemeClr val="accent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1" tIns="143311" rIns="179141" bIns="143311" numCol="1" spcCol="0" rtlCol="0" fromWordArt="0" anchor="t" anchorCtr="0" forceAA="0" compatLnSpc="1">
            <a:prstTxWarp prst="textNoShape">
              <a:avLst/>
            </a:prstTxWarp>
            <a:noAutofit/>
          </a:bodyPr>
          <a:lstStyle/>
          <a:p>
            <a:pPr marL="0" marR="0" lvl="0" indent="0" algn="ctr" defTabSz="91328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Title 1"/>
          <p:cNvSpPr>
            <a:spLocks noGrp="1"/>
          </p:cNvSpPr>
          <p:nvPr>
            <p:ph type="ctrTitle" hasCustomPrompt="1"/>
          </p:nvPr>
        </p:nvSpPr>
        <p:spPr>
          <a:xfrm>
            <a:off x="457206" y="1519860"/>
            <a:ext cx="7272318" cy="1828193"/>
          </a:xfrm>
          <a:prstGeom prst="rect">
            <a:avLst/>
          </a:prstGeom>
        </p:spPr>
        <p:txBody>
          <a:bodyPr wrap="square" lIns="149143" tIns="0" rIns="149143" bIns="0" anchor="ctr" anchorCtr="0">
            <a:spAutoFit/>
          </a:bodyPr>
          <a:lstStyle>
            <a:lvl1pPr>
              <a:lnSpc>
                <a:spcPct val="90000"/>
              </a:lnSpc>
              <a:spcBef>
                <a:spcPts val="0"/>
              </a:spcBef>
              <a:defRPr sz="6568" baseline="0">
                <a:solidFill>
                  <a:schemeClr val="bg1"/>
                </a:solidFill>
              </a:defRPr>
            </a:lvl1pPr>
          </a:lstStyle>
          <a:p>
            <a:r>
              <a:rPr lang="en-US" dirty="0"/>
              <a:t>Headline here, second line here</a:t>
            </a:r>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0568149" y="6402586"/>
            <a:ext cx="1278487" cy="280187"/>
          </a:xfrm>
          <a:prstGeom prst="rect">
            <a:avLst/>
          </a:prstGeom>
        </p:spPr>
      </p:pic>
    </p:spTree>
    <p:extLst>
      <p:ext uri="{BB962C8B-B14F-4D97-AF65-F5344CB8AC3E}">
        <p14:creationId xmlns:p14="http://schemas.microsoft.com/office/powerpoint/2010/main" val="13764113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PresentationTitle_HEALTHCARE">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4">
            <a:extLst>
              <a:ext uri="{28A0092B-C50C-407E-A947-70E740481C1C}">
                <a14:useLocalDpi xmlns:a14="http://schemas.microsoft.com/office/drawing/2010/main" val="0"/>
              </a:ext>
            </a:extLst>
          </a:blip>
          <a:srcRect l="2139" t="18869" r="6186" b="3476"/>
          <a:stretch/>
        </p:blipFill>
        <p:spPr>
          <a:xfrm>
            <a:off x="1" y="0"/>
            <a:ext cx="12191999" cy="6879668"/>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64" y="1559"/>
          <a:ext cx="1556" cy="1556"/>
        </p:xfrm>
        <a:graphic>
          <a:graphicData uri="http://schemas.openxmlformats.org/presentationml/2006/ole">
            <mc:AlternateContent xmlns:mc="http://schemas.openxmlformats.org/markup-compatibility/2006">
              <mc:Choice xmlns:v="urn:schemas-microsoft-com:vml" Requires="v">
                <p:oleObj spid="_x0000_s821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64" y="1559"/>
                        <a:ext cx="1556" cy="1556"/>
                      </a:xfrm>
                      <a:prstGeom prst="rect">
                        <a:avLst/>
                      </a:prstGeom>
                    </p:spPr>
                  </p:pic>
                </p:oleObj>
              </mc:Fallback>
            </mc:AlternateContent>
          </a:graphicData>
        </a:graphic>
      </p:graphicFrame>
      <p:sp>
        <p:nvSpPr>
          <p:cNvPr id="9" name="Rectangle 8"/>
          <p:cNvSpPr/>
          <p:nvPr/>
        </p:nvSpPr>
        <p:spPr bwMode="auto">
          <a:xfrm>
            <a:off x="7" y="2290098"/>
            <a:ext cx="6975835" cy="3818020"/>
          </a:xfrm>
          <a:prstGeom prst="rect">
            <a:avLst/>
          </a:prstGeom>
          <a:solidFill>
            <a:schemeClr val="accent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1" tIns="143311" rIns="179141" bIns="143311" numCol="1" spcCol="0" rtlCol="0" fromWordArt="0" anchor="t" anchorCtr="0" forceAA="0" compatLnSpc="1">
            <a:prstTxWarp prst="textNoShape">
              <a:avLst/>
            </a:prstTxWarp>
            <a:noAutofit/>
          </a:bodyPr>
          <a:lstStyle/>
          <a:p>
            <a:pPr marL="0" marR="0" lvl="0" indent="0" algn="ctr" defTabSz="91328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Title 1"/>
          <p:cNvSpPr>
            <a:spLocks noGrp="1"/>
          </p:cNvSpPr>
          <p:nvPr>
            <p:ph type="ctrTitle" hasCustomPrompt="1"/>
          </p:nvPr>
        </p:nvSpPr>
        <p:spPr>
          <a:xfrm>
            <a:off x="457207" y="3368112"/>
            <a:ext cx="6152365" cy="1661993"/>
          </a:xfrm>
          <a:prstGeom prst="rect">
            <a:avLst/>
          </a:prstGeom>
        </p:spPr>
        <p:txBody>
          <a:bodyPr wrap="square" lIns="149143" tIns="0" rIns="149143" bIns="0" anchor="ctr" anchorCtr="0">
            <a:spAutoFit/>
          </a:bodyPr>
          <a:lstStyle>
            <a:lvl1pPr>
              <a:lnSpc>
                <a:spcPct val="90000"/>
              </a:lnSpc>
              <a:spcBef>
                <a:spcPts val="0"/>
              </a:spcBef>
              <a:defRPr sz="5980" baseline="0">
                <a:solidFill>
                  <a:schemeClr val="bg1"/>
                </a:solidFill>
              </a:defRPr>
            </a:lvl1pPr>
          </a:lstStyle>
          <a:p>
            <a:r>
              <a:rPr lang="en-US" dirty="0"/>
              <a:t>Headline here, second line here</a:t>
            </a:r>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0568149" y="6402586"/>
            <a:ext cx="1278487" cy="280187"/>
          </a:xfrm>
          <a:prstGeom prst="rect">
            <a:avLst/>
          </a:prstGeom>
        </p:spPr>
      </p:pic>
    </p:spTree>
    <p:extLst>
      <p:ext uri="{BB962C8B-B14F-4D97-AF65-F5344CB8AC3E}">
        <p14:creationId xmlns:p14="http://schemas.microsoft.com/office/powerpoint/2010/main" val="23449926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11_PresentationTitle_Manufacturing1">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4">
            <a:extLst>
              <a:ext uri="{28A0092B-C50C-407E-A947-70E740481C1C}">
                <a14:useLocalDpi xmlns:a14="http://schemas.microsoft.com/office/drawing/2010/main" val="0"/>
              </a:ext>
            </a:extLst>
          </a:blip>
          <a:srcRect l="5534" t="14732" r="1686" b="6521"/>
          <a:stretch/>
        </p:blipFill>
        <p:spPr>
          <a:xfrm>
            <a:off x="6" y="5310"/>
            <a:ext cx="12192000" cy="6861534"/>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64" y="1559"/>
          <a:ext cx="1556" cy="1556"/>
        </p:xfrm>
        <a:graphic>
          <a:graphicData uri="http://schemas.openxmlformats.org/presentationml/2006/ole">
            <mc:AlternateContent xmlns:mc="http://schemas.openxmlformats.org/markup-compatibility/2006">
              <mc:Choice xmlns:v="urn:schemas-microsoft-com:vml" Requires="v">
                <p:oleObj spid="_x0000_s923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64" y="1559"/>
                        <a:ext cx="1556" cy="1556"/>
                      </a:xfrm>
                      <a:prstGeom prst="rect">
                        <a:avLst/>
                      </a:prstGeom>
                    </p:spPr>
                  </p:pic>
                </p:oleObj>
              </mc:Fallback>
            </mc:AlternateContent>
          </a:graphicData>
        </a:graphic>
      </p:graphicFrame>
      <p:sp>
        <p:nvSpPr>
          <p:cNvPr id="9" name="Rectangle 8"/>
          <p:cNvSpPr/>
          <p:nvPr/>
        </p:nvSpPr>
        <p:spPr bwMode="auto">
          <a:xfrm>
            <a:off x="-18853" y="2698161"/>
            <a:ext cx="7956223" cy="3818020"/>
          </a:xfrm>
          <a:prstGeom prst="rect">
            <a:avLst/>
          </a:prstGeom>
          <a:solidFill>
            <a:schemeClr val="accent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1" tIns="143311" rIns="179141" bIns="143311" numCol="1" spcCol="0" rtlCol="0" fromWordArt="0" anchor="t" anchorCtr="0" forceAA="0" compatLnSpc="1">
            <a:prstTxWarp prst="textNoShape">
              <a:avLst/>
            </a:prstTxWarp>
            <a:noAutofit/>
          </a:bodyPr>
          <a:lstStyle/>
          <a:p>
            <a:pPr marL="0" marR="0" lvl="0" indent="0" algn="ctr" defTabSz="91328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Title 1"/>
          <p:cNvSpPr>
            <a:spLocks noGrp="1"/>
          </p:cNvSpPr>
          <p:nvPr>
            <p:ph type="ctrTitle" hasCustomPrompt="1"/>
          </p:nvPr>
        </p:nvSpPr>
        <p:spPr>
          <a:xfrm>
            <a:off x="457206" y="3693082"/>
            <a:ext cx="7291634" cy="1828193"/>
          </a:xfrm>
          <a:prstGeom prst="rect">
            <a:avLst/>
          </a:prstGeom>
        </p:spPr>
        <p:txBody>
          <a:bodyPr wrap="square" lIns="149143" tIns="0" rIns="149143" bIns="0" anchor="ctr" anchorCtr="0">
            <a:spAutoFit/>
          </a:bodyPr>
          <a:lstStyle>
            <a:lvl1pPr>
              <a:lnSpc>
                <a:spcPct val="90000"/>
              </a:lnSpc>
              <a:spcBef>
                <a:spcPts val="0"/>
              </a:spcBef>
              <a:defRPr sz="6568" baseline="0">
                <a:solidFill>
                  <a:schemeClr val="bg1"/>
                </a:solidFill>
              </a:defRPr>
            </a:lvl1pPr>
          </a:lstStyle>
          <a:p>
            <a:r>
              <a:rPr lang="en-US" dirty="0"/>
              <a:t>Headline here, second line here</a:t>
            </a:r>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0568149" y="6402586"/>
            <a:ext cx="1278487" cy="280187"/>
          </a:xfrm>
          <a:prstGeom prst="rect">
            <a:avLst/>
          </a:prstGeom>
        </p:spPr>
      </p:pic>
    </p:spTree>
    <p:extLst>
      <p:ext uri="{BB962C8B-B14F-4D97-AF65-F5344CB8AC3E}">
        <p14:creationId xmlns:p14="http://schemas.microsoft.com/office/powerpoint/2010/main" val="535115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64" y="1559"/>
          <a:ext cx="1556" cy="1556"/>
        </p:xfrm>
        <a:graphic>
          <a:graphicData uri="http://schemas.openxmlformats.org/presentationml/2006/ole">
            <mc:AlternateContent xmlns:mc="http://schemas.openxmlformats.org/markup-compatibility/2006">
              <mc:Choice xmlns:v="urn:schemas-microsoft-com:vml" Requires="v">
                <p:oleObj spid="_x0000_s1028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64" y="1559"/>
                        <a:ext cx="1556" cy="1556"/>
                      </a:xfrm>
                      <a:prstGeom prst="rect">
                        <a:avLst/>
                      </a:prstGeom>
                    </p:spPr>
                  </p:pic>
                </p:oleObj>
              </mc:Fallback>
            </mc:AlternateContent>
          </a:graphicData>
        </a:graphic>
      </p:graphicFrame>
      <p:graphicFrame>
        <p:nvGraphicFramePr>
          <p:cNvPr id="3" name="Object 2" hidden="1"/>
          <p:cNvGraphicFramePr>
            <a:graphicFrameLocks noChangeAspect="1"/>
          </p:cNvGraphicFramePr>
          <p:nvPr>
            <p:custDataLst>
              <p:tags r:id="rId3"/>
            </p:custDataLst>
            <p:extLst/>
          </p:nvPr>
        </p:nvGraphicFramePr>
        <p:xfrm>
          <a:off x="1563" y="1558"/>
          <a:ext cx="1556" cy="1556"/>
        </p:xfrm>
        <a:graphic>
          <a:graphicData uri="http://schemas.openxmlformats.org/presentationml/2006/ole">
            <mc:AlternateContent xmlns:mc="http://schemas.openxmlformats.org/markup-compatibility/2006">
              <mc:Choice xmlns:v="urn:schemas-microsoft-com:vml" Requires="v">
                <p:oleObj spid="_x0000_s10281" name="think-cell Slide" r:id="rId7" imgW="270" imgH="270" progId="TCLayout.ActiveDocument.1">
                  <p:embed/>
                </p:oleObj>
              </mc:Choice>
              <mc:Fallback>
                <p:oleObj name="think-cell Slide" r:id="rId7" imgW="270" imgH="270" progId="TCLayout.ActiveDocument.1">
                  <p:embed/>
                  <p:pic>
                    <p:nvPicPr>
                      <p:cNvPr id="3" name="Object 2" hidden="1"/>
                      <p:cNvPicPr/>
                      <p:nvPr/>
                    </p:nvPicPr>
                    <p:blipFill>
                      <a:blip r:embed="rId6"/>
                      <a:stretch>
                        <a:fillRect/>
                      </a:stretch>
                    </p:blipFill>
                    <p:spPr>
                      <a:xfrm>
                        <a:off x="1563"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3166110704"/>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cSld name="1_DK BLUE | SIDE TEXT">
    <p:bg>
      <p:bgPr>
        <a:solidFill>
          <a:schemeClr val="accent2"/>
        </a:solidFill>
        <a:effectLst/>
      </p:bgPr>
    </p:bg>
    <p:spTree>
      <p:nvGrpSpPr>
        <p:cNvPr id="1" name=""/>
        <p:cNvGrpSpPr/>
        <p:nvPr/>
      </p:nvGrpSpPr>
      <p:grpSpPr>
        <a:xfrm>
          <a:off x="0" y="0"/>
          <a:ext cx="0" cy="0"/>
          <a:chOff x="0" y="0"/>
          <a:chExt cx="0" cy="0"/>
        </a:xfrm>
      </p:grpSpPr>
      <p:sp>
        <p:nvSpPr>
          <p:cNvPr id="18" name="Text Placeholder 3"/>
          <p:cNvSpPr>
            <a:spLocks noGrp="1"/>
          </p:cNvSpPr>
          <p:nvPr>
            <p:ph type="body" sz="quarter" idx="13"/>
          </p:nvPr>
        </p:nvSpPr>
        <p:spPr>
          <a:xfrm>
            <a:off x="4266727" y="1371608"/>
            <a:ext cx="7393324" cy="1588127"/>
          </a:xfrm>
        </p:spPr>
        <p:txBody>
          <a:bodyPr rIns="93214"/>
          <a:lstStyle>
            <a:lvl1pPr marL="0" indent="0">
              <a:spcBef>
                <a:spcPts val="1800"/>
              </a:spcBef>
              <a:buFont typeface="Arial" pitchFamily="34" charset="0"/>
              <a:buNone/>
              <a:defRPr lang="en-US" sz="3235" kern="4000" spc="-100"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vl2pPr marL="1588" indent="0">
              <a:spcBef>
                <a:spcPts val="500"/>
              </a:spcBef>
              <a:buFont typeface="Arial" pitchFamily="34" charset="0"/>
              <a:buNone/>
              <a:tabLst/>
              <a:defRPr lang="en-US" sz="1765" kern="4000" spc="0"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n-lt"/>
                <a:ea typeface="+mn-ea"/>
                <a:cs typeface="+mn-cs"/>
              </a:defRPr>
            </a:lvl2pPr>
            <a:lvl3pPr marL="0" indent="0">
              <a:spcBef>
                <a:spcPts val="500"/>
              </a:spcBef>
              <a:buFont typeface="Arial" pitchFamily="34" charset="0"/>
              <a:buNone/>
              <a:defRPr sz="1372">
                <a:gradFill>
                  <a:gsLst>
                    <a:gs pos="0">
                      <a:schemeClr val="bg1">
                        <a:lumMod val="65000"/>
                        <a:lumOff val="35000"/>
                      </a:schemeClr>
                    </a:gs>
                    <a:gs pos="86000">
                      <a:schemeClr val="bg1">
                        <a:lumMod val="65000"/>
                        <a:lumOff val="35000"/>
                      </a:schemeClr>
                    </a:gs>
                  </a:gsLst>
                  <a:path path="circle">
                    <a:fillToRect r="100000" b="100000"/>
                  </a:path>
                </a:gradFill>
              </a:defRPr>
            </a:lvl3pPr>
            <a:lvl4pPr marL="0" indent="0">
              <a:spcBef>
                <a:spcPts val="500"/>
              </a:spcBef>
              <a:buFont typeface="Arial" pitchFamily="34" charset="0"/>
              <a:buNone/>
              <a:defRPr sz="1078">
                <a:gradFill>
                  <a:gsLst>
                    <a:gs pos="0">
                      <a:schemeClr val="bg1">
                        <a:lumMod val="65000"/>
                        <a:lumOff val="35000"/>
                      </a:schemeClr>
                    </a:gs>
                    <a:gs pos="86000">
                      <a:schemeClr val="bg1">
                        <a:lumMod val="65000"/>
                        <a:lumOff val="35000"/>
                      </a:schemeClr>
                    </a:gs>
                  </a:gsLst>
                  <a:path path="circle">
                    <a:fillToRect r="100000" b="100000"/>
                  </a:path>
                </a:gradFill>
              </a:defRPr>
            </a:lvl4pPr>
            <a:lvl5pPr marL="0" indent="0">
              <a:spcBef>
                <a:spcPts val="500"/>
              </a:spcBef>
              <a:buFont typeface="Arial" pitchFamily="34" charset="0"/>
              <a:buNone/>
              <a:defRPr sz="1078">
                <a:gradFill>
                  <a:gsLst>
                    <a:gs pos="0">
                      <a:schemeClr val="bg1">
                        <a:lumMod val="65000"/>
                        <a:lumOff val="35000"/>
                      </a:schemeClr>
                    </a:gs>
                    <a:gs pos="86000">
                      <a:schemeClr val="bg1">
                        <a:lumMod val="65000"/>
                        <a:lumOff val="35000"/>
                      </a:schemeClr>
                    </a:gs>
                  </a:gsLst>
                  <a:path path="circle">
                    <a:fillToRect r="100000" b="100000"/>
                  </a:path>
                </a:gradFill>
              </a:defRPr>
            </a:lvl5pPr>
          </a:lstStyle>
          <a:p>
            <a:pPr marL="0" lvl="0" indent="0" algn="l" defTabSz="685580" rtl="0" eaLnBrk="1" latinLnBrk="0" hangingPunct="1">
              <a:lnSpc>
                <a:spcPct val="90000"/>
              </a:lnSpc>
              <a:spcBef>
                <a:spcPct val="20000"/>
              </a:spcBef>
              <a:buSzPct val="90000"/>
              <a:buFont typeface="Arial" pitchFamily="34" charset="0"/>
              <a:buNone/>
            </a:pPr>
            <a:r>
              <a:rPr lang="en-US"/>
              <a:t>Click to edit Master text styles</a:t>
            </a:r>
          </a:p>
          <a:p>
            <a:pPr marL="0" lvl="1" indent="0" algn="l" defTabSz="685580" rtl="0" eaLnBrk="1" latinLnBrk="0" hangingPunct="1">
              <a:lnSpc>
                <a:spcPct val="90000"/>
              </a:lnSpc>
              <a:spcBef>
                <a:spcPct val="20000"/>
              </a:spcBef>
              <a:buSzPct val="90000"/>
              <a:buFont typeface="Arial" pitchFamily="34" charset="0"/>
              <a:buNone/>
            </a:pPr>
            <a:r>
              <a:rPr lang="en-US"/>
              <a:t>Second level</a:t>
            </a:r>
          </a:p>
          <a:p>
            <a:pPr marL="0" lvl="2" indent="0" algn="l" defTabSz="685580" rtl="0" eaLnBrk="1" latinLnBrk="0" hangingPunct="1">
              <a:lnSpc>
                <a:spcPct val="90000"/>
              </a:lnSpc>
              <a:spcBef>
                <a:spcPct val="20000"/>
              </a:spcBef>
              <a:buSzPct val="90000"/>
              <a:buFont typeface="Arial" pitchFamily="34" charset="0"/>
              <a:buNone/>
            </a:pPr>
            <a:r>
              <a:rPr lang="en-US"/>
              <a:t>Third level</a:t>
            </a:r>
          </a:p>
          <a:p>
            <a:pPr marL="0" lvl="3" indent="0" algn="l" defTabSz="685580" rtl="0" eaLnBrk="1" latinLnBrk="0" hangingPunct="1">
              <a:lnSpc>
                <a:spcPct val="90000"/>
              </a:lnSpc>
              <a:spcBef>
                <a:spcPct val="20000"/>
              </a:spcBef>
              <a:buSzPct val="90000"/>
              <a:buFont typeface="Arial" pitchFamily="34" charset="0"/>
              <a:buNone/>
            </a:pPr>
            <a:r>
              <a:rPr lang="en-US"/>
              <a:t>Fourth level</a:t>
            </a:r>
          </a:p>
          <a:p>
            <a:pPr marL="0" lvl="4" indent="0" algn="l" defTabSz="685580" rtl="0" eaLnBrk="1" latinLnBrk="0" hangingPunct="1">
              <a:lnSpc>
                <a:spcPct val="90000"/>
              </a:lnSpc>
              <a:spcBef>
                <a:spcPct val="20000"/>
              </a:spcBef>
              <a:buSzPct val="90000"/>
              <a:buFont typeface="Arial" pitchFamily="34" charset="0"/>
              <a:buNone/>
            </a:pPr>
            <a:r>
              <a:rPr lang="en-US"/>
              <a:t>Fifth level</a:t>
            </a:r>
            <a:endParaRPr lang="en-US" dirty="0"/>
          </a:p>
        </p:txBody>
      </p:sp>
      <p:sp>
        <p:nvSpPr>
          <p:cNvPr id="2" name="Title 1"/>
          <p:cNvSpPr>
            <a:spLocks noGrp="1"/>
          </p:cNvSpPr>
          <p:nvPr>
            <p:ph type="title"/>
          </p:nvPr>
        </p:nvSpPr>
        <p:spPr>
          <a:xfrm>
            <a:off x="4266732" y="193811"/>
            <a:ext cx="7404441" cy="678980"/>
          </a:xfrm>
        </p:spPr>
        <p:txBody>
          <a:bodyPr/>
          <a:lstStyle>
            <a:lvl1pPr>
              <a:defRPr lang="en-US" sz="4411" b="0" kern="1200" cap="none" spc="-100" baseline="0" dirty="0">
                <a:ln w="3175">
                  <a:noFill/>
                </a:ln>
                <a:gradFill>
                  <a:gsLst>
                    <a:gs pos="0">
                      <a:schemeClr val="bg1">
                        <a:lumMod val="65000"/>
                        <a:lumOff val="35000"/>
                      </a:schemeClr>
                    </a:gs>
                    <a:gs pos="86000">
                      <a:schemeClr val="bg1">
                        <a:lumMod val="65000"/>
                        <a:lumOff val="35000"/>
                      </a:schemeClr>
                    </a:gs>
                  </a:gsLst>
                  <a:path path="circle">
                    <a:fillToRect r="100000" b="100000"/>
                  </a:path>
                </a:gradFill>
                <a:effectLst/>
                <a:latin typeface="Segoe UI Light" pitchFamily="34" charset="0"/>
                <a:ea typeface="+mn-ea"/>
                <a:cs typeface="Arial" charset="0"/>
              </a:defRPr>
            </a:lvl1pPr>
          </a:lstStyle>
          <a:p>
            <a:r>
              <a:rPr lang="en-US"/>
              <a:t>Click to edit Master title style</a:t>
            </a:r>
            <a:endParaRPr lang="en-US" dirty="0"/>
          </a:p>
        </p:txBody>
      </p:sp>
    </p:spTree>
    <p:extLst>
      <p:ext uri="{BB962C8B-B14F-4D97-AF65-F5344CB8AC3E}">
        <p14:creationId xmlns:p14="http://schemas.microsoft.com/office/powerpoint/2010/main" val="2040138988"/>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519255" y="228605"/>
            <a:ext cx="11151917" cy="661720"/>
          </a:xfrm>
          <a:prstGeom prst="rect">
            <a:avLst/>
          </a:prstGeom>
        </p:spPr>
        <p:txBody>
          <a:bodyPr vert="horz" wrap="square" lIns="0" tIns="0" rIns="0" bIns="0" rtlCol="0" anchor="t">
            <a:spAutoFit/>
          </a:bodyPr>
          <a:lstStyle/>
          <a:p>
            <a:r>
              <a:rPr lang="en-US"/>
              <a:t>Click to edit Master title style</a:t>
            </a:r>
            <a:endParaRPr lang="en-US" dirty="0"/>
          </a:p>
        </p:txBody>
      </p:sp>
    </p:spTree>
    <p:extLst>
      <p:ext uri="{BB962C8B-B14F-4D97-AF65-F5344CB8AC3E}">
        <p14:creationId xmlns:p14="http://schemas.microsoft.com/office/powerpoint/2010/main" val="2873359968"/>
      </p:ext>
    </p:extLst>
  </p:cSld>
  <p:clrMapOvr>
    <a:masterClrMapping/>
  </p:clrMapOvr>
  <p:transition spd="med">
    <p:push dir="r"/>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Title with Sub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9" y="173755"/>
            <a:ext cx="11290165" cy="663708"/>
          </a:xfrm>
          <a:prstGeom prst="rect">
            <a:avLst/>
          </a:prstGeom>
        </p:spPr>
        <p:txBody>
          <a:bodyPr/>
          <a:lstStyle/>
          <a:p>
            <a:r>
              <a:rPr lang="en-US" dirty="0"/>
              <a:t>Title and content</a:t>
            </a:r>
          </a:p>
        </p:txBody>
      </p:sp>
      <p:sp>
        <p:nvSpPr>
          <p:cNvPr id="10" name="Text Placeholder 9"/>
          <p:cNvSpPr>
            <a:spLocks noGrp="1"/>
          </p:cNvSpPr>
          <p:nvPr>
            <p:ph type="body" sz="quarter" idx="11"/>
          </p:nvPr>
        </p:nvSpPr>
        <p:spPr>
          <a:xfrm>
            <a:off x="381000" y="782638"/>
            <a:ext cx="11290300" cy="424732"/>
          </a:xfrm>
        </p:spPr>
        <p:txBody>
          <a:bodyPr/>
          <a:lstStyle>
            <a:lvl1pPr>
              <a:defRPr sz="2353">
                <a:solidFill>
                  <a:schemeClr val="accent2"/>
                </a:solidFill>
              </a:defRPr>
            </a:lvl1pPr>
          </a:lstStyle>
          <a:p>
            <a:pPr lvl="0"/>
            <a:r>
              <a:rPr lang="en-US"/>
              <a:t>Click to edit Master text styles</a:t>
            </a:r>
          </a:p>
        </p:txBody>
      </p:sp>
    </p:spTree>
    <p:extLst>
      <p:ext uri="{BB962C8B-B14F-4D97-AF65-F5344CB8AC3E}">
        <p14:creationId xmlns:p14="http://schemas.microsoft.com/office/powerpoint/2010/main" val="397003696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980725"/>
            <a:ext cx="11155093" cy="1172373"/>
          </a:xfrm>
        </p:spPr>
        <p:txBody>
          <a:bodyPr anchor="b" anchorCtr="0">
            <a:spAutoFit/>
          </a:bodyPr>
          <a:lstStyle>
            <a:lvl1pPr>
              <a:defRPr sz="7058" spc="-150" baseline="0">
                <a:gradFill>
                  <a:gsLst>
                    <a:gs pos="25833">
                      <a:schemeClr val="tx1"/>
                    </a:gs>
                    <a:gs pos="36000">
                      <a:schemeClr val="tx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269239" y="4773829"/>
            <a:ext cx="11155093" cy="724246"/>
          </a:xfrm>
        </p:spPr>
        <p:txBody>
          <a:bodyPr>
            <a:spAutoFit/>
          </a:bodyPr>
          <a:lstStyle>
            <a:lvl1pPr marL="0" indent="0">
              <a:spcBef>
                <a:spcPts val="0"/>
              </a:spcBef>
              <a:buNone/>
              <a:defRPr sz="3137" spc="-70" baseline="0">
                <a:gradFill>
                  <a:gsLst>
                    <a:gs pos="25833">
                      <a:schemeClr val="tx1"/>
                    </a:gs>
                    <a:gs pos="36000">
                      <a:schemeClr val="tx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4350800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l" defTabSz="914225" rtl="0" eaLnBrk="1" fontAlgn="auto" latinLnBrk="0" hangingPunct="1">
              <a:lnSpc>
                <a:spcPct val="100000"/>
              </a:lnSpc>
              <a:spcBef>
                <a:spcPts val="0"/>
              </a:spcBef>
              <a:spcAft>
                <a:spcPts val="0"/>
              </a:spcAft>
              <a:buClrTx/>
              <a:buSzTx/>
              <a:buFontTx/>
              <a:buNone/>
              <a:tabLst/>
              <a:defRPr/>
            </a:pPr>
            <a:fld id="{4CED8391-71CF-4FD3-A093-40D26DE2D47C}" type="slidenum">
              <a:rPr kumimoji="0" lang="en-US" sz="1800" b="0" i="0" u="none" strike="noStrike" kern="1200" cap="none" spc="0" normalizeH="0" baseline="0" noProof="0" smtClean="0">
                <a:ln>
                  <a:noFill/>
                </a:ln>
                <a:solidFill>
                  <a:srgbClr val="00188F"/>
                </a:solidFill>
                <a:effectLst/>
                <a:uLnTx/>
                <a:uFillTx/>
                <a:latin typeface="Segoe UI"/>
                <a:ea typeface="+mn-ea"/>
                <a:cs typeface="+mn-cs"/>
              </a:rPr>
              <a:pPr marL="0" marR="0" lvl="0" indent="0" algn="l" defTabSz="914225"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188F"/>
              </a:solidFill>
              <a:effectLst/>
              <a:uLnTx/>
              <a:uFillTx/>
              <a:latin typeface="Segoe UI"/>
              <a:ea typeface="+mn-ea"/>
              <a:cs typeface="+mn-cs"/>
            </a:endParaRPr>
          </a:p>
        </p:txBody>
      </p:sp>
      <p:sp>
        <p:nvSpPr>
          <p:cNvPr id="4" name="Title 3"/>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2"/>
          </p:nvPr>
        </p:nvSpPr>
        <p:spPr>
          <a:xfrm>
            <a:off x="384175" y="1181109"/>
            <a:ext cx="11234738" cy="1834338"/>
          </a:xfrm>
        </p:spPr>
        <p:txBody>
          <a:bodyPr/>
          <a:lstStyle>
            <a:lvl2pPr>
              <a:spcBef>
                <a:spcPts val="600"/>
              </a:spcBef>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5263283"/>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cSld name="7_PresentationTitle_Manufacturing1">
    <p:bg>
      <p:bgPr>
        <a:solidFill>
          <a:schemeClr val="bg1"/>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a:xfrm>
            <a:off x="457202" y="699107"/>
            <a:ext cx="7272318" cy="1329595"/>
          </a:xfrm>
          <a:prstGeom prst="rect">
            <a:avLst/>
          </a:prstGeom>
        </p:spPr>
        <p:txBody>
          <a:bodyPr wrap="square" lIns="143407" tIns="0" rIns="143407" bIns="0">
            <a:spAutoFit/>
          </a:bodyPr>
          <a:lstStyle>
            <a:lvl1pPr>
              <a:lnSpc>
                <a:spcPct val="90000"/>
              </a:lnSpc>
              <a:spcBef>
                <a:spcPts val="0"/>
              </a:spcBef>
              <a:defRPr sz="4800" baseline="0">
                <a:solidFill>
                  <a:schemeClr val="bg1"/>
                </a:solidFill>
              </a:defRPr>
            </a:lvl1pPr>
          </a:lstStyle>
          <a:p>
            <a:r>
              <a:rPr lang="en-US" dirty="0"/>
              <a:t>Headline here, second line here</a:t>
            </a:r>
          </a:p>
        </p:txBody>
      </p:sp>
      <p:sp>
        <p:nvSpPr>
          <p:cNvPr id="17" name="Subtitle 2"/>
          <p:cNvSpPr>
            <a:spLocks noGrp="1"/>
          </p:cNvSpPr>
          <p:nvPr>
            <p:ph type="subTitle" idx="1" hasCustomPrompt="1"/>
          </p:nvPr>
        </p:nvSpPr>
        <p:spPr>
          <a:xfrm>
            <a:off x="457202" y="3155392"/>
            <a:ext cx="6152293" cy="581698"/>
          </a:xfrm>
          <a:prstGeom prst="rect">
            <a:avLst/>
          </a:prstGeom>
        </p:spPr>
        <p:txBody>
          <a:bodyPr lIns="143407" tIns="0" rIns="143407" bIns="0"/>
          <a:lstStyle>
            <a:lvl1pPr marL="0" indent="0" algn="l">
              <a:lnSpc>
                <a:spcPct val="90000"/>
              </a:lnSpc>
              <a:spcBef>
                <a:spcPts val="0"/>
              </a:spcBef>
              <a:buNone/>
              <a:defRPr sz="2100">
                <a:solidFill>
                  <a:schemeClr val="bg1"/>
                </a:solidFill>
                <a:latin typeface="+mn-lt"/>
              </a:defRPr>
            </a:lvl1pPr>
            <a:lvl2pPr marL="447877" indent="0" algn="ctr">
              <a:buNone/>
              <a:defRPr>
                <a:solidFill>
                  <a:schemeClr val="tx1">
                    <a:tint val="75000"/>
                  </a:schemeClr>
                </a:solidFill>
              </a:defRPr>
            </a:lvl2pPr>
            <a:lvl3pPr marL="895756" indent="0" algn="ctr">
              <a:buNone/>
              <a:defRPr>
                <a:solidFill>
                  <a:schemeClr val="tx1">
                    <a:tint val="75000"/>
                  </a:schemeClr>
                </a:solidFill>
              </a:defRPr>
            </a:lvl3pPr>
            <a:lvl4pPr marL="1343633" indent="0" algn="ctr">
              <a:buNone/>
              <a:defRPr>
                <a:solidFill>
                  <a:schemeClr val="tx1">
                    <a:tint val="75000"/>
                  </a:schemeClr>
                </a:solidFill>
              </a:defRPr>
            </a:lvl4pPr>
            <a:lvl5pPr marL="1791514" indent="0" algn="ctr">
              <a:buNone/>
              <a:defRPr>
                <a:solidFill>
                  <a:schemeClr val="tx1">
                    <a:tint val="75000"/>
                  </a:schemeClr>
                </a:solidFill>
              </a:defRPr>
            </a:lvl5pPr>
            <a:lvl6pPr marL="2239390" indent="0" algn="ctr">
              <a:buNone/>
              <a:defRPr>
                <a:solidFill>
                  <a:schemeClr val="tx1">
                    <a:tint val="75000"/>
                  </a:schemeClr>
                </a:solidFill>
              </a:defRPr>
            </a:lvl6pPr>
            <a:lvl7pPr marL="2687269" indent="0" algn="ctr">
              <a:buNone/>
              <a:defRPr>
                <a:solidFill>
                  <a:schemeClr val="tx1">
                    <a:tint val="75000"/>
                  </a:schemeClr>
                </a:solidFill>
              </a:defRPr>
            </a:lvl7pPr>
            <a:lvl8pPr marL="3135146" indent="0" algn="ctr">
              <a:buNone/>
              <a:defRPr>
                <a:solidFill>
                  <a:schemeClr val="tx1">
                    <a:tint val="75000"/>
                  </a:schemeClr>
                </a:solidFill>
              </a:defRPr>
            </a:lvl8pPr>
            <a:lvl9pPr marL="3583024" indent="0" algn="ctr">
              <a:buNone/>
              <a:defRPr>
                <a:solidFill>
                  <a:schemeClr val="tx1">
                    <a:tint val="75000"/>
                  </a:schemeClr>
                </a:solidFill>
              </a:defRPr>
            </a:lvl9pPr>
          </a:lstStyle>
          <a:p>
            <a:r>
              <a:rPr lang="en-US" dirty="0"/>
              <a:t>Speaker Name</a:t>
            </a:r>
            <a:br>
              <a:rPr lang="en-US" dirty="0"/>
            </a:br>
            <a:r>
              <a:rPr lang="en-US" dirty="0"/>
              <a:t>Date</a:t>
            </a:r>
          </a:p>
        </p:txBody>
      </p:sp>
      <p:sp>
        <p:nvSpPr>
          <p:cNvPr id="19" name="Text Placeholder 7"/>
          <p:cNvSpPr>
            <a:spLocks noGrp="1"/>
          </p:cNvSpPr>
          <p:nvPr>
            <p:ph type="body" sz="quarter" idx="10" hasCustomPrompt="1"/>
          </p:nvPr>
        </p:nvSpPr>
        <p:spPr>
          <a:xfrm>
            <a:off x="457581" y="2102567"/>
            <a:ext cx="7291254" cy="863867"/>
          </a:xfrm>
          <a:prstGeom prst="rect">
            <a:avLst/>
          </a:prstGeom>
        </p:spPr>
        <p:txBody>
          <a:bodyPr lIns="143407" tIns="0" rIns="143407" bIns="0">
            <a:normAutofit/>
          </a:bodyPr>
          <a:lstStyle>
            <a:lvl1pPr marL="0" indent="0">
              <a:lnSpc>
                <a:spcPct val="90000"/>
              </a:lnSpc>
              <a:spcBef>
                <a:spcPts val="0"/>
              </a:spcBef>
              <a:buNone/>
              <a:defRPr sz="2000" baseline="0">
                <a:solidFill>
                  <a:schemeClr val="bg1"/>
                </a:solidFill>
                <a:latin typeface="+mn-lt"/>
              </a:defRPr>
            </a:lvl1pPr>
            <a:lvl2pPr marL="335909" indent="0">
              <a:buNone/>
              <a:defRPr sz="1600">
                <a:solidFill>
                  <a:schemeClr val="bg1"/>
                </a:solidFill>
                <a:latin typeface="+mj-lt"/>
              </a:defRPr>
            </a:lvl2pPr>
            <a:lvl3pPr marL="559848" indent="0">
              <a:buNone/>
              <a:defRPr sz="1300">
                <a:solidFill>
                  <a:schemeClr val="bg1"/>
                </a:solidFill>
                <a:latin typeface="+mj-lt"/>
              </a:defRPr>
            </a:lvl3pPr>
            <a:lvl4pPr marL="783786" indent="0">
              <a:buNone/>
              <a:defRPr sz="1200">
                <a:solidFill>
                  <a:schemeClr val="bg1"/>
                </a:solidFill>
                <a:latin typeface="+mj-lt"/>
              </a:defRPr>
            </a:lvl4pPr>
            <a:lvl5pPr marL="1007726" indent="0">
              <a:buNone/>
              <a:defRPr sz="1200">
                <a:solidFill>
                  <a:schemeClr val="bg1"/>
                </a:solidFill>
                <a:latin typeface="+mj-lt"/>
              </a:defRPr>
            </a:lvl5pPr>
          </a:lstStyle>
          <a:p>
            <a:pPr lvl="0"/>
            <a:r>
              <a:rPr lang="en-US" dirty="0"/>
              <a:t>Sub header here</a:t>
            </a:r>
          </a:p>
        </p:txBody>
      </p:sp>
    </p:spTree>
    <p:extLst>
      <p:ext uri="{BB962C8B-B14F-4D97-AF65-F5344CB8AC3E}">
        <p14:creationId xmlns:p14="http://schemas.microsoft.com/office/powerpoint/2010/main" val="28581731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cSld name="BLUE | SIDE">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5206706" y="-158097"/>
            <a:ext cx="6464464" cy="1327415"/>
          </a:xfrm>
          <a:prstGeom prst="rect">
            <a:avLst/>
          </a:prstGeom>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206704" y="1181101"/>
            <a:ext cx="6464465" cy="1521218"/>
          </a:xfrm>
          <a:prstGeom prst="rect">
            <a:avLst/>
          </a:prstGeom>
        </p:spPr>
        <p:txBody>
          <a:bodyPr/>
          <a:lstStyle>
            <a:lvl1pPr>
              <a:defRPr lang="en-US" sz="3234"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lang="en-US" sz="1567" kern="4000" spc="0" baseline="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a:defRPr sz="1175"/>
            </a:lvl3pPr>
            <a:lvl4pPr>
              <a:defRPr sz="1077"/>
            </a:lvl4pPr>
            <a:lvl5pPr>
              <a:defRPr sz="107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Slide Number Placeholder 1"/>
          <p:cNvSpPr>
            <a:spLocks noGrp="1"/>
          </p:cNvSpPr>
          <p:nvPr>
            <p:ph type="sldNum" sz="quarter" idx="11"/>
          </p:nvPr>
        </p:nvSpPr>
        <p:spPr/>
        <p:txBody>
          <a:bodyPr/>
          <a:lstStyle/>
          <a:p>
            <a:pPr marL="0" marR="0" lvl="0" indent="0" algn="l" defTabSz="914225" rtl="0" eaLnBrk="1" fontAlgn="auto" latinLnBrk="0" hangingPunct="1">
              <a:lnSpc>
                <a:spcPct val="100000"/>
              </a:lnSpc>
              <a:spcBef>
                <a:spcPts val="0"/>
              </a:spcBef>
              <a:spcAft>
                <a:spcPts val="0"/>
              </a:spcAft>
              <a:buClrTx/>
              <a:buSzTx/>
              <a:buFontTx/>
              <a:buNone/>
              <a:tabLst/>
              <a:defRPr/>
            </a:pPr>
            <a:fld id="{4CED8391-71CF-4FD3-A093-40D26DE2D47C}" type="slidenum">
              <a:rPr kumimoji="0" lang="en-US" sz="1800" b="0" i="0" u="none" strike="noStrike" kern="1200" cap="none" spc="0" normalizeH="0" baseline="0" noProof="0" smtClean="0">
                <a:ln>
                  <a:noFill/>
                </a:ln>
                <a:solidFill>
                  <a:srgbClr val="00188F"/>
                </a:solidFill>
                <a:effectLst/>
                <a:uLnTx/>
                <a:uFillTx/>
                <a:latin typeface="Segoe UI"/>
                <a:ea typeface="+mn-ea"/>
                <a:cs typeface="+mn-cs"/>
              </a:rPr>
              <a:pPr marL="0" marR="0" lvl="0" indent="0" algn="l" defTabSz="914225"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188F"/>
              </a:solidFill>
              <a:effectLst/>
              <a:uLnTx/>
              <a:uFillTx/>
              <a:latin typeface="Segoe UI"/>
              <a:ea typeface="+mn-ea"/>
              <a:cs typeface="+mn-cs"/>
            </a:endParaRPr>
          </a:p>
        </p:txBody>
      </p:sp>
    </p:spTree>
    <p:extLst>
      <p:ext uri="{BB962C8B-B14F-4D97-AF65-F5344CB8AC3E}">
        <p14:creationId xmlns:p14="http://schemas.microsoft.com/office/powerpoint/2010/main" val="384486595"/>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2" name="Slide Number Placeholder 1"/>
          <p:cNvSpPr>
            <a:spLocks noGrp="1"/>
          </p:cNvSpPr>
          <p:nvPr>
            <p:ph type="sldNum" sz="quarter" idx="10"/>
          </p:nvPr>
        </p:nvSpPr>
        <p:spPr>
          <a:xfrm>
            <a:off x="11501658" y="6492884"/>
            <a:ext cx="683172" cy="365125"/>
          </a:xfrm>
          <a:prstGeom prst="rect">
            <a:avLst/>
          </a:prstGeom>
        </p:spPr>
        <p:txBody>
          <a:bodyPr lIns="91386" tIns="45694" rIns="91386" bIns="45694"/>
          <a:lstStyle/>
          <a:p>
            <a:pPr marL="0" marR="0" lvl="0" indent="0" algn="l" defTabSz="913512" rtl="0" eaLnBrk="1" fontAlgn="auto" latinLnBrk="0" hangingPunct="1">
              <a:lnSpc>
                <a:spcPct val="100000"/>
              </a:lnSpc>
              <a:spcBef>
                <a:spcPts val="0"/>
              </a:spcBef>
              <a:spcAft>
                <a:spcPts val="0"/>
              </a:spcAft>
              <a:buClrTx/>
              <a:buSzTx/>
              <a:buFontTx/>
              <a:buNone/>
              <a:tabLst/>
              <a:defRPr/>
            </a:pPr>
            <a:fld id="{4CED8391-71CF-4FD3-A093-40D26DE2D47C}" type="slidenum">
              <a:rPr kumimoji="0" lang="en-US" sz="1800" b="0" i="0" u="none" strike="noStrike" kern="1200" cap="none" spc="0" normalizeH="0" baseline="0" noProof="0" smtClean="0">
                <a:ln>
                  <a:noFill/>
                </a:ln>
                <a:solidFill>
                  <a:srgbClr val="00188F"/>
                </a:solidFill>
                <a:effectLst/>
                <a:uLnTx/>
                <a:uFillTx/>
                <a:latin typeface="Segoe UI"/>
                <a:ea typeface="+mn-ea"/>
                <a:cs typeface="+mn-cs"/>
              </a:rPr>
              <a:pPr marL="0" marR="0" lvl="0" indent="0" algn="l" defTabSz="913512"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188F"/>
              </a:solidFill>
              <a:effectLst/>
              <a:uLnTx/>
              <a:uFillTx/>
              <a:latin typeface="Segoe UI"/>
              <a:ea typeface="+mn-ea"/>
              <a:cs typeface="+mn-cs"/>
            </a:endParaRPr>
          </a:p>
        </p:txBody>
      </p:sp>
    </p:spTree>
    <p:extLst>
      <p:ext uri="{BB962C8B-B14F-4D97-AF65-F5344CB8AC3E}">
        <p14:creationId xmlns:p14="http://schemas.microsoft.com/office/powerpoint/2010/main" val="1347287362"/>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1881911"/>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89734614"/>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cSld name="Custom Layout">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3538042"/>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First Slide">
    <p:bg>
      <p:bgRef idx="1001">
        <a:schemeClr val="bg1"/>
      </p:bgRef>
    </p:bg>
    <p:spTree>
      <p:nvGrpSpPr>
        <p:cNvPr id="1" name=""/>
        <p:cNvGrpSpPr/>
        <p:nvPr/>
      </p:nvGrpSpPr>
      <p:grpSpPr>
        <a:xfrm>
          <a:off x="0" y="0"/>
          <a:ext cx="0" cy="0"/>
          <a:chOff x="0" y="0"/>
          <a:chExt cx="0" cy="0"/>
        </a:xfrm>
      </p:grpSpPr>
      <p:pic>
        <p:nvPicPr>
          <p:cNvPr id="14" name="Picture 13"/>
          <p:cNvPicPr>
            <a:picLocks noChangeAspect="1"/>
          </p:cNvPicPr>
          <p:nvPr userDrawn="1"/>
        </p:nvPicPr>
        <p:blipFill rotWithShape="1">
          <a:blip r:embed="rId2" cstate="print">
            <a:extLst>
              <a:ext uri="{28A0092B-C50C-407E-A947-70E740481C1C}">
                <a14:useLocalDpi xmlns:a14="http://schemas.microsoft.com/office/drawing/2010/main" val="0"/>
              </a:ext>
            </a:extLst>
          </a:blip>
          <a:srcRect r="1638" b="17324"/>
          <a:stretch/>
        </p:blipFill>
        <p:spPr>
          <a:xfrm>
            <a:off x="0" y="-4799"/>
            <a:ext cx="12192000" cy="6858595"/>
          </a:xfrm>
          <a:prstGeom prst="rect">
            <a:avLst/>
          </a:prstGeom>
        </p:spPr>
      </p:pic>
      <p:pic>
        <p:nvPicPr>
          <p:cNvPr id="5" name="Picture 4"/>
          <p:cNvPicPr>
            <a:picLocks noChangeAspect="1"/>
          </p:cNvPicPr>
          <p:nvPr userDrawn="1"/>
        </p:nvPicPr>
        <p:blipFill>
          <a:blip r:embed="rId3"/>
          <a:stretch>
            <a:fillRect/>
          </a:stretch>
        </p:blipFill>
        <p:spPr>
          <a:xfrm>
            <a:off x="555015" y="1538666"/>
            <a:ext cx="6085223" cy="37716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24930" y="2138520"/>
            <a:ext cx="5345393" cy="1285981"/>
          </a:xfrm>
          <a:prstGeom prst="rect">
            <a:avLst/>
          </a:prstGeom>
        </p:spPr>
      </p:pic>
      <p:sp>
        <p:nvSpPr>
          <p:cNvPr id="7" name="TextBox 6">
            <a:hlinkClick r:id="rId5"/>
          </p:cNvPr>
          <p:cNvSpPr txBox="1"/>
          <p:nvPr userDrawn="1"/>
        </p:nvSpPr>
        <p:spPr>
          <a:xfrm>
            <a:off x="853323" y="4214987"/>
            <a:ext cx="2888605" cy="584775"/>
          </a:xfrm>
          <a:prstGeom prst="rect">
            <a:avLst/>
          </a:prstGeom>
          <a:noFill/>
        </p:spPr>
        <p:txBody>
          <a:bodyPr wrap="square" rtlCol="0">
            <a:spAutoFit/>
          </a:bodyPr>
          <a:lstStyle/>
          <a:p>
            <a:pPr marL="0" marR="0" lvl="0" indent="0" algn="l" defTabSz="914296"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Segoe UI Light"/>
                <a:ea typeface="+mn-ea"/>
                <a:cs typeface="+mn-cs"/>
              </a:rPr>
              <a:t>msdevcon.ru</a:t>
            </a:r>
          </a:p>
        </p:txBody>
      </p:sp>
      <p:sp>
        <p:nvSpPr>
          <p:cNvPr id="9" name="Прямоугольник 8"/>
          <p:cNvSpPr/>
          <p:nvPr userDrawn="1"/>
        </p:nvSpPr>
        <p:spPr>
          <a:xfrm>
            <a:off x="4099277" y="4214987"/>
            <a:ext cx="2183611" cy="584775"/>
          </a:xfrm>
          <a:prstGeom prst="rect">
            <a:avLst/>
          </a:prstGeom>
        </p:spPr>
        <p:txBody>
          <a:bodyPr wrap="none">
            <a:spAutoFit/>
          </a:bodyPr>
          <a:lstStyle/>
          <a:p>
            <a:pPr marL="0" marR="0" lvl="0" indent="0" algn="l" defTabSz="914296"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Segoe UI Light"/>
                <a:ea typeface="+mn-ea"/>
                <a:cs typeface="+mn-cs"/>
              </a:rPr>
              <a:t>#</a:t>
            </a:r>
            <a:r>
              <a:rPr kumimoji="0" lang="en-US" sz="3200" b="0" i="0" u="none" strike="noStrike" kern="1200" cap="none" spc="0" normalizeH="0" baseline="0" noProof="0" dirty="0" err="1">
                <a:ln>
                  <a:noFill/>
                </a:ln>
                <a:solidFill>
                  <a:srgbClr val="FFFFFF"/>
                </a:solidFill>
                <a:effectLst/>
                <a:uLnTx/>
                <a:uFillTx/>
                <a:latin typeface="Segoe UI Light"/>
                <a:ea typeface="+mn-ea"/>
                <a:cs typeface="+mn-cs"/>
              </a:rPr>
              <a:t>msdevcon</a:t>
            </a:r>
            <a:endParaRPr kumimoji="0" lang="en-US" sz="3200" b="0" i="0" u="none" strike="noStrike" kern="1200" cap="none" spc="0" normalizeH="0" baseline="0" noProof="0" dirty="0">
              <a:ln>
                <a:noFill/>
              </a:ln>
              <a:solidFill>
                <a:srgbClr val="FFFFFF"/>
              </a:solidFill>
              <a:effectLst/>
              <a:uLnTx/>
              <a:uFillTx/>
              <a:latin typeface="Segoe UI Light"/>
              <a:ea typeface="+mn-ea"/>
              <a:cs typeface="+mn-cs"/>
            </a:endParaRPr>
          </a:p>
        </p:txBody>
      </p:sp>
    </p:spTree>
    <p:extLst>
      <p:ext uri="{BB962C8B-B14F-4D97-AF65-F5344CB8AC3E}">
        <p14:creationId xmlns:p14="http://schemas.microsoft.com/office/powerpoint/2010/main" val="594813961"/>
      </p:ext>
    </p:extLst>
  </p:cSld>
  <p:clrMapOvr>
    <a:overrideClrMapping bg1="lt1" tx1="dk1" bg2="lt2" tx2="dk2" accent1="accent1" accent2="accent2" accent3="accent3" accent4="accent4" accent5="accent5" accent6="accent6" hlink="hlink" folHlink="folHlink"/>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Session">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t="4174" b="14269"/>
          <a:stretch/>
        </p:blipFill>
        <p:spPr>
          <a:xfrm>
            <a:off x="-24000" y="0"/>
            <a:ext cx="12240000" cy="6858000"/>
          </a:xfrm>
          <a:prstGeom prst="rect">
            <a:avLst/>
          </a:prstGeom>
        </p:spPr>
      </p:pic>
      <p:sp>
        <p:nvSpPr>
          <p:cNvPr id="2" name="Заголовок 1"/>
          <p:cNvSpPr>
            <a:spLocks noGrp="1"/>
          </p:cNvSpPr>
          <p:nvPr>
            <p:ph type="ctrTitle" hasCustomPrompt="1"/>
          </p:nvPr>
        </p:nvSpPr>
        <p:spPr>
          <a:xfrm>
            <a:off x="0" y="3961423"/>
            <a:ext cx="12192000" cy="1440000"/>
          </a:xfrm>
          <a:noFill/>
        </p:spPr>
        <p:txBody>
          <a:bodyPr wrap="square" lIns="1080000" rIns="1080000" anchor="b" anchorCtr="0">
            <a:normAutofit/>
          </a:bodyPr>
          <a:lstStyle>
            <a:lvl1pPr algn="l">
              <a:defRPr sz="4800" b="1" baseline="0">
                <a:solidFill>
                  <a:schemeClr val="bg1"/>
                </a:solidFill>
                <a:latin typeface="+mn-lt"/>
              </a:defRPr>
            </a:lvl1pPr>
          </a:lstStyle>
          <a:p>
            <a:r>
              <a:rPr lang="en-US" dirty="0"/>
              <a:t>TITLE</a:t>
            </a:r>
            <a:br>
              <a:rPr lang="en-US" dirty="0"/>
            </a:br>
            <a:r>
              <a:rPr lang="en-US" dirty="0"/>
              <a:t>!UPPERCASE!</a:t>
            </a:r>
            <a:endParaRPr lang="ru-RU" dirty="0"/>
          </a:p>
        </p:txBody>
      </p:sp>
      <p:sp>
        <p:nvSpPr>
          <p:cNvPr id="21" name="Text Placeholder 20"/>
          <p:cNvSpPr>
            <a:spLocks noGrp="1"/>
          </p:cNvSpPr>
          <p:nvPr>
            <p:ph type="body" sz="quarter" idx="11" hasCustomPrompt="1"/>
          </p:nvPr>
        </p:nvSpPr>
        <p:spPr>
          <a:xfrm>
            <a:off x="1055689" y="5409000"/>
            <a:ext cx="10080625" cy="1081088"/>
          </a:xfrm>
        </p:spPr>
        <p:txBody>
          <a:bodyPr>
            <a:normAutofit/>
          </a:bodyPr>
          <a:lstStyle>
            <a:lvl1pPr marL="0" indent="0">
              <a:buNone/>
              <a:defRPr sz="3600" baseline="0">
                <a:solidFill>
                  <a:schemeClr val="bg1"/>
                </a:solidFill>
              </a:defRPr>
            </a:lvl1pPr>
          </a:lstStyle>
          <a:p>
            <a:pPr lvl="0"/>
            <a:r>
              <a:rPr lang="en-US" dirty="0"/>
              <a:t>Subtitle</a:t>
            </a:r>
          </a:p>
        </p:txBody>
      </p:sp>
    </p:spTree>
    <p:extLst>
      <p:ext uri="{BB962C8B-B14F-4D97-AF65-F5344CB8AC3E}">
        <p14:creationId xmlns:p14="http://schemas.microsoft.com/office/powerpoint/2010/main" val="1120082833"/>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title" preserve="1">
  <p:cSld name="1_Section">
    <p:spTree>
      <p:nvGrpSpPr>
        <p:cNvPr id="1" name=""/>
        <p:cNvGrpSpPr/>
        <p:nvPr/>
      </p:nvGrpSpPr>
      <p:grpSpPr>
        <a:xfrm>
          <a:off x="0" y="0"/>
          <a:ext cx="0" cy="0"/>
          <a:chOff x="0" y="0"/>
          <a:chExt cx="0" cy="0"/>
        </a:xfrm>
      </p:grpSpPr>
      <p:sp>
        <p:nvSpPr>
          <p:cNvPr id="2" name="Заголовок 1"/>
          <p:cNvSpPr>
            <a:spLocks noGrp="1"/>
          </p:cNvSpPr>
          <p:nvPr>
            <p:ph type="ctrTitle" hasCustomPrompt="1"/>
          </p:nvPr>
        </p:nvSpPr>
        <p:spPr>
          <a:xfrm>
            <a:off x="0" y="1269001"/>
            <a:ext cx="12192000" cy="2880000"/>
          </a:xfrm>
          <a:solidFill>
            <a:schemeClr val="accent6"/>
          </a:solidFill>
        </p:spPr>
        <p:txBody>
          <a:bodyPr lIns="1080000" rIns="1080000" anchor="b">
            <a:normAutofit/>
          </a:bodyPr>
          <a:lstStyle>
            <a:lvl1pPr algn="l">
              <a:defRPr sz="4800" b="1">
                <a:solidFill>
                  <a:schemeClr val="bg1"/>
                </a:solidFill>
                <a:latin typeface="+mn-lt"/>
              </a:defRPr>
            </a:lvl1pPr>
          </a:lstStyle>
          <a:p>
            <a:br>
              <a:rPr lang="en-US" dirty="0"/>
            </a:br>
            <a:r>
              <a:rPr lang="en-US" dirty="0"/>
              <a:t>TITLE</a:t>
            </a:r>
            <a:endParaRPr lang="ru-RU" dirty="0"/>
          </a:p>
        </p:txBody>
      </p:sp>
      <p:sp>
        <p:nvSpPr>
          <p:cNvPr id="3" name="Подзаголовок 2"/>
          <p:cNvSpPr>
            <a:spLocks noGrp="1"/>
          </p:cNvSpPr>
          <p:nvPr>
            <p:ph type="subTitle" idx="1" hasCustomPrompt="1"/>
          </p:nvPr>
        </p:nvSpPr>
        <p:spPr>
          <a:xfrm>
            <a:off x="1056000" y="4329002"/>
            <a:ext cx="9144000" cy="1452017"/>
          </a:xfrm>
        </p:spPr>
        <p:txBody>
          <a:bodyPr lIns="36000" rIns="36000">
            <a:normAutofit/>
          </a:bodyPr>
          <a:lstStyle>
            <a:lvl1pPr marL="0" indent="0" algn="l">
              <a:buNone/>
              <a:defRPr sz="3600">
                <a:solidFill>
                  <a:schemeClr val="tx2"/>
                </a:solidFill>
              </a:defRPr>
            </a:lvl1pPr>
            <a:lvl2pPr marL="457147" indent="0" algn="ctr">
              <a:buNone/>
              <a:defRPr sz="2000"/>
            </a:lvl2pPr>
            <a:lvl3pPr marL="914296" indent="0" algn="ctr">
              <a:buNone/>
              <a:defRPr sz="1800"/>
            </a:lvl3pPr>
            <a:lvl4pPr marL="1371442" indent="0" algn="ctr">
              <a:buNone/>
              <a:defRPr sz="1600"/>
            </a:lvl4pPr>
            <a:lvl5pPr marL="1828589" indent="0" algn="ctr">
              <a:buNone/>
              <a:defRPr sz="1600"/>
            </a:lvl5pPr>
            <a:lvl6pPr marL="2285736" indent="0" algn="ctr">
              <a:buNone/>
              <a:defRPr sz="1600"/>
            </a:lvl6pPr>
            <a:lvl7pPr marL="2742885" indent="0" algn="ctr">
              <a:buNone/>
              <a:defRPr sz="1600"/>
            </a:lvl7pPr>
            <a:lvl8pPr marL="3200032" indent="0" algn="ctr">
              <a:buNone/>
              <a:defRPr sz="1600"/>
            </a:lvl8pPr>
            <a:lvl9pPr marL="3657179" indent="0" algn="ctr">
              <a:buNone/>
              <a:defRPr sz="1600"/>
            </a:lvl9pPr>
          </a:lstStyle>
          <a:p>
            <a:r>
              <a:rPr lang="en-US" dirty="0"/>
              <a:t>Subtitle</a:t>
            </a:r>
            <a:endParaRPr lang="ru-RU" dirty="0"/>
          </a:p>
        </p:txBody>
      </p:sp>
    </p:spTree>
    <p:extLst>
      <p:ext uri="{BB962C8B-B14F-4D97-AF65-F5344CB8AC3E}">
        <p14:creationId xmlns:p14="http://schemas.microsoft.com/office/powerpoint/2010/main" val="698362725"/>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title" preserve="1">
  <p:cSld name="Section">
    <p:spTree>
      <p:nvGrpSpPr>
        <p:cNvPr id="1" name=""/>
        <p:cNvGrpSpPr/>
        <p:nvPr/>
      </p:nvGrpSpPr>
      <p:grpSpPr>
        <a:xfrm>
          <a:off x="0" y="0"/>
          <a:ext cx="0" cy="0"/>
          <a:chOff x="0" y="0"/>
          <a:chExt cx="0" cy="0"/>
        </a:xfrm>
      </p:grpSpPr>
      <p:sp>
        <p:nvSpPr>
          <p:cNvPr id="2" name="Заголовок 1"/>
          <p:cNvSpPr>
            <a:spLocks noGrp="1"/>
          </p:cNvSpPr>
          <p:nvPr>
            <p:ph type="ctrTitle" hasCustomPrompt="1"/>
          </p:nvPr>
        </p:nvSpPr>
        <p:spPr>
          <a:xfrm>
            <a:off x="0" y="1269001"/>
            <a:ext cx="12192000" cy="2880000"/>
          </a:xfrm>
          <a:solidFill>
            <a:schemeClr val="accent1"/>
          </a:solidFill>
        </p:spPr>
        <p:txBody>
          <a:bodyPr lIns="1080000" rIns="1080000" anchor="b">
            <a:normAutofit/>
          </a:bodyPr>
          <a:lstStyle>
            <a:lvl1pPr algn="l">
              <a:defRPr sz="4800" b="1">
                <a:solidFill>
                  <a:schemeClr val="bg1"/>
                </a:solidFill>
                <a:latin typeface="+mn-lt"/>
              </a:defRPr>
            </a:lvl1pPr>
          </a:lstStyle>
          <a:p>
            <a:br>
              <a:rPr lang="en-US" dirty="0"/>
            </a:br>
            <a:r>
              <a:rPr lang="en-US" dirty="0"/>
              <a:t>TITLE</a:t>
            </a:r>
            <a:endParaRPr lang="ru-RU" dirty="0"/>
          </a:p>
        </p:txBody>
      </p:sp>
      <p:sp>
        <p:nvSpPr>
          <p:cNvPr id="3" name="Подзаголовок 2"/>
          <p:cNvSpPr>
            <a:spLocks noGrp="1"/>
          </p:cNvSpPr>
          <p:nvPr>
            <p:ph type="subTitle" idx="1" hasCustomPrompt="1"/>
          </p:nvPr>
        </p:nvSpPr>
        <p:spPr>
          <a:xfrm>
            <a:off x="1056000" y="4329002"/>
            <a:ext cx="9144000" cy="1452017"/>
          </a:xfrm>
        </p:spPr>
        <p:txBody>
          <a:bodyPr lIns="36000" rIns="36000">
            <a:normAutofit/>
          </a:bodyPr>
          <a:lstStyle>
            <a:lvl1pPr marL="0" indent="0" algn="l">
              <a:buNone/>
              <a:defRPr sz="3600">
                <a:solidFill>
                  <a:schemeClr val="tx2"/>
                </a:solidFill>
              </a:defRPr>
            </a:lvl1pPr>
            <a:lvl2pPr marL="457147" indent="0" algn="ctr">
              <a:buNone/>
              <a:defRPr sz="2000"/>
            </a:lvl2pPr>
            <a:lvl3pPr marL="914296" indent="0" algn="ctr">
              <a:buNone/>
              <a:defRPr sz="1800"/>
            </a:lvl3pPr>
            <a:lvl4pPr marL="1371442" indent="0" algn="ctr">
              <a:buNone/>
              <a:defRPr sz="1600"/>
            </a:lvl4pPr>
            <a:lvl5pPr marL="1828589" indent="0" algn="ctr">
              <a:buNone/>
              <a:defRPr sz="1600"/>
            </a:lvl5pPr>
            <a:lvl6pPr marL="2285736" indent="0" algn="ctr">
              <a:buNone/>
              <a:defRPr sz="1600"/>
            </a:lvl6pPr>
            <a:lvl7pPr marL="2742885" indent="0" algn="ctr">
              <a:buNone/>
              <a:defRPr sz="1600"/>
            </a:lvl7pPr>
            <a:lvl8pPr marL="3200032" indent="0" algn="ctr">
              <a:buNone/>
              <a:defRPr sz="1600"/>
            </a:lvl8pPr>
            <a:lvl9pPr marL="3657179" indent="0" algn="ctr">
              <a:buNone/>
              <a:defRPr sz="1600"/>
            </a:lvl9pPr>
          </a:lstStyle>
          <a:p>
            <a:r>
              <a:rPr lang="en-US" dirty="0"/>
              <a:t>Subtitle</a:t>
            </a:r>
            <a:endParaRPr lang="ru-RU" dirty="0"/>
          </a:p>
        </p:txBody>
      </p:sp>
      <p:pic>
        <p:nvPicPr>
          <p:cNvPr id="4" name="Рисунок 3"/>
          <p:cNvPicPr>
            <a:picLocks noChangeAspect="1"/>
          </p:cNvPicPr>
          <p:nvPr userDrawn="1"/>
        </p:nvPicPr>
        <p:blipFill>
          <a:blip r:embed="rId2"/>
          <a:stretch>
            <a:fillRect/>
          </a:stretch>
        </p:blipFill>
        <p:spPr>
          <a:xfrm>
            <a:off x="11543632" y="6442645"/>
            <a:ext cx="266737" cy="304844"/>
          </a:xfrm>
          <a:prstGeom prst="rect">
            <a:avLst/>
          </a:prstGeom>
        </p:spPr>
      </p:pic>
    </p:spTree>
    <p:extLst>
      <p:ext uri="{BB962C8B-B14F-4D97-AF65-F5344CB8AC3E}">
        <p14:creationId xmlns:p14="http://schemas.microsoft.com/office/powerpoint/2010/main" val="216745740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2">
    <p:bg>
      <p:bgRef idx="1001">
        <a:schemeClr val="bg2"/>
      </p:bgRef>
    </p:bg>
    <p:spTree>
      <p:nvGrpSpPr>
        <p:cNvPr id="1" name=""/>
        <p:cNvGrpSpPr/>
        <p:nvPr/>
      </p:nvGrpSpPr>
      <p:grpSpPr>
        <a:xfrm>
          <a:off x="0" y="0"/>
          <a:ext cx="0" cy="0"/>
          <a:chOff x="0" y="0"/>
          <a:chExt cx="0" cy="0"/>
        </a:xfrm>
      </p:grpSpPr>
      <p:sp>
        <p:nvSpPr>
          <p:cNvPr id="8" name="Freeform 6"/>
          <p:cNvSpPr>
            <a:spLocks noChangeAspect="1" noEditPoints="1"/>
          </p:cNvSpPr>
          <p:nvPr userDrawn="1"/>
        </p:nvSpPr>
        <p:spPr bwMode="auto">
          <a:xfrm>
            <a:off x="623" y="0"/>
            <a:ext cx="12191377" cy="6861505"/>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EFEFEF"/>
              </a:solidFill>
              <a:effectLst/>
              <a:uLnTx/>
              <a:uFillTx/>
              <a:latin typeface="Segoe UI"/>
              <a:ea typeface="+mn-ea"/>
              <a:cs typeface="+mn-cs"/>
            </a:endParaRPr>
          </a:p>
        </p:txBody>
      </p:sp>
      <p:sp>
        <p:nvSpPr>
          <p:cNvPr id="2" name="Title 1"/>
          <p:cNvSpPr>
            <a:spLocks noGrp="1"/>
          </p:cNvSpPr>
          <p:nvPr>
            <p:ph type="title" hasCustomPrompt="1"/>
          </p:nvPr>
        </p:nvSpPr>
        <p:spPr>
          <a:xfrm>
            <a:off x="5647788" y="1187621"/>
            <a:ext cx="6274974" cy="2136525"/>
          </a:xfrm>
        </p:spPr>
        <p:txBody>
          <a:bodyPr wrap="square" anchor="t" anchorCtr="0">
            <a:spAutoFit/>
          </a:bodyPr>
          <a:lstStyle>
            <a:lvl1pPr>
              <a:defRPr sz="7058" spc="-150" baseline="0">
                <a:gradFill>
                  <a:gsLst>
                    <a:gs pos="22083">
                      <a:schemeClr val="tx1"/>
                    </a:gs>
                    <a:gs pos="42000">
                      <a:schemeClr val="tx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5647788" y="3877277"/>
            <a:ext cx="6274974" cy="724246"/>
          </a:xfrm>
        </p:spPr>
        <p:txBody>
          <a:bodyPr wrap="square">
            <a:spAutoFit/>
          </a:bodyPr>
          <a:lstStyle>
            <a:lvl1pPr marL="0" indent="0">
              <a:spcBef>
                <a:spcPts val="0"/>
              </a:spcBef>
              <a:buNone/>
              <a:defRPr sz="3137" spc="-70" baseline="0">
                <a:gradFill>
                  <a:gsLst>
                    <a:gs pos="22083">
                      <a:schemeClr val="tx1"/>
                    </a:gs>
                    <a:gs pos="42000">
                      <a:schemeClr val="tx1"/>
                    </a:gs>
                  </a:gsLst>
                  <a:lin ang="5400000" scaled="0"/>
                </a:gradFill>
                <a:latin typeface="+mj-lt"/>
              </a:defRPr>
            </a:lvl1pPr>
          </a:lstStyle>
          <a:p>
            <a:pPr lvl="0"/>
            <a:r>
              <a:rPr lang="en-US" dirty="0"/>
              <a:t>Speaker title</a:t>
            </a:r>
          </a:p>
        </p:txBody>
      </p:sp>
      <p:sp>
        <p:nvSpPr>
          <p:cNvPr id="17" name="Freeform 5"/>
          <p:cNvSpPr>
            <a:spLocks noEditPoints="1"/>
          </p:cNvSpPr>
          <p:nvPr userDrawn="1"/>
        </p:nvSpPr>
        <p:spPr bwMode="black">
          <a:xfrm>
            <a:off x="1702838" y="1570215"/>
            <a:ext cx="3001964" cy="4623154"/>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1"/>
          </a:solidFill>
          <a:ln w="10795" cap="flat" cmpd="sng" algn="ctr">
            <a:noFill/>
            <a:prstDash val="solid"/>
            <a:headEnd type="none" w="med" len="med"/>
            <a:tailEnd type="none" w="med" len="med"/>
          </a:ln>
          <a:effectLst/>
          <a:ex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896091" rtl="0" eaLnBrk="1" fontAlgn="base" latinLnBrk="0" hangingPunct="1">
              <a:lnSpc>
                <a:spcPct val="90000"/>
              </a:lnSpc>
              <a:spcBef>
                <a:spcPct val="0"/>
              </a:spcBef>
              <a:spcAft>
                <a:spcPct val="0"/>
              </a:spcAft>
              <a:buClrTx/>
              <a:buSzTx/>
              <a:buFontTx/>
              <a:buNone/>
              <a:tabLst/>
              <a:defRPr/>
            </a:pPr>
            <a:endParaRPr kumimoji="0" lang="en-US" sz="1961" b="0" i="0" u="none" strike="noStrike" kern="0" cap="none" spc="-49" normalizeH="0" baseline="0" noProof="0">
              <a:ln>
                <a:noFill/>
              </a:ln>
              <a:gradFill>
                <a:gsLst>
                  <a:gs pos="1250">
                    <a:srgbClr val="EFEFEF"/>
                  </a:gs>
                  <a:gs pos="10417">
                    <a:srgbClr val="EFEFE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1529673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173">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peaker">
    <p:spTree>
      <p:nvGrpSpPr>
        <p:cNvPr id="1" name=""/>
        <p:cNvGrpSpPr/>
        <p:nvPr/>
      </p:nvGrpSpPr>
      <p:grpSpPr>
        <a:xfrm>
          <a:off x="0" y="0"/>
          <a:ext cx="0" cy="0"/>
          <a:chOff x="0" y="0"/>
          <a:chExt cx="0" cy="0"/>
        </a:xfrm>
      </p:grpSpPr>
      <p:sp>
        <p:nvSpPr>
          <p:cNvPr id="2" name="Заголовок 1"/>
          <p:cNvSpPr>
            <a:spLocks noGrp="1"/>
          </p:cNvSpPr>
          <p:nvPr>
            <p:ph type="ctrTitle" hasCustomPrompt="1"/>
          </p:nvPr>
        </p:nvSpPr>
        <p:spPr>
          <a:xfrm>
            <a:off x="0" y="1269001"/>
            <a:ext cx="12192000" cy="2880000"/>
          </a:xfrm>
          <a:solidFill>
            <a:schemeClr val="accent3"/>
          </a:solidFill>
        </p:spPr>
        <p:txBody>
          <a:bodyPr lIns="1080000" rIns="1080000" anchor="b">
            <a:normAutofit/>
          </a:bodyPr>
          <a:lstStyle>
            <a:lvl1pPr algn="l">
              <a:defRPr sz="4800" b="1">
                <a:solidFill>
                  <a:schemeClr val="bg1"/>
                </a:solidFill>
                <a:latin typeface="+mn-lt"/>
              </a:defRPr>
            </a:lvl1pPr>
          </a:lstStyle>
          <a:p>
            <a:br>
              <a:rPr lang="en-US" dirty="0"/>
            </a:br>
            <a:r>
              <a:rPr lang="en-US" dirty="0"/>
              <a:t>TITLE</a:t>
            </a:r>
            <a:endParaRPr lang="ru-RU" dirty="0"/>
          </a:p>
        </p:txBody>
      </p:sp>
      <p:sp>
        <p:nvSpPr>
          <p:cNvPr id="3" name="Подзаголовок 2"/>
          <p:cNvSpPr>
            <a:spLocks noGrp="1"/>
          </p:cNvSpPr>
          <p:nvPr>
            <p:ph type="subTitle" idx="1" hasCustomPrompt="1"/>
          </p:nvPr>
        </p:nvSpPr>
        <p:spPr>
          <a:xfrm>
            <a:off x="1056001" y="4329002"/>
            <a:ext cx="8460000" cy="1452017"/>
          </a:xfrm>
        </p:spPr>
        <p:txBody>
          <a:bodyPr lIns="36000" rIns="36000">
            <a:normAutofit/>
          </a:bodyPr>
          <a:lstStyle>
            <a:lvl1pPr marL="0" indent="0" algn="l">
              <a:buNone/>
              <a:defRPr sz="3600">
                <a:solidFill>
                  <a:schemeClr val="tx2"/>
                </a:solidFill>
              </a:defRPr>
            </a:lvl1pPr>
            <a:lvl2pPr marL="457147" indent="0" algn="ctr">
              <a:buNone/>
              <a:defRPr sz="2000"/>
            </a:lvl2pPr>
            <a:lvl3pPr marL="914296" indent="0" algn="ctr">
              <a:buNone/>
              <a:defRPr sz="1800"/>
            </a:lvl3pPr>
            <a:lvl4pPr marL="1371442" indent="0" algn="ctr">
              <a:buNone/>
              <a:defRPr sz="1600"/>
            </a:lvl4pPr>
            <a:lvl5pPr marL="1828589" indent="0" algn="ctr">
              <a:buNone/>
              <a:defRPr sz="1600"/>
            </a:lvl5pPr>
            <a:lvl6pPr marL="2285736" indent="0" algn="ctr">
              <a:buNone/>
              <a:defRPr sz="1600"/>
            </a:lvl6pPr>
            <a:lvl7pPr marL="2742885" indent="0" algn="ctr">
              <a:buNone/>
              <a:defRPr sz="1600"/>
            </a:lvl7pPr>
            <a:lvl8pPr marL="3200032" indent="0" algn="ctr">
              <a:buNone/>
              <a:defRPr sz="1600"/>
            </a:lvl8pPr>
            <a:lvl9pPr marL="3657179" indent="0" algn="ctr">
              <a:buNone/>
              <a:defRPr sz="1600"/>
            </a:lvl9pPr>
          </a:lstStyle>
          <a:p>
            <a:r>
              <a:rPr lang="en-US" dirty="0"/>
              <a:t>Subtitle</a:t>
            </a:r>
            <a:endParaRPr lang="ru-RU" dirty="0"/>
          </a:p>
        </p:txBody>
      </p:sp>
      <p:pic>
        <p:nvPicPr>
          <p:cNvPr id="4" name="Рисунок 3"/>
          <p:cNvPicPr>
            <a:picLocks noChangeAspect="1"/>
          </p:cNvPicPr>
          <p:nvPr userDrawn="1"/>
        </p:nvPicPr>
        <p:blipFill>
          <a:blip r:embed="rId2"/>
          <a:stretch>
            <a:fillRect/>
          </a:stretch>
        </p:blipFill>
        <p:spPr>
          <a:xfrm>
            <a:off x="11543632" y="6442645"/>
            <a:ext cx="266737" cy="304844"/>
          </a:xfrm>
          <a:prstGeom prst="rect">
            <a:avLst/>
          </a:prstGeom>
        </p:spPr>
      </p:pic>
      <p:sp>
        <p:nvSpPr>
          <p:cNvPr id="6" name="Рисунок 5"/>
          <p:cNvSpPr>
            <a:spLocks noGrp="1"/>
          </p:cNvSpPr>
          <p:nvPr>
            <p:ph type="pic" sz="quarter" idx="10"/>
          </p:nvPr>
        </p:nvSpPr>
        <p:spPr>
          <a:xfrm>
            <a:off x="9651368" y="1628708"/>
            <a:ext cx="2159000" cy="2160587"/>
          </a:xfrm>
          <a:prstGeom prst="wedgeEllipseCallout">
            <a:avLst>
              <a:gd name="adj1" fmla="val -47657"/>
              <a:gd name="adj2" fmla="val 51214"/>
            </a:avLst>
          </a:prstGeom>
          <a:solidFill>
            <a:schemeClr val="tx2"/>
          </a:solidFill>
        </p:spPr>
        <p:txBody>
          <a:bodyPr/>
          <a:lstStyle/>
          <a:p>
            <a:endParaRPr lang="ru-RU" dirty="0"/>
          </a:p>
        </p:txBody>
      </p:sp>
      <p:pic>
        <p:nvPicPr>
          <p:cNvPr id="7" name="Рисунок 6"/>
          <p:cNvPicPr>
            <a:picLocks noChangeAspect="1"/>
          </p:cNvPicPr>
          <p:nvPr userDrawn="1"/>
        </p:nvPicPr>
        <p:blipFill>
          <a:blip r:embed="rId2"/>
          <a:stretch>
            <a:fillRect/>
          </a:stretch>
        </p:blipFill>
        <p:spPr>
          <a:xfrm>
            <a:off x="11276896" y="6442645"/>
            <a:ext cx="266737" cy="304844"/>
          </a:xfrm>
          <a:prstGeom prst="rect">
            <a:avLst/>
          </a:prstGeom>
        </p:spPr>
      </p:pic>
    </p:spTree>
    <p:extLst>
      <p:ext uri="{BB962C8B-B14F-4D97-AF65-F5344CB8AC3E}">
        <p14:creationId xmlns:p14="http://schemas.microsoft.com/office/powerpoint/2010/main" val="749966607"/>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title" preserve="1">
  <p:cSld name="Demo">
    <p:spTree>
      <p:nvGrpSpPr>
        <p:cNvPr id="1" name=""/>
        <p:cNvGrpSpPr/>
        <p:nvPr/>
      </p:nvGrpSpPr>
      <p:grpSpPr>
        <a:xfrm>
          <a:off x="0" y="0"/>
          <a:ext cx="0" cy="0"/>
          <a:chOff x="0" y="0"/>
          <a:chExt cx="0" cy="0"/>
        </a:xfrm>
      </p:grpSpPr>
      <p:sp>
        <p:nvSpPr>
          <p:cNvPr id="2" name="Заголовок 1"/>
          <p:cNvSpPr>
            <a:spLocks noGrp="1"/>
          </p:cNvSpPr>
          <p:nvPr>
            <p:ph type="ctrTitle" hasCustomPrompt="1"/>
          </p:nvPr>
        </p:nvSpPr>
        <p:spPr>
          <a:xfrm>
            <a:off x="0" y="1269001"/>
            <a:ext cx="12192000" cy="2880000"/>
          </a:xfrm>
          <a:solidFill>
            <a:schemeClr val="accent4">
              <a:lumMod val="50000"/>
            </a:schemeClr>
          </a:solidFill>
        </p:spPr>
        <p:txBody>
          <a:bodyPr lIns="1080000" rIns="1080000" anchor="b">
            <a:normAutofit/>
          </a:bodyPr>
          <a:lstStyle>
            <a:lvl1pPr algn="l">
              <a:defRPr sz="4800" b="1">
                <a:solidFill>
                  <a:schemeClr val="bg1"/>
                </a:solidFill>
                <a:latin typeface="+mn-lt"/>
              </a:defRPr>
            </a:lvl1pPr>
          </a:lstStyle>
          <a:p>
            <a:r>
              <a:rPr lang="en-US" dirty="0"/>
              <a:t>TITLE</a:t>
            </a:r>
            <a:endParaRPr lang="ru-RU" dirty="0"/>
          </a:p>
        </p:txBody>
      </p:sp>
      <p:sp>
        <p:nvSpPr>
          <p:cNvPr id="3" name="Подзаголовок 2"/>
          <p:cNvSpPr>
            <a:spLocks noGrp="1"/>
          </p:cNvSpPr>
          <p:nvPr>
            <p:ph type="subTitle" idx="1" hasCustomPrompt="1"/>
          </p:nvPr>
        </p:nvSpPr>
        <p:spPr>
          <a:xfrm>
            <a:off x="1056000" y="4329002"/>
            <a:ext cx="9144000" cy="1452017"/>
          </a:xfrm>
        </p:spPr>
        <p:txBody>
          <a:bodyPr lIns="36000" rIns="36000">
            <a:normAutofit/>
          </a:bodyPr>
          <a:lstStyle>
            <a:lvl1pPr marL="0" indent="0" algn="l">
              <a:buNone/>
              <a:defRPr sz="3600">
                <a:solidFill>
                  <a:schemeClr val="tx2"/>
                </a:solidFill>
              </a:defRPr>
            </a:lvl1pPr>
            <a:lvl2pPr marL="457147" indent="0" algn="ctr">
              <a:buNone/>
              <a:defRPr sz="2000"/>
            </a:lvl2pPr>
            <a:lvl3pPr marL="914296" indent="0" algn="ctr">
              <a:buNone/>
              <a:defRPr sz="1800"/>
            </a:lvl3pPr>
            <a:lvl4pPr marL="1371442" indent="0" algn="ctr">
              <a:buNone/>
              <a:defRPr sz="1600"/>
            </a:lvl4pPr>
            <a:lvl5pPr marL="1828589" indent="0" algn="ctr">
              <a:buNone/>
              <a:defRPr sz="1600"/>
            </a:lvl5pPr>
            <a:lvl6pPr marL="2285736" indent="0" algn="ctr">
              <a:buNone/>
              <a:defRPr sz="1600"/>
            </a:lvl6pPr>
            <a:lvl7pPr marL="2742885" indent="0" algn="ctr">
              <a:buNone/>
              <a:defRPr sz="1600"/>
            </a:lvl7pPr>
            <a:lvl8pPr marL="3200032" indent="0" algn="ctr">
              <a:buNone/>
              <a:defRPr sz="1600"/>
            </a:lvl8pPr>
            <a:lvl9pPr marL="3657179" indent="0" algn="ctr">
              <a:buNone/>
              <a:defRPr sz="1600"/>
            </a:lvl9pPr>
          </a:lstStyle>
          <a:p>
            <a:r>
              <a:rPr lang="en-US" dirty="0"/>
              <a:t>Subtitle</a:t>
            </a:r>
            <a:endParaRPr lang="ru-RU" dirty="0"/>
          </a:p>
        </p:txBody>
      </p:sp>
      <p:sp>
        <p:nvSpPr>
          <p:cNvPr id="5" name="TextBox 4"/>
          <p:cNvSpPr txBox="1"/>
          <p:nvPr userDrawn="1"/>
        </p:nvSpPr>
        <p:spPr>
          <a:xfrm>
            <a:off x="1056000" y="904333"/>
            <a:ext cx="733130" cy="369332"/>
          </a:xfrm>
          <a:prstGeom prst="rect">
            <a:avLst/>
          </a:prstGeom>
          <a:noFill/>
        </p:spPr>
        <p:txBody>
          <a:bodyPr wrap="none" lIns="35995" rIns="35995" rtlCol="0">
            <a:spAutoFit/>
          </a:bodyPr>
          <a:lstStyle/>
          <a:p>
            <a:pPr marL="0" marR="0" lvl="0" indent="0" algn="l" defTabSz="914296"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B20ECA">
                    <a:lumMod val="50000"/>
                  </a:srgbClr>
                </a:solidFill>
                <a:effectLst/>
                <a:uLnTx/>
                <a:uFillTx/>
                <a:latin typeface="Segoe UI"/>
                <a:ea typeface="+mn-ea"/>
                <a:cs typeface="+mn-cs"/>
              </a:rPr>
              <a:t>DEMO</a:t>
            </a:r>
            <a:endParaRPr kumimoji="0" lang="ru-RU" sz="1800" b="0" i="0" u="none" strike="noStrike" kern="1200" cap="none" spc="0" normalizeH="0" baseline="0" noProof="0" dirty="0">
              <a:ln>
                <a:noFill/>
              </a:ln>
              <a:solidFill>
                <a:srgbClr val="B20ECA">
                  <a:lumMod val="50000"/>
                </a:srgbClr>
              </a:solidFill>
              <a:effectLst/>
              <a:uLnTx/>
              <a:uFillTx/>
              <a:latin typeface="Segoe UI"/>
              <a:ea typeface="+mn-ea"/>
              <a:cs typeface="+mn-cs"/>
            </a:endParaRPr>
          </a:p>
        </p:txBody>
      </p:sp>
    </p:spTree>
    <p:extLst>
      <p:ext uri="{BB962C8B-B14F-4D97-AF65-F5344CB8AC3E}">
        <p14:creationId xmlns:p14="http://schemas.microsoft.com/office/powerpoint/2010/main" val="1929056427"/>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title" preserve="1">
  <p:cSld name="Demo VS">
    <p:spTree>
      <p:nvGrpSpPr>
        <p:cNvPr id="1" name=""/>
        <p:cNvGrpSpPr/>
        <p:nvPr/>
      </p:nvGrpSpPr>
      <p:grpSpPr>
        <a:xfrm>
          <a:off x="0" y="0"/>
          <a:ext cx="0" cy="0"/>
          <a:chOff x="0" y="0"/>
          <a:chExt cx="0" cy="0"/>
        </a:xfrm>
      </p:grpSpPr>
      <p:sp>
        <p:nvSpPr>
          <p:cNvPr id="2" name="Заголовок 1"/>
          <p:cNvSpPr>
            <a:spLocks noGrp="1"/>
          </p:cNvSpPr>
          <p:nvPr>
            <p:ph type="ctrTitle" hasCustomPrompt="1"/>
          </p:nvPr>
        </p:nvSpPr>
        <p:spPr>
          <a:xfrm>
            <a:off x="0" y="1269001"/>
            <a:ext cx="12192000" cy="2880000"/>
          </a:xfrm>
          <a:solidFill>
            <a:schemeClr val="accent4">
              <a:lumMod val="75000"/>
            </a:schemeClr>
          </a:solidFill>
        </p:spPr>
        <p:txBody>
          <a:bodyPr lIns="1080000" rIns="1080000" anchor="b">
            <a:normAutofit/>
          </a:bodyPr>
          <a:lstStyle>
            <a:lvl1pPr algn="l">
              <a:defRPr sz="4800" b="1">
                <a:solidFill>
                  <a:schemeClr val="bg1"/>
                </a:solidFill>
                <a:latin typeface="+mn-lt"/>
              </a:defRPr>
            </a:lvl1pPr>
          </a:lstStyle>
          <a:p>
            <a:r>
              <a:rPr lang="en-US" dirty="0"/>
              <a:t>TITLE</a:t>
            </a:r>
            <a:endParaRPr lang="ru-RU" dirty="0"/>
          </a:p>
        </p:txBody>
      </p:sp>
      <p:sp>
        <p:nvSpPr>
          <p:cNvPr id="3" name="Подзаголовок 2"/>
          <p:cNvSpPr>
            <a:spLocks noGrp="1"/>
          </p:cNvSpPr>
          <p:nvPr>
            <p:ph type="subTitle" idx="1" hasCustomPrompt="1"/>
          </p:nvPr>
        </p:nvSpPr>
        <p:spPr>
          <a:xfrm>
            <a:off x="1056000" y="4329002"/>
            <a:ext cx="9144000" cy="1452017"/>
          </a:xfrm>
        </p:spPr>
        <p:txBody>
          <a:bodyPr lIns="36000" rIns="36000">
            <a:normAutofit/>
          </a:bodyPr>
          <a:lstStyle>
            <a:lvl1pPr marL="0" indent="0" algn="l">
              <a:buNone/>
              <a:defRPr sz="3600">
                <a:solidFill>
                  <a:schemeClr val="tx2"/>
                </a:solidFill>
              </a:defRPr>
            </a:lvl1pPr>
            <a:lvl2pPr marL="457147" indent="0" algn="ctr">
              <a:buNone/>
              <a:defRPr sz="2000"/>
            </a:lvl2pPr>
            <a:lvl3pPr marL="914296" indent="0" algn="ctr">
              <a:buNone/>
              <a:defRPr sz="1800"/>
            </a:lvl3pPr>
            <a:lvl4pPr marL="1371442" indent="0" algn="ctr">
              <a:buNone/>
              <a:defRPr sz="1600"/>
            </a:lvl4pPr>
            <a:lvl5pPr marL="1828589" indent="0" algn="ctr">
              <a:buNone/>
              <a:defRPr sz="1600"/>
            </a:lvl5pPr>
            <a:lvl6pPr marL="2285736" indent="0" algn="ctr">
              <a:buNone/>
              <a:defRPr sz="1600"/>
            </a:lvl6pPr>
            <a:lvl7pPr marL="2742885" indent="0" algn="ctr">
              <a:buNone/>
              <a:defRPr sz="1600"/>
            </a:lvl7pPr>
            <a:lvl8pPr marL="3200032" indent="0" algn="ctr">
              <a:buNone/>
              <a:defRPr sz="1600"/>
            </a:lvl8pPr>
            <a:lvl9pPr marL="3657179" indent="0" algn="ctr">
              <a:buNone/>
              <a:defRPr sz="1600"/>
            </a:lvl9pPr>
          </a:lstStyle>
          <a:p>
            <a:r>
              <a:rPr lang="en-US" dirty="0"/>
              <a:t>Subtitle</a:t>
            </a:r>
            <a:endParaRPr lang="ru-RU" dirty="0"/>
          </a:p>
        </p:txBody>
      </p:sp>
      <p:pic>
        <p:nvPicPr>
          <p:cNvPr id="4" name="Рисунок 3"/>
          <p:cNvPicPr>
            <a:picLocks noChangeAspect="1"/>
          </p:cNvPicPr>
          <p:nvPr userDrawn="1"/>
        </p:nvPicPr>
        <p:blipFill>
          <a:blip r:embed="rId2"/>
          <a:stretch>
            <a:fillRect/>
          </a:stretch>
        </p:blipFill>
        <p:spPr>
          <a:xfrm>
            <a:off x="11496000" y="6309001"/>
            <a:ext cx="352475" cy="362001"/>
          </a:xfrm>
          <a:prstGeom prst="rect">
            <a:avLst/>
          </a:prstGeom>
        </p:spPr>
      </p:pic>
      <p:sp>
        <p:nvSpPr>
          <p:cNvPr id="5" name="TextBox 4"/>
          <p:cNvSpPr txBox="1"/>
          <p:nvPr userDrawn="1"/>
        </p:nvSpPr>
        <p:spPr>
          <a:xfrm>
            <a:off x="1056000" y="904333"/>
            <a:ext cx="733130" cy="369332"/>
          </a:xfrm>
          <a:prstGeom prst="rect">
            <a:avLst/>
          </a:prstGeom>
          <a:noFill/>
        </p:spPr>
        <p:txBody>
          <a:bodyPr wrap="none" lIns="35995" rIns="35995" rtlCol="0">
            <a:spAutoFit/>
          </a:bodyPr>
          <a:lstStyle/>
          <a:p>
            <a:pPr marL="0" marR="0" lvl="0" indent="0" algn="l" defTabSz="914296"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B20ECA">
                    <a:lumMod val="75000"/>
                  </a:srgbClr>
                </a:solidFill>
                <a:effectLst/>
                <a:uLnTx/>
                <a:uFillTx/>
                <a:latin typeface="Segoe UI"/>
                <a:ea typeface="+mn-ea"/>
                <a:cs typeface="+mn-cs"/>
              </a:rPr>
              <a:t>DEMO</a:t>
            </a:r>
            <a:endParaRPr kumimoji="0" lang="ru-RU" sz="1800" b="0" i="0" u="none" strike="noStrike" kern="1200" cap="none" spc="0" normalizeH="0" baseline="0" noProof="0" dirty="0">
              <a:ln>
                <a:noFill/>
              </a:ln>
              <a:solidFill>
                <a:srgbClr val="B20ECA">
                  <a:lumMod val="75000"/>
                </a:srgbClr>
              </a:solidFill>
              <a:effectLst/>
              <a:uLnTx/>
              <a:uFillTx/>
              <a:latin typeface="Segoe UI"/>
              <a:ea typeface="+mn-ea"/>
              <a:cs typeface="+mn-cs"/>
            </a:endParaRPr>
          </a:p>
        </p:txBody>
      </p:sp>
    </p:spTree>
    <p:extLst>
      <p:ext uri="{BB962C8B-B14F-4D97-AF65-F5344CB8AC3E}">
        <p14:creationId xmlns:p14="http://schemas.microsoft.com/office/powerpoint/2010/main" val="2433816788"/>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en-US" dirty="0"/>
              <a:t>Title</a:t>
            </a:r>
            <a:endParaRPr lang="ru-RU" dirty="0"/>
          </a:p>
        </p:txBody>
      </p:sp>
      <p:sp>
        <p:nvSpPr>
          <p:cNvPr id="3" name="Объект 2"/>
          <p:cNvSpPr>
            <a:spLocks noGrp="1"/>
          </p:cNvSpPr>
          <p:nvPr>
            <p:ph idx="1" hasCustomPrompt="1"/>
          </p:nvPr>
        </p:nvSpPr>
        <p:spPr/>
        <p:txBody>
          <a:bodyPr/>
          <a:lstStyle>
            <a:lvl1pPr>
              <a:defRPr/>
            </a:lvl1pPr>
            <a:lvl2pPr>
              <a:defRPr/>
            </a:lvl2pPr>
            <a:lvl3pPr>
              <a:defRPr/>
            </a:lvl3pPr>
          </a:lstStyle>
          <a:p>
            <a:pPr lvl="0"/>
            <a:r>
              <a:rPr lang="en-US" dirty="0"/>
              <a:t>Text</a:t>
            </a:r>
            <a:endParaRPr lang="ru-RU" dirty="0"/>
          </a:p>
          <a:p>
            <a:pPr lvl="1"/>
            <a:r>
              <a:rPr lang="en-US" dirty="0"/>
              <a:t>Text2</a:t>
            </a:r>
            <a:endParaRPr lang="ru-RU" dirty="0"/>
          </a:p>
          <a:p>
            <a:pPr lvl="2"/>
            <a:r>
              <a:rPr lang="en-US" dirty="0"/>
              <a:t>Text3</a:t>
            </a:r>
            <a:endParaRPr lang="ru-RU" dirty="0"/>
          </a:p>
        </p:txBody>
      </p:sp>
    </p:spTree>
    <p:extLst>
      <p:ext uri="{BB962C8B-B14F-4D97-AF65-F5344CB8AC3E}">
        <p14:creationId xmlns:p14="http://schemas.microsoft.com/office/powerpoint/2010/main" val="4010640958"/>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obj" preserve="1">
  <p:cSld name="Title and content (text wo bullets)">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en-US" dirty="0"/>
              <a:t>Title</a:t>
            </a:r>
            <a:endParaRPr lang="ru-RU" dirty="0"/>
          </a:p>
        </p:txBody>
      </p:sp>
      <p:sp>
        <p:nvSpPr>
          <p:cNvPr id="3" name="Объект 2"/>
          <p:cNvSpPr>
            <a:spLocks noGrp="1"/>
          </p:cNvSpPr>
          <p:nvPr>
            <p:ph idx="1" hasCustomPrompt="1"/>
          </p:nvPr>
        </p:nvSpPr>
        <p:spPr/>
        <p:txBody>
          <a:bodyPr/>
          <a:lstStyle>
            <a:lvl1pPr marL="0" indent="0">
              <a:buNone/>
              <a:defRPr lang="en-US" dirty="0" smtClean="0"/>
            </a:lvl1pPr>
            <a:lvl2pPr marL="0" indent="0">
              <a:buNone/>
              <a:defRPr/>
            </a:lvl2pPr>
            <a:lvl3pPr marL="273019" indent="-185717">
              <a:buFont typeface="Wingdings" panose="05000000000000000000" pitchFamily="2" charset="2"/>
              <a:buChar char="§"/>
              <a:defRPr/>
            </a:lvl3pPr>
            <a:lvl4pPr marL="1371442" indent="0">
              <a:buNone/>
              <a:defRPr/>
            </a:lvl4pPr>
            <a:lvl5pPr marL="1828589" indent="0">
              <a:buNone/>
              <a:defRPr/>
            </a:lvl5pPr>
          </a:lstStyle>
          <a:p>
            <a:pPr lvl="0"/>
            <a:r>
              <a:rPr lang="en-US" dirty="0"/>
              <a:t>Text</a:t>
            </a:r>
          </a:p>
          <a:p>
            <a:pPr lvl="1"/>
            <a:r>
              <a:rPr lang="en-US" dirty="0"/>
              <a:t>Text2</a:t>
            </a:r>
            <a:endParaRPr lang="ru-RU" dirty="0"/>
          </a:p>
          <a:p>
            <a:pPr lvl="2"/>
            <a:r>
              <a:rPr lang="en-US" dirty="0"/>
              <a:t>Text3</a:t>
            </a:r>
            <a:endParaRPr lang="ru-RU" dirty="0"/>
          </a:p>
        </p:txBody>
      </p:sp>
    </p:spTree>
    <p:extLst>
      <p:ext uri="{BB962C8B-B14F-4D97-AF65-F5344CB8AC3E}">
        <p14:creationId xmlns:p14="http://schemas.microsoft.com/office/powerpoint/2010/main" val="3692692949"/>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obj" preserve="1">
  <p:cSld name="Код">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en-US" dirty="0"/>
              <a:t>Title</a:t>
            </a:r>
            <a:endParaRPr lang="ru-RU" dirty="0"/>
          </a:p>
        </p:txBody>
      </p:sp>
      <p:sp>
        <p:nvSpPr>
          <p:cNvPr id="3" name="Объект 2"/>
          <p:cNvSpPr>
            <a:spLocks noGrp="1"/>
          </p:cNvSpPr>
          <p:nvPr>
            <p:ph idx="1" hasCustomPrompt="1"/>
          </p:nvPr>
        </p:nvSpPr>
        <p:spPr>
          <a:xfrm>
            <a:off x="1056000" y="1449000"/>
            <a:ext cx="10297800" cy="4860000"/>
          </a:xfrm>
          <a:gradFill flip="none" rotWithShape="1">
            <a:gsLst>
              <a:gs pos="1000">
                <a:schemeClr val="accent6"/>
              </a:gs>
              <a:gs pos="1000">
                <a:schemeClr val="bg1">
                  <a:alpha val="99000"/>
                </a:schemeClr>
              </a:gs>
            </a:gsLst>
            <a:lin ang="0" scaled="1"/>
            <a:tileRect/>
          </a:gradFill>
          <a:ln>
            <a:noFill/>
          </a:ln>
        </p:spPr>
        <p:txBody>
          <a:bodyPr lIns="180000">
            <a:normAutofit/>
          </a:bodyPr>
          <a:lstStyle>
            <a:lvl1pPr marL="0" indent="0">
              <a:spcBef>
                <a:spcPts val="600"/>
              </a:spcBef>
              <a:spcAft>
                <a:spcPts val="0"/>
              </a:spcAft>
              <a:buFont typeface="Arial" panose="020B0604020202020204" pitchFamily="34" charset="0"/>
              <a:buNone/>
              <a:defRPr sz="1800" baseline="0">
                <a:solidFill>
                  <a:schemeClr val="tx2"/>
                </a:solidFill>
                <a:latin typeface="Consolas" panose="020B0609020204030204" pitchFamily="49" charset="0"/>
                <a:cs typeface="Consolas" panose="020B0609020204030204" pitchFamily="49" charset="0"/>
              </a:defRPr>
            </a:lvl1pPr>
            <a:lvl2pPr marL="360322" indent="0">
              <a:spcBef>
                <a:spcPts val="600"/>
              </a:spcBef>
              <a:spcAft>
                <a:spcPts val="0"/>
              </a:spcAft>
              <a:buFont typeface="Arial" panose="020B0604020202020204" pitchFamily="34" charset="0"/>
              <a:buNone/>
              <a:defRPr sz="1800">
                <a:solidFill>
                  <a:schemeClr val="tx2"/>
                </a:solidFill>
                <a:latin typeface="Consolas" panose="020B0609020204030204" pitchFamily="49" charset="0"/>
                <a:cs typeface="Consolas" panose="020B0609020204030204" pitchFamily="49" charset="0"/>
              </a:defRPr>
            </a:lvl2pPr>
            <a:lvl3pPr marL="719055" indent="0">
              <a:spcBef>
                <a:spcPts val="600"/>
              </a:spcBef>
              <a:spcAft>
                <a:spcPts val="0"/>
              </a:spcAft>
              <a:buFont typeface="Wingdings" panose="05000000000000000000" pitchFamily="2" charset="2"/>
              <a:buNone/>
              <a:defRPr sz="1800">
                <a:solidFill>
                  <a:schemeClr val="tx2"/>
                </a:solidFill>
                <a:latin typeface="Consolas" panose="020B0609020204030204" pitchFamily="49" charset="0"/>
                <a:cs typeface="Consolas" panose="020B0609020204030204" pitchFamily="49" charset="0"/>
              </a:defRPr>
            </a:lvl3pPr>
            <a:lvl4pPr marL="1079376" indent="0">
              <a:spcBef>
                <a:spcPts val="600"/>
              </a:spcBef>
              <a:spcAft>
                <a:spcPts val="0"/>
              </a:spcAft>
              <a:buNone/>
              <a:defRPr sz="1800">
                <a:latin typeface="Consolas" panose="020B0609020204030204" pitchFamily="49" charset="0"/>
                <a:cs typeface="Consolas" panose="020B0609020204030204" pitchFamily="49" charset="0"/>
              </a:defRPr>
            </a:lvl4pPr>
            <a:lvl5pPr marL="1439697" indent="0">
              <a:spcBef>
                <a:spcPts val="600"/>
              </a:spcBef>
              <a:spcAft>
                <a:spcPts val="0"/>
              </a:spcAft>
              <a:buNone/>
              <a:defRPr>
                <a:latin typeface="Consolas" panose="020B0609020204030204" pitchFamily="49" charset="0"/>
                <a:cs typeface="Consolas" panose="020B0609020204030204" pitchFamily="49" charset="0"/>
              </a:defRPr>
            </a:lvl5pPr>
          </a:lstStyle>
          <a:p>
            <a:pPr lvl="0"/>
            <a:r>
              <a:rPr lang="en-US" dirty="0"/>
              <a:t>Line 1</a:t>
            </a:r>
          </a:p>
          <a:p>
            <a:pPr lvl="1"/>
            <a:r>
              <a:rPr lang="en-US" dirty="0"/>
              <a:t>Line 2</a:t>
            </a:r>
          </a:p>
          <a:p>
            <a:pPr lvl="2"/>
            <a:r>
              <a:rPr lang="en-US" dirty="0"/>
              <a:t>Line 3</a:t>
            </a:r>
          </a:p>
          <a:p>
            <a:pPr lvl="3"/>
            <a:r>
              <a:rPr lang="en-US" dirty="0"/>
              <a:t>Line 4</a:t>
            </a:r>
          </a:p>
          <a:p>
            <a:pPr lvl="4"/>
            <a:r>
              <a:rPr lang="en-US" dirty="0"/>
              <a:t>Line 5</a:t>
            </a:r>
            <a:endParaRPr lang="ru-RU" dirty="0"/>
          </a:p>
        </p:txBody>
      </p:sp>
    </p:spTree>
    <p:extLst>
      <p:ext uri="{BB962C8B-B14F-4D97-AF65-F5344CB8AC3E}">
        <p14:creationId xmlns:p14="http://schemas.microsoft.com/office/powerpoint/2010/main" val="2022707532"/>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en-US" dirty="0"/>
              <a:t>Title</a:t>
            </a:r>
            <a:endParaRPr lang="ru-RU" dirty="0"/>
          </a:p>
        </p:txBody>
      </p:sp>
    </p:spTree>
    <p:extLst>
      <p:ext uri="{BB962C8B-B14F-4D97-AF65-F5344CB8AC3E}">
        <p14:creationId xmlns:p14="http://schemas.microsoft.com/office/powerpoint/2010/main" val="1042271103"/>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5050077"/>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3" name="Рисунок 2"/>
          <p:cNvSpPr>
            <a:spLocks noGrp="1"/>
          </p:cNvSpPr>
          <p:nvPr>
            <p:ph type="pic" sz="quarter" idx="10"/>
          </p:nvPr>
        </p:nvSpPr>
        <p:spPr>
          <a:xfrm>
            <a:off x="0" y="0"/>
            <a:ext cx="12192000" cy="6858000"/>
          </a:xfrm>
        </p:spPr>
        <p:txBody>
          <a:bodyPr/>
          <a:lstStyle/>
          <a:p>
            <a:endParaRPr lang="ru-RU"/>
          </a:p>
        </p:txBody>
      </p:sp>
      <p:sp>
        <p:nvSpPr>
          <p:cNvPr id="4" name="Заголовок 3"/>
          <p:cNvSpPr>
            <a:spLocks noGrp="1"/>
          </p:cNvSpPr>
          <p:nvPr>
            <p:ph type="title" hasCustomPrompt="1"/>
          </p:nvPr>
        </p:nvSpPr>
        <p:spPr>
          <a:xfrm>
            <a:off x="0" y="5589001"/>
            <a:ext cx="12192000" cy="720000"/>
          </a:xfrm>
        </p:spPr>
        <p:txBody>
          <a:bodyPr lIns="1044000">
            <a:noAutofit/>
          </a:bodyPr>
          <a:lstStyle>
            <a:lvl1pPr>
              <a:defRPr sz="4800"/>
            </a:lvl1pPr>
          </a:lstStyle>
          <a:p>
            <a:r>
              <a:rPr lang="en-US" dirty="0"/>
              <a:t>Title</a:t>
            </a:r>
            <a:endParaRPr lang="ru-RU" dirty="0"/>
          </a:p>
        </p:txBody>
      </p:sp>
    </p:spTree>
    <p:extLst>
      <p:ext uri="{BB962C8B-B14F-4D97-AF65-F5344CB8AC3E}">
        <p14:creationId xmlns:p14="http://schemas.microsoft.com/office/powerpoint/2010/main" val="180241697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Half Picture">
    <p:bg>
      <p:bgPr>
        <a:solidFill>
          <a:schemeClr val="accent3"/>
        </a:solidFill>
        <a:effectLst/>
      </p:bgPr>
    </p:bg>
    <p:spTree>
      <p:nvGrpSpPr>
        <p:cNvPr id="1" name=""/>
        <p:cNvGrpSpPr/>
        <p:nvPr/>
      </p:nvGrpSpPr>
      <p:grpSpPr>
        <a:xfrm>
          <a:off x="0" y="0"/>
          <a:ext cx="0" cy="0"/>
          <a:chOff x="0" y="0"/>
          <a:chExt cx="0" cy="0"/>
        </a:xfrm>
      </p:grpSpPr>
      <p:sp>
        <p:nvSpPr>
          <p:cNvPr id="3" name="Рисунок 2"/>
          <p:cNvSpPr>
            <a:spLocks noGrp="1"/>
          </p:cNvSpPr>
          <p:nvPr>
            <p:ph type="pic" sz="quarter" idx="10"/>
          </p:nvPr>
        </p:nvSpPr>
        <p:spPr>
          <a:xfrm>
            <a:off x="6096000" y="0"/>
            <a:ext cx="6096000" cy="6858000"/>
          </a:xfrm>
        </p:spPr>
        <p:txBody>
          <a:bodyPr/>
          <a:lstStyle/>
          <a:p>
            <a:endParaRPr lang="ru-RU"/>
          </a:p>
        </p:txBody>
      </p:sp>
      <p:sp>
        <p:nvSpPr>
          <p:cNvPr id="4" name="Заголовок 3"/>
          <p:cNvSpPr>
            <a:spLocks noGrp="1"/>
          </p:cNvSpPr>
          <p:nvPr>
            <p:ph type="title" hasCustomPrompt="1"/>
          </p:nvPr>
        </p:nvSpPr>
        <p:spPr>
          <a:xfrm>
            <a:off x="2296" y="1269000"/>
            <a:ext cx="6093704" cy="4320000"/>
          </a:xfrm>
        </p:spPr>
        <p:txBody>
          <a:bodyPr lIns="1044000" rIns="360000"/>
          <a:lstStyle>
            <a:lvl1pPr>
              <a:defRPr>
                <a:solidFill>
                  <a:schemeClr val="bg1"/>
                </a:solidFill>
                <a:latin typeface="+mj-lt"/>
              </a:defRPr>
            </a:lvl1pPr>
          </a:lstStyle>
          <a:p>
            <a:r>
              <a:rPr lang="en-US" dirty="0"/>
              <a:t>Title</a:t>
            </a:r>
            <a:endParaRPr lang="ru-RU" dirty="0"/>
          </a:p>
        </p:txBody>
      </p:sp>
    </p:spTree>
    <p:extLst>
      <p:ext uri="{BB962C8B-B14F-4D97-AF65-F5344CB8AC3E}">
        <p14:creationId xmlns:p14="http://schemas.microsoft.com/office/powerpoint/2010/main" val="2855984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3">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981250"/>
            <a:ext cx="11155093" cy="1172373"/>
          </a:xfrm>
        </p:spPr>
        <p:txBody>
          <a:bodyPr anchor="b" anchorCtr="0">
            <a:spAutoFit/>
          </a:bodyPr>
          <a:lstStyle>
            <a:lvl1pPr>
              <a:defRPr sz="7058" spc="-150" baseline="0">
                <a:gradFill>
                  <a:gsLst>
                    <a:gs pos="1250">
                      <a:schemeClr val="accent1"/>
                    </a:gs>
                    <a:gs pos="100000">
                      <a:schemeClr val="accent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269238" y="4773829"/>
            <a:ext cx="11155093" cy="724246"/>
          </a:xfrm>
        </p:spPr>
        <p:txBody>
          <a:bodyPr>
            <a:spAutoFit/>
          </a:bodyPr>
          <a:lstStyle>
            <a:lvl1pPr marL="0" indent="0">
              <a:spcBef>
                <a:spcPts val="0"/>
              </a:spcBef>
              <a:buNone/>
              <a:defRPr sz="3137" spc="-70" baseline="0">
                <a:gradFill>
                  <a:gsLst>
                    <a:gs pos="1250">
                      <a:schemeClr val="accent1"/>
                    </a:gs>
                    <a:gs pos="100000">
                      <a:schemeClr val="accent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17474533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hird Picture">
    <p:bg>
      <p:bgPr>
        <a:solidFill>
          <a:schemeClr val="accent2"/>
        </a:solidFill>
        <a:effectLst/>
      </p:bgPr>
    </p:bg>
    <p:spTree>
      <p:nvGrpSpPr>
        <p:cNvPr id="1" name=""/>
        <p:cNvGrpSpPr/>
        <p:nvPr/>
      </p:nvGrpSpPr>
      <p:grpSpPr>
        <a:xfrm>
          <a:off x="0" y="0"/>
          <a:ext cx="0" cy="0"/>
          <a:chOff x="0" y="0"/>
          <a:chExt cx="0" cy="0"/>
        </a:xfrm>
      </p:grpSpPr>
      <p:sp>
        <p:nvSpPr>
          <p:cNvPr id="3" name="Рисунок 2"/>
          <p:cNvSpPr>
            <a:spLocks noGrp="1"/>
          </p:cNvSpPr>
          <p:nvPr>
            <p:ph type="pic" sz="quarter" idx="10"/>
          </p:nvPr>
        </p:nvSpPr>
        <p:spPr>
          <a:xfrm>
            <a:off x="8256000" y="0"/>
            <a:ext cx="3936000" cy="6858000"/>
          </a:xfrm>
        </p:spPr>
        <p:txBody>
          <a:bodyPr/>
          <a:lstStyle/>
          <a:p>
            <a:endParaRPr lang="ru-RU"/>
          </a:p>
        </p:txBody>
      </p:sp>
      <p:sp>
        <p:nvSpPr>
          <p:cNvPr id="4" name="Заголовок 3"/>
          <p:cNvSpPr>
            <a:spLocks noGrp="1"/>
          </p:cNvSpPr>
          <p:nvPr>
            <p:ph type="title" hasCustomPrompt="1"/>
          </p:nvPr>
        </p:nvSpPr>
        <p:spPr>
          <a:xfrm>
            <a:off x="2296" y="1269000"/>
            <a:ext cx="8253704" cy="4320000"/>
          </a:xfrm>
        </p:spPr>
        <p:txBody>
          <a:bodyPr lIns="1044000" rIns="360000"/>
          <a:lstStyle>
            <a:lvl1pPr>
              <a:defRPr>
                <a:solidFill>
                  <a:schemeClr val="bg1"/>
                </a:solidFill>
                <a:latin typeface="+mj-lt"/>
              </a:defRPr>
            </a:lvl1pPr>
          </a:lstStyle>
          <a:p>
            <a:r>
              <a:rPr lang="en-US" dirty="0"/>
              <a:t>Title</a:t>
            </a:r>
            <a:endParaRPr lang="ru-RU" dirty="0"/>
          </a:p>
        </p:txBody>
      </p:sp>
    </p:spTree>
    <p:extLst>
      <p:ext uri="{BB962C8B-B14F-4D97-AF65-F5344CB8AC3E}">
        <p14:creationId xmlns:p14="http://schemas.microsoft.com/office/powerpoint/2010/main" val="3618476098"/>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Contacts">
    <p:bg>
      <p:bgPr>
        <a:solidFill>
          <a:schemeClr val="tx2"/>
        </a:solidFill>
        <a:effectLst/>
      </p:bgPr>
    </p:bg>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solidFill>
                  <a:schemeClr val="bg1"/>
                </a:solidFill>
              </a:defRPr>
            </a:lvl1pPr>
          </a:lstStyle>
          <a:p>
            <a:r>
              <a:rPr lang="en-US" dirty="0"/>
              <a:t>Title</a:t>
            </a:r>
            <a:endParaRPr lang="ru-RU" dirty="0"/>
          </a:p>
        </p:txBody>
      </p:sp>
      <p:sp>
        <p:nvSpPr>
          <p:cNvPr id="3" name="Объект 2"/>
          <p:cNvSpPr>
            <a:spLocks noGrp="1"/>
          </p:cNvSpPr>
          <p:nvPr>
            <p:ph idx="1" hasCustomPrompt="1"/>
          </p:nvPr>
        </p:nvSpPr>
        <p:spPr>
          <a:xfrm>
            <a:off x="1056000" y="4149139"/>
            <a:ext cx="10297800" cy="2159861"/>
          </a:xfrm>
        </p:spPr>
        <p:txBody>
          <a:bodyPr/>
          <a:lstStyle>
            <a:lvl1pPr marL="0" indent="0">
              <a:buNone/>
              <a:defRPr lang="en-US" dirty="0" smtClean="0">
                <a:solidFill>
                  <a:schemeClr val="bg1"/>
                </a:solidFill>
              </a:defRPr>
            </a:lvl1pPr>
            <a:lvl2pPr marL="0" indent="0">
              <a:buNone/>
              <a:defRPr>
                <a:ln>
                  <a:noFill/>
                </a:ln>
                <a:solidFill>
                  <a:schemeClr val="bg1">
                    <a:lumMod val="85000"/>
                  </a:schemeClr>
                </a:solidFill>
              </a:defRPr>
            </a:lvl2pPr>
            <a:lvl3pPr marL="273019" indent="-185717">
              <a:buFont typeface="Wingdings" panose="05000000000000000000" pitchFamily="2" charset="2"/>
              <a:buChar char="§"/>
              <a:defRPr>
                <a:ln>
                  <a:noFill/>
                </a:ln>
                <a:solidFill>
                  <a:schemeClr val="bg1">
                    <a:lumMod val="85000"/>
                  </a:schemeClr>
                </a:solidFill>
              </a:defRPr>
            </a:lvl3pPr>
            <a:lvl4pPr marL="1371442" indent="0">
              <a:buNone/>
              <a:defRPr/>
            </a:lvl4pPr>
            <a:lvl5pPr marL="1828589" indent="0">
              <a:buNone/>
              <a:defRPr/>
            </a:lvl5pPr>
          </a:lstStyle>
          <a:p>
            <a:pPr lvl="0"/>
            <a:r>
              <a:rPr lang="en-US" dirty="0"/>
              <a:t>Text</a:t>
            </a:r>
          </a:p>
          <a:p>
            <a:pPr lvl="1"/>
            <a:r>
              <a:rPr lang="en-US" dirty="0"/>
              <a:t>Text2</a:t>
            </a:r>
            <a:endParaRPr lang="ru-RU" dirty="0"/>
          </a:p>
          <a:p>
            <a:pPr lvl="2"/>
            <a:r>
              <a:rPr lang="en-US" dirty="0"/>
              <a:t>Text3</a:t>
            </a:r>
            <a:endParaRPr lang="ru-RU" dirty="0"/>
          </a:p>
        </p:txBody>
      </p:sp>
      <p:sp>
        <p:nvSpPr>
          <p:cNvPr id="5" name="Рисунок 4"/>
          <p:cNvSpPr>
            <a:spLocks noGrp="1"/>
          </p:cNvSpPr>
          <p:nvPr>
            <p:ph type="pic" sz="quarter" idx="10"/>
          </p:nvPr>
        </p:nvSpPr>
        <p:spPr>
          <a:xfrm>
            <a:off x="1116000" y="1449388"/>
            <a:ext cx="2460000" cy="2519363"/>
          </a:xfrm>
          <a:prstGeom prst="wedgeEllipseCallout">
            <a:avLst>
              <a:gd name="adj1" fmla="val -49528"/>
              <a:gd name="adj2" fmla="val 49797"/>
            </a:avLst>
          </a:prstGeom>
          <a:solidFill>
            <a:schemeClr val="accent2"/>
          </a:solidFill>
        </p:spPr>
        <p:txBody>
          <a:bodyPr/>
          <a:lstStyle/>
          <a:p>
            <a:endParaRPr lang="ru-RU"/>
          </a:p>
        </p:txBody>
      </p:sp>
    </p:spTree>
    <p:extLst>
      <p:ext uri="{BB962C8B-B14F-4D97-AF65-F5344CB8AC3E}">
        <p14:creationId xmlns:p14="http://schemas.microsoft.com/office/powerpoint/2010/main" val="51358621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obj" preserve="1">
  <p:cSld name="Thanks">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en-US" dirty="0"/>
              <a:t>Title</a:t>
            </a:r>
            <a:endParaRPr lang="ru-RU" dirty="0"/>
          </a:p>
        </p:txBody>
      </p:sp>
      <p:sp>
        <p:nvSpPr>
          <p:cNvPr id="3" name="Объект 2"/>
          <p:cNvSpPr>
            <a:spLocks noGrp="1"/>
          </p:cNvSpPr>
          <p:nvPr>
            <p:ph idx="1" hasCustomPrompt="1"/>
          </p:nvPr>
        </p:nvSpPr>
        <p:spPr/>
        <p:txBody>
          <a:bodyPr/>
          <a:lstStyle>
            <a:lvl1pPr marL="0" indent="0">
              <a:buNone/>
              <a:defRPr lang="en-US" dirty="0" smtClean="0"/>
            </a:lvl1pPr>
            <a:lvl2pPr marL="0" indent="0">
              <a:buNone/>
              <a:defRPr/>
            </a:lvl2pPr>
            <a:lvl3pPr marL="273019" indent="-185717">
              <a:buFont typeface="Wingdings" panose="05000000000000000000" pitchFamily="2" charset="2"/>
              <a:buChar char="§"/>
              <a:defRPr/>
            </a:lvl3pPr>
            <a:lvl4pPr marL="1371442" indent="0">
              <a:buNone/>
              <a:defRPr/>
            </a:lvl4pPr>
            <a:lvl5pPr marL="1828589" indent="0">
              <a:buNone/>
              <a:defRPr/>
            </a:lvl5pPr>
          </a:lstStyle>
          <a:p>
            <a:pPr lvl="0"/>
            <a:r>
              <a:rPr lang="en-US" dirty="0"/>
              <a:t>Text</a:t>
            </a:r>
          </a:p>
          <a:p>
            <a:pPr lvl="1"/>
            <a:r>
              <a:rPr lang="en-US" dirty="0"/>
              <a:t>Text2</a:t>
            </a:r>
            <a:endParaRPr lang="ru-RU" dirty="0"/>
          </a:p>
          <a:p>
            <a:pPr lvl="2"/>
            <a:r>
              <a:rPr lang="en-US" dirty="0"/>
              <a:t>Text3</a:t>
            </a:r>
            <a:endParaRPr lang="ru-RU" dirty="0"/>
          </a:p>
        </p:txBody>
      </p:sp>
    </p:spTree>
    <p:extLst>
      <p:ext uri="{BB962C8B-B14F-4D97-AF65-F5344CB8AC3E}">
        <p14:creationId xmlns:p14="http://schemas.microsoft.com/office/powerpoint/2010/main" val="2323227455"/>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Microsoft">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522288" y="6298301"/>
            <a:ext cx="11173091" cy="323165"/>
          </a:xfrm>
          <a:prstGeom prst="rect">
            <a:avLst/>
          </a:prstGeom>
          <a:noFill/>
          <a:ln w="12700">
            <a:noFill/>
            <a:miter lim="800000"/>
            <a:headEnd type="none" w="sm" len="sm"/>
            <a:tailEnd type="none" w="sm" len="sm"/>
          </a:ln>
          <a:effectLst/>
        </p:spPr>
        <p:txBody>
          <a:bodyPr lIns="0" tIns="0" rIns="0" bIns="0">
            <a:spAutoFit/>
          </a:bodyPr>
          <a:lstStyle/>
          <a:p>
            <a:pPr marL="0" marR="0" lvl="0" indent="0" algn="l" defTabSz="913994"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60F18"/>
                </a:solidFill>
                <a:effectLst/>
                <a:uLnTx/>
                <a:uFillTx/>
                <a:latin typeface="Segoe UI"/>
                <a:ea typeface="+mn-ea"/>
                <a:cs typeface="Arial" charset="0"/>
              </a:rPr>
              <a:t>© 2013 Microsoft Corporation. All rights reserved. Microsoft, Windows, Windows Vista and other product names are or may be registered trademarks and/or trademarks in the U.S. and/or other countries.</a:t>
            </a:r>
          </a:p>
          <a:p>
            <a:pPr marL="0" marR="0" lvl="0" indent="0" algn="l" defTabSz="913994"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60F18"/>
                </a:solidFill>
                <a:effectLst/>
                <a:uLnTx/>
                <a:uFillTx/>
                <a:latin typeface="Segoe UI"/>
                <a:ea typeface="+mn-ea"/>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Рисунок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29002" y="2743201"/>
            <a:ext cx="5102225" cy="1091876"/>
          </a:xfrm>
          <a:prstGeom prst="rect">
            <a:avLst/>
          </a:prstGeom>
        </p:spPr>
      </p:pic>
    </p:spTree>
    <p:extLst>
      <p:ext uri="{BB962C8B-B14F-4D97-AF65-F5344CB8AC3E}">
        <p14:creationId xmlns:p14="http://schemas.microsoft.com/office/powerpoint/2010/main" val="3475602725"/>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70pt Title">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69241" y="291071"/>
            <a:ext cx="10757097" cy="1108427"/>
          </a:xfrm>
          <a:prstGeom prst="rect">
            <a:avLst/>
          </a:prstGeom>
        </p:spPr>
        <p:txBody>
          <a:bodyPr lIns="146304" tIns="91440" rIns="146304" bIns="91440">
            <a:noAutofit/>
          </a:bodyPr>
          <a:lstStyle>
            <a:lvl1pPr marL="0" indent="0">
              <a:lnSpc>
                <a:spcPct val="90000"/>
              </a:lnSpc>
              <a:spcBef>
                <a:spcPts val="1176"/>
              </a:spcBef>
              <a:spcAft>
                <a:spcPts val="2353"/>
              </a:spcAft>
              <a:buFontTx/>
              <a:buNone/>
              <a:defRPr lang="en-US" sz="5097" b="0" i="0" kern="1200" spc="0" baseline="0" dirty="0" smtClean="0">
                <a:solidFill>
                  <a:schemeClr val="tx2"/>
                </a:solidFill>
                <a:latin typeface="+mj-lt"/>
                <a:ea typeface="+mn-ea"/>
                <a:cs typeface="+mn-cs"/>
              </a:defRPr>
            </a:lvl1pPr>
          </a:lstStyle>
          <a:p>
            <a:pPr marL="0" marR="0" lvl="0" indent="0" algn="l" defTabSz="914262" rtl="0" eaLnBrk="1" fontAlgn="auto" latinLnBrk="0" hangingPunct="1">
              <a:lnSpc>
                <a:spcPct val="90000"/>
              </a:lnSpc>
              <a:spcBef>
                <a:spcPts val="1176"/>
              </a:spcBef>
              <a:spcAft>
                <a:spcPts val="2353"/>
              </a:spcAft>
              <a:buClrTx/>
              <a:buSzPct val="90000"/>
              <a:buFontTx/>
              <a:buNone/>
              <a:tabLst/>
            </a:pPr>
            <a:r>
              <a:rPr lang="en-US" dirty="0"/>
              <a:t>Click to edit Master text</a:t>
            </a:r>
          </a:p>
        </p:txBody>
      </p:sp>
      <p:sp>
        <p:nvSpPr>
          <p:cNvPr id="2" name="Footer Placeholder 1"/>
          <p:cNvSpPr>
            <a:spLocks noGrp="1"/>
          </p:cNvSpPr>
          <p:nvPr>
            <p:ph type="ftr" sz="quarter" idx="11"/>
          </p:nvPr>
        </p:nvSpPr>
        <p:spPr>
          <a:xfrm>
            <a:off x="448213" y="6437243"/>
            <a:ext cx="3859607" cy="134483"/>
          </a:xfrm>
          <a:prstGeom prst="rect">
            <a:avLst/>
          </a:prstGeom>
        </p:spPr>
        <p:txBody>
          <a:bodyPr/>
          <a:lstStyle>
            <a:lvl1pPr>
              <a:defRPr>
                <a:solidFill>
                  <a:schemeClr val="tx2"/>
                </a:solidFill>
              </a:defRPr>
            </a:lvl1pPr>
          </a:lstStyle>
          <a:p>
            <a:pPr marL="0" marR="0" lvl="0" indent="0" algn="l" defTabSz="914296"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Microsoft Confidential</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 name="Slide Number Placeholder 5"/>
          <p:cNvSpPr>
            <a:spLocks noGrp="1"/>
          </p:cNvSpPr>
          <p:nvPr>
            <p:ph type="sldNum" sz="quarter" idx="12"/>
          </p:nvPr>
        </p:nvSpPr>
        <p:spPr>
          <a:xfrm>
            <a:off x="11367167" y="6437243"/>
            <a:ext cx="555596" cy="134483"/>
          </a:xfrm>
          <a:prstGeom prst="rect">
            <a:avLst/>
          </a:prstGeom>
        </p:spPr>
        <p:txBody>
          <a:bodyPr/>
          <a:lstStyle>
            <a:lvl1pPr>
              <a:defRPr>
                <a:solidFill>
                  <a:schemeClr val="tx2"/>
                </a:solidFill>
              </a:defRPr>
            </a:lvl1pPr>
          </a:lstStyle>
          <a:p>
            <a:pPr marL="0" marR="0" lvl="0" indent="0" algn="l" defTabSz="914296" rtl="0" eaLnBrk="1" fontAlgn="auto" latinLnBrk="0" hangingPunct="1">
              <a:lnSpc>
                <a:spcPct val="100000"/>
              </a:lnSpc>
              <a:spcBef>
                <a:spcPts val="0"/>
              </a:spcBef>
              <a:spcAft>
                <a:spcPts val="0"/>
              </a:spcAft>
              <a:buClrTx/>
              <a:buSzTx/>
              <a:buFontTx/>
              <a:buNone/>
              <a:tabLst/>
              <a:defRPr/>
            </a:pPr>
            <a:fld id="{27258FFF-F925-446B-8502-81C933981705}" type="slidenum">
              <a:rPr kumimoji="0" lang="en-US" altLang="ko-KR" sz="1800" b="0" i="0" u="none" strike="noStrike" kern="1200" cap="none" spc="0" normalizeH="0" baseline="0" noProof="0" smtClean="0">
                <a:ln>
                  <a:noFill/>
                </a:ln>
                <a:solidFill>
                  <a:srgbClr val="505050"/>
                </a:solidFill>
                <a:effectLst/>
                <a:uLnTx/>
                <a:uFillTx/>
                <a:latin typeface="Segoe UI"/>
                <a:ea typeface="+mn-ea"/>
                <a:cs typeface="+mn-cs"/>
              </a:rPr>
              <a:pPr marL="0" marR="0" lvl="0" indent="0" algn="l" defTabSz="914296" rtl="0" eaLnBrk="1" fontAlgn="auto" latinLnBrk="0" hangingPunct="1">
                <a:lnSpc>
                  <a:spcPct val="100000"/>
                </a:lnSpc>
                <a:spcBef>
                  <a:spcPts val="0"/>
                </a:spcBef>
                <a:spcAft>
                  <a:spcPts val="0"/>
                </a:spcAft>
                <a:buClrTx/>
                <a:buSzTx/>
                <a:buFontTx/>
                <a:buNone/>
                <a:tabLst/>
                <a:defRPr/>
              </a:pPr>
              <a:t>‹#›</a:t>
            </a:fld>
            <a:endParaRPr kumimoji="0" lang="ko-KR" altLang="en-US" sz="18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8845831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Slide">
    <p:bg bwMode="auto">
      <p:bgPr>
        <a:solidFill>
          <a:schemeClr val="bg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449322" y="479919"/>
            <a:ext cx="1522404" cy="326167"/>
          </a:xfrm>
          <a:prstGeom prst="rect">
            <a:avLst/>
          </a:prstGeom>
        </p:spPr>
      </p:pic>
      <p:pic>
        <p:nvPicPr>
          <p:cNvPr id="12" name="Picture 11"/>
          <p:cNvPicPr>
            <a:picLocks noChangeAspect="1"/>
          </p:cNvPicPr>
          <p:nvPr userDrawn="1"/>
        </p:nvPicPr>
        <p:blipFill>
          <a:blip r:embed="rId3"/>
          <a:stretch>
            <a:fillRect/>
          </a:stretch>
        </p:blipFill>
        <p:spPr>
          <a:xfrm>
            <a:off x="10129913" y="1725569"/>
            <a:ext cx="1293759" cy="2689656"/>
          </a:xfrm>
          <a:prstGeom prst="rect">
            <a:avLst/>
          </a:prstGeom>
        </p:spPr>
      </p:pic>
      <p:sp>
        <p:nvSpPr>
          <p:cNvPr id="13" name="Text Placeholder 4"/>
          <p:cNvSpPr>
            <a:spLocks noGrp="1"/>
          </p:cNvSpPr>
          <p:nvPr>
            <p:ph type="body" sz="quarter" idx="12" hasCustomPrompt="1"/>
          </p:nvPr>
        </p:nvSpPr>
        <p:spPr bwMode="white">
          <a:xfrm>
            <a:off x="271104" y="3900130"/>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14" name="Title 1"/>
          <p:cNvSpPr>
            <a:spLocks noGrp="1"/>
          </p:cNvSpPr>
          <p:nvPr>
            <p:ph type="title" hasCustomPrompt="1"/>
          </p:nvPr>
        </p:nvSpPr>
        <p:spPr bwMode="white">
          <a:xfrm>
            <a:off x="269303" y="2098699"/>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11" name="Rectangle 10"/>
          <p:cNvSpPr/>
          <p:nvPr userDrawn="1"/>
        </p:nvSpPr>
        <p:spPr bwMode="auto">
          <a:xfrm>
            <a:off x="0" y="5916620"/>
            <a:ext cx="12192000" cy="946143"/>
          </a:xfrm>
          <a:prstGeom prst="rect">
            <a:avLst/>
          </a:prstGeom>
          <a:solidFill>
            <a:srgbClr val="00B29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15" name="Picture 14"/>
          <p:cNvPicPr>
            <a:picLocks noChangeAspect="1"/>
          </p:cNvPicPr>
          <p:nvPr userDrawn="1"/>
        </p:nvPicPr>
        <p:blipFill>
          <a:blip r:embed="rId4"/>
          <a:stretch>
            <a:fillRect/>
          </a:stretch>
        </p:blipFill>
        <p:spPr>
          <a:xfrm>
            <a:off x="203875" y="6197307"/>
            <a:ext cx="4668879" cy="435824"/>
          </a:xfrm>
          <a:prstGeom prst="rect">
            <a:avLst/>
          </a:prstGeom>
        </p:spPr>
      </p:pic>
    </p:spTree>
    <p:extLst>
      <p:ext uri="{BB962C8B-B14F-4D97-AF65-F5344CB8AC3E}">
        <p14:creationId xmlns:p14="http://schemas.microsoft.com/office/powerpoint/2010/main" val="2604757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_Title Slide white">
    <p:bg bwMode="auto">
      <p:bgPr>
        <a:solidFill>
          <a:schemeClr val="tx1"/>
        </a:solidFill>
        <a:effectLst/>
      </p:bgPr>
    </p:bg>
    <p:spTree>
      <p:nvGrpSpPr>
        <p:cNvPr id="1" name=""/>
        <p:cNvGrpSpPr/>
        <p:nvPr/>
      </p:nvGrpSpPr>
      <p:grpSpPr>
        <a:xfrm>
          <a:off x="0" y="0"/>
          <a:ext cx="0" cy="0"/>
          <a:chOff x="0" y="0"/>
          <a:chExt cx="0" cy="0"/>
        </a:xfrm>
      </p:grpSpPr>
      <p:sp>
        <p:nvSpPr>
          <p:cNvPr id="13" name="Text Placeholder 4"/>
          <p:cNvSpPr>
            <a:spLocks noGrp="1"/>
          </p:cNvSpPr>
          <p:nvPr>
            <p:ph type="body" sz="quarter" idx="12" hasCustomPrompt="1"/>
          </p:nvPr>
        </p:nvSpPr>
        <p:spPr bwMode="white">
          <a:xfrm>
            <a:off x="271104" y="3900130"/>
            <a:ext cx="6273418" cy="1794661"/>
          </a:xfrm>
          <a:noFill/>
        </p:spPr>
        <p:txBody>
          <a:bodyPr lIns="146304" tIns="109728" rIns="146304" bIns="109728">
            <a:noAutofit/>
          </a:bodyPr>
          <a:lstStyle>
            <a:lvl1pPr marL="0" indent="0">
              <a:spcBef>
                <a:spcPts val="0"/>
              </a:spcBef>
              <a:buNone/>
              <a:defRPr sz="3529" spc="0" baseline="0">
                <a:gradFill>
                  <a:gsLst>
                    <a:gs pos="0">
                      <a:schemeClr val="bg2"/>
                    </a:gs>
                    <a:gs pos="100000">
                      <a:schemeClr val="bg2"/>
                    </a:gs>
                  </a:gsLst>
                  <a:lin ang="5400000" scaled="0"/>
                </a:gradFill>
                <a:latin typeface="+mj-lt"/>
              </a:defRPr>
            </a:lvl1pPr>
          </a:lstStyle>
          <a:p>
            <a:pPr lvl="0"/>
            <a:r>
              <a:rPr lang="en-US" dirty="0"/>
              <a:t>Speaker Name</a:t>
            </a:r>
          </a:p>
        </p:txBody>
      </p:sp>
      <p:sp>
        <p:nvSpPr>
          <p:cNvPr id="14" name="Title 1"/>
          <p:cNvSpPr>
            <a:spLocks noGrp="1"/>
          </p:cNvSpPr>
          <p:nvPr>
            <p:ph type="title" hasCustomPrompt="1"/>
          </p:nvPr>
        </p:nvSpPr>
        <p:spPr bwMode="white">
          <a:xfrm>
            <a:off x="269303" y="2098699"/>
            <a:ext cx="9860610" cy="1801436"/>
          </a:xfrm>
          <a:noFill/>
        </p:spPr>
        <p:txBody>
          <a:bodyPr lIns="146304" tIns="91440" rIns="146304" bIns="91440" anchor="t" anchorCtr="0"/>
          <a:lstStyle>
            <a:lvl1pPr>
              <a:defRPr sz="5882" spc="-98" baseline="0">
                <a:gradFill>
                  <a:gsLst>
                    <a:gs pos="3333">
                      <a:schemeClr val="bg2"/>
                    </a:gs>
                    <a:gs pos="39000">
                      <a:schemeClr val="bg2"/>
                    </a:gs>
                  </a:gsLst>
                  <a:lin ang="5400000" scaled="0"/>
                </a:gradFill>
              </a:defRPr>
            </a:lvl1pPr>
          </a:lstStyle>
          <a:p>
            <a:r>
              <a:rPr lang="en-US" dirty="0"/>
              <a:t>Presentation title</a:t>
            </a:r>
          </a:p>
        </p:txBody>
      </p:sp>
      <p:sp>
        <p:nvSpPr>
          <p:cNvPr id="11" name="Rectangle 10"/>
          <p:cNvSpPr/>
          <p:nvPr userDrawn="1"/>
        </p:nvSpPr>
        <p:spPr bwMode="auto">
          <a:xfrm>
            <a:off x="0" y="5916620"/>
            <a:ext cx="12192000" cy="946143"/>
          </a:xfrm>
          <a:prstGeom prst="rect">
            <a:avLst/>
          </a:prstGeom>
          <a:solidFill>
            <a:srgbClr val="00B29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15" name="Picture 14"/>
          <p:cNvPicPr>
            <a:picLocks noChangeAspect="1"/>
          </p:cNvPicPr>
          <p:nvPr userDrawn="1"/>
        </p:nvPicPr>
        <p:blipFill>
          <a:blip r:embed="rId2"/>
          <a:stretch>
            <a:fillRect/>
          </a:stretch>
        </p:blipFill>
        <p:spPr>
          <a:xfrm>
            <a:off x="203875" y="6197307"/>
            <a:ext cx="4668879" cy="435824"/>
          </a:xfrm>
          <a:prstGeom prst="rect">
            <a:avLst/>
          </a:prstGeom>
        </p:spPr>
      </p:pic>
      <p:pic>
        <p:nvPicPr>
          <p:cNvPr id="4" name="Picture 3"/>
          <p:cNvPicPr>
            <a:picLocks noChangeAspect="1"/>
          </p:cNvPicPr>
          <p:nvPr userDrawn="1"/>
        </p:nvPicPr>
        <p:blipFill>
          <a:blip r:embed="rId3"/>
          <a:stretch>
            <a:fillRect/>
          </a:stretch>
        </p:blipFill>
        <p:spPr>
          <a:xfrm>
            <a:off x="449322" y="479919"/>
            <a:ext cx="1523922" cy="327429"/>
          </a:xfrm>
          <a:prstGeom prst="rect">
            <a:avLst/>
          </a:prstGeom>
        </p:spPr>
      </p:pic>
      <p:grpSp>
        <p:nvGrpSpPr>
          <p:cNvPr id="10" name="Group 9"/>
          <p:cNvGrpSpPr/>
          <p:nvPr userDrawn="1"/>
        </p:nvGrpSpPr>
        <p:grpSpPr>
          <a:xfrm>
            <a:off x="10056835" y="1725570"/>
            <a:ext cx="1531261" cy="2740709"/>
            <a:chOff x="10258495" y="1759921"/>
            <a:chExt cx="1561966" cy="2795269"/>
          </a:xfrm>
        </p:grpSpPr>
        <p:sp>
          <p:nvSpPr>
            <p:cNvPr id="16" name="TextBox 15"/>
            <p:cNvSpPr txBox="1"/>
            <p:nvPr userDrawn="1"/>
          </p:nvSpPr>
          <p:spPr>
            <a:xfrm>
              <a:off x="10312997" y="1773319"/>
              <a:ext cx="1507464" cy="1514261"/>
            </a:xfrm>
            <a:prstGeom prst="rect">
              <a:avLst/>
            </a:prstGeom>
            <a:noFill/>
          </p:spPr>
          <p:txBody>
            <a:bodyPr wrap="none" lIns="182880" tIns="146304" rIns="182880" bIns="146304"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8627" b="0" i="0" u="none" strike="noStrike" kern="1200" cap="none" spc="-98" normalizeH="0" baseline="0" noProof="0" dirty="0">
                  <a:ln w="3175">
                    <a:noFill/>
                  </a:ln>
                  <a:solidFill>
                    <a:srgbClr val="002050"/>
                  </a:solidFill>
                  <a:effectLst/>
                  <a:uLnTx/>
                  <a:uFillTx/>
                  <a:latin typeface="Segoe UI Light"/>
                  <a:ea typeface="+mn-ea"/>
                  <a:cs typeface="Segoe UI" pitchFamily="34" charset="0"/>
                </a:rPr>
                <a:t>20</a:t>
              </a:r>
            </a:p>
          </p:txBody>
        </p:sp>
        <p:sp>
          <p:nvSpPr>
            <p:cNvPr id="17" name="TextBox 16"/>
            <p:cNvSpPr txBox="1"/>
            <p:nvPr userDrawn="1"/>
          </p:nvSpPr>
          <p:spPr>
            <a:xfrm>
              <a:off x="10258495" y="3040929"/>
              <a:ext cx="1561966" cy="1514261"/>
            </a:xfrm>
            <a:prstGeom prst="rect">
              <a:avLst/>
            </a:prstGeom>
            <a:noFill/>
          </p:spPr>
          <p:txBody>
            <a:bodyPr wrap="none" lIns="182880" tIns="146304" rIns="182880" bIns="146304"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8627" b="0" i="0" u="none" strike="noStrike" kern="1200" cap="none" spc="-98" normalizeH="0" baseline="0" noProof="0" dirty="0">
                  <a:ln w="3175">
                    <a:noFill/>
                  </a:ln>
                  <a:solidFill>
                    <a:srgbClr val="002050"/>
                  </a:solidFill>
                  <a:effectLst/>
                  <a:uLnTx/>
                  <a:uFillTx/>
                  <a:latin typeface="Segoe UI"/>
                  <a:ea typeface="+mn-ea"/>
                  <a:cs typeface="Segoe UI" pitchFamily="34" charset="0"/>
                </a:rPr>
                <a:t>14</a:t>
              </a:r>
            </a:p>
          </p:txBody>
        </p:sp>
        <p:cxnSp>
          <p:nvCxnSpPr>
            <p:cNvPr id="18" name="Straight Connector 17"/>
            <p:cNvCxnSpPr/>
            <p:nvPr userDrawn="1"/>
          </p:nvCxnSpPr>
          <p:spPr>
            <a:xfrm>
              <a:off x="10333038" y="1759921"/>
              <a:ext cx="0" cy="2743200"/>
            </a:xfrm>
            <a:prstGeom prst="line">
              <a:avLst/>
            </a:prstGeom>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10333039" y="3116262"/>
              <a:ext cx="1487422" cy="0"/>
            </a:xfrm>
            <a:prstGeom prst="line">
              <a:avLst/>
            </a:prstGeom>
            <a:ln w="317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9003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40775" y="2084173"/>
            <a:ext cx="9859116" cy="1793104"/>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40774" y="3878153"/>
            <a:ext cx="9860674" cy="1793881"/>
          </a:xfrm>
          <a:noFill/>
        </p:spPr>
        <p:txBody>
          <a:bodyPr lIns="182880" tIns="146304" rIns="182880" bIns="146304">
            <a:noAutofit/>
          </a:bodyPr>
          <a:lstStyle>
            <a:lvl1pPr marL="0" indent="0">
              <a:spcBef>
                <a:spcPts val="0"/>
              </a:spcBef>
              <a:buNone/>
              <a:defRPr sz="3529"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alphaModFix amt="25000"/>
          </a:blip>
          <a:stretch>
            <a:fillRect/>
          </a:stretch>
        </p:blipFill>
        <p:spPr>
          <a:xfrm>
            <a:off x="10129913" y="1725569"/>
            <a:ext cx="1293759" cy="2689656"/>
          </a:xfrm>
          <a:prstGeom prst="rect">
            <a:avLst/>
          </a:prstGeom>
        </p:spPr>
      </p:pic>
    </p:spTree>
    <p:extLst>
      <p:ext uri="{BB962C8B-B14F-4D97-AF65-F5344CB8AC3E}">
        <p14:creationId xmlns:p14="http://schemas.microsoft.com/office/powerpoint/2010/main" val="797078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1_Demo slide white">
    <p:bg>
      <p:bgPr>
        <a:solidFill>
          <a:schemeClr val="tx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40775" y="2084173"/>
            <a:ext cx="9859116" cy="1793104"/>
          </a:xfrm>
          <a:noFill/>
        </p:spPr>
        <p:txBody>
          <a:bodyPr tIns="91440" bIns="91440" anchor="t" anchorCtr="0"/>
          <a:lstStyle>
            <a:lvl1pPr>
              <a:defRPr sz="7058" spc="-98" baseline="0">
                <a:gradFill>
                  <a:gsLst>
                    <a:gs pos="75912">
                      <a:schemeClr val="bg2"/>
                    </a:gs>
                    <a:gs pos="34307">
                      <a:schemeClr val="bg2"/>
                    </a:gs>
                    <a:gs pos="43000">
                      <a:schemeClr val="bg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40774" y="3878153"/>
            <a:ext cx="9860674" cy="1793881"/>
          </a:xfrm>
          <a:noFill/>
        </p:spPr>
        <p:txBody>
          <a:bodyPr lIns="182880" tIns="146304" rIns="182880" bIns="146304">
            <a:noAutofit/>
          </a:bodyPr>
          <a:lstStyle>
            <a:lvl1pPr marL="0" indent="0">
              <a:spcBef>
                <a:spcPts val="0"/>
              </a:spcBef>
              <a:buNone/>
              <a:defRPr sz="3529" spc="0" baseline="0">
                <a:gradFill>
                  <a:gsLst>
                    <a:gs pos="75912">
                      <a:schemeClr val="bg2"/>
                    </a:gs>
                    <a:gs pos="34307">
                      <a:schemeClr val="bg2"/>
                    </a:gs>
                    <a:gs pos="43000">
                      <a:schemeClr val="bg2"/>
                    </a:gs>
                  </a:gsLst>
                  <a:lin ang="5400000" scaled="0"/>
                </a:gradFill>
                <a:latin typeface="+mj-lt"/>
              </a:defRPr>
            </a:lvl1pPr>
          </a:lstStyle>
          <a:p>
            <a:pPr lvl="0"/>
            <a:r>
              <a:rPr lang="en-US" dirty="0"/>
              <a:t>Speaker Name</a:t>
            </a:r>
          </a:p>
        </p:txBody>
      </p:sp>
      <p:sp>
        <p:nvSpPr>
          <p:cNvPr id="8" name="Rectangle 7"/>
          <p:cNvSpPr/>
          <p:nvPr userDrawn="1"/>
        </p:nvSpPr>
        <p:spPr bwMode="invGray">
          <a:xfrm>
            <a:off x="8228257" y="6629345"/>
            <a:ext cx="3963119" cy="22865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9" name="Group 8"/>
          <p:cNvGrpSpPr/>
          <p:nvPr userDrawn="1"/>
        </p:nvGrpSpPr>
        <p:grpSpPr>
          <a:xfrm>
            <a:off x="10056835" y="1725570"/>
            <a:ext cx="1531261" cy="2740709"/>
            <a:chOff x="10258495" y="1759921"/>
            <a:chExt cx="1561966" cy="2795269"/>
          </a:xfrm>
        </p:grpSpPr>
        <p:sp>
          <p:nvSpPr>
            <p:cNvPr id="10" name="TextBox 9"/>
            <p:cNvSpPr txBox="1"/>
            <p:nvPr userDrawn="1"/>
          </p:nvSpPr>
          <p:spPr>
            <a:xfrm>
              <a:off x="10312997" y="1773319"/>
              <a:ext cx="1507464" cy="1514261"/>
            </a:xfrm>
            <a:prstGeom prst="rect">
              <a:avLst/>
            </a:prstGeom>
            <a:noFill/>
          </p:spPr>
          <p:txBody>
            <a:bodyPr wrap="none" lIns="182880" tIns="146304" rIns="182880" bIns="146304"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8627" b="0" i="0" u="none" strike="noStrike" kern="1200" cap="none" spc="-98" normalizeH="0" baseline="0" noProof="0" dirty="0">
                  <a:ln w="3175">
                    <a:noFill/>
                  </a:ln>
                  <a:solidFill>
                    <a:srgbClr val="002050"/>
                  </a:solidFill>
                  <a:effectLst/>
                  <a:uLnTx/>
                  <a:uFillTx/>
                  <a:latin typeface="Segoe UI Light"/>
                  <a:ea typeface="+mn-ea"/>
                  <a:cs typeface="Segoe UI" pitchFamily="34" charset="0"/>
                </a:rPr>
                <a:t>20</a:t>
              </a:r>
            </a:p>
          </p:txBody>
        </p:sp>
        <p:sp>
          <p:nvSpPr>
            <p:cNvPr id="11" name="TextBox 10"/>
            <p:cNvSpPr txBox="1"/>
            <p:nvPr userDrawn="1"/>
          </p:nvSpPr>
          <p:spPr>
            <a:xfrm>
              <a:off x="10258495" y="3040929"/>
              <a:ext cx="1561966" cy="1514261"/>
            </a:xfrm>
            <a:prstGeom prst="rect">
              <a:avLst/>
            </a:prstGeom>
            <a:noFill/>
          </p:spPr>
          <p:txBody>
            <a:bodyPr wrap="none" lIns="182880" tIns="146304" rIns="182880" bIns="146304"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8627" b="0" i="0" u="none" strike="noStrike" kern="1200" cap="none" spc="-98" normalizeH="0" baseline="0" noProof="0" dirty="0">
                  <a:ln w="3175">
                    <a:noFill/>
                  </a:ln>
                  <a:solidFill>
                    <a:srgbClr val="002050"/>
                  </a:solidFill>
                  <a:effectLst/>
                  <a:uLnTx/>
                  <a:uFillTx/>
                  <a:latin typeface="Segoe UI"/>
                  <a:ea typeface="+mn-ea"/>
                  <a:cs typeface="Segoe UI" pitchFamily="34" charset="0"/>
                </a:rPr>
                <a:t>14</a:t>
              </a:r>
            </a:p>
          </p:txBody>
        </p:sp>
        <p:cxnSp>
          <p:nvCxnSpPr>
            <p:cNvPr id="12" name="Straight Connector 11"/>
            <p:cNvCxnSpPr/>
            <p:nvPr userDrawn="1"/>
          </p:nvCxnSpPr>
          <p:spPr>
            <a:xfrm>
              <a:off x="10333038" y="1759921"/>
              <a:ext cx="0" cy="2743200"/>
            </a:xfrm>
            <a:prstGeom prst="line">
              <a:avLst/>
            </a:prstGeom>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10333039" y="3116262"/>
              <a:ext cx="1487422" cy="0"/>
            </a:xfrm>
            <a:prstGeom prst="line">
              <a:avLst/>
            </a:prstGeom>
            <a:ln w="317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38342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2093274"/>
            <a:ext cx="9859116" cy="2697988"/>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Video title</a:t>
            </a:r>
          </a:p>
        </p:txBody>
      </p:sp>
      <p:pic>
        <p:nvPicPr>
          <p:cNvPr id="5" name="Picture 4"/>
          <p:cNvPicPr>
            <a:picLocks noChangeAspect="1"/>
          </p:cNvPicPr>
          <p:nvPr userDrawn="1"/>
        </p:nvPicPr>
        <p:blipFill>
          <a:blip r:embed="rId2">
            <a:alphaModFix amt="25000"/>
          </a:blip>
          <a:stretch>
            <a:fillRect/>
          </a:stretch>
        </p:blipFill>
        <p:spPr>
          <a:xfrm>
            <a:off x="10129913" y="1725569"/>
            <a:ext cx="1293759" cy="2689656"/>
          </a:xfrm>
          <a:prstGeom prst="rect">
            <a:avLst/>
          </a:prstGeom>
        </p:spPr>
      </p:pic>
    </p:spTree>
    <p:extLst>
      <p:ext uri="{BB962C8B-B14F-4D97-AF65-F5344CB8AC3E}">
        <p14:creationId xmlns:p14="http://schemas.microsoft.com/office/powerpoint/2010/main" val="2839142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86382"/>
            <a:ext cx="11151917" cy="914360"/>
          </a:xfrm>
        </p:spPr>
        <p:txBody>
          <a:bodyPr>
            <a:spAutoFit/>
          </a:bodyPr>
          <a:lstStyle/>
          <a:p>
            <a:r>
              <a:rPr lang="en-US" dirty="0"/>
              <a:t>Click to edit master title style</a:t>
            </a:r>
          </a:p>
        </p:txBody>
      </p:sp>
      <p:sp>
        <p:nvSpPr>
          <p:cNvPr id="5" name="Text Placeholder 4"/>
          <p:cNvSpPr>
            <a:spLocks noGrp="1"/>
          </p:cNvSpPr>
          <p:nvPr>
            <p:ph type="body" sz="quarter" idx="10" hasCustomPrompt="1"/>
          </p:nvPr>
        </p:nvSpPr>
        <p:spPr>
          <a:xfrm>
            <a:off x="269239" y="1187621"/>
            <a:ext cx="11151917" cy="2193862"/>
          </a:xfrm>
          <a:prstGeom prst="rect">
            <a:avLst/>
          </a:prstGeom>
        </p:spPr>
        <p:txBody>
          <a:bodyPr>
            <a:spAutoFit/>
          </a:bodyPr>
          <a:lstStyle>
            <a:lvl1pPr marL="284164" indent="-284164">
              <a:buFont typeface="Wingdings" pitchFamily="2" charset="2"/>
              <a:buChar char=""/>
              <a:defRPr sz="3921"/>
            </a:lvl1pPr>
            <a:lvl2pPr marL="517527" indent="-233364">
              <a:buFont typeface="Wingdings" pitchFamily="2" charset="2"/>
              <a:buChar char=""/>
              <a:defRPr sz="2353" spc="-50" baseline="0">
                <a:latin typeface="+mn-lt"/>
              </a:defRPr>
            </a:lvl2pPr>
            <a:lvl3pPr marL="741366" indent="-223839">
              <a:buFont typeface="Wingdings" pitchFamily="2" charset="2"/>
              <a:buChar char=""/>
              <a:tabLst/>
              <a:defRPr sz="1961" spc="-50" baseline="0">
                <a:latin typeface="+mn-lt"/>
              </a:defRPr>
            </a:lvl3pPr>
            <a:lvl4pPr marL="914403" indent="-173039">
              <a:buFont typeface="Wingdings" pitchFamily="2" charset="2"/>
              <a:buChar char=""/>
              <a:defRPr sz="1765" spc="-50" baseline="0">
                <a:latin typeface="+mn-lt"/>
              </a:defRPr>
            </a:lvl4pPr>
            <a:lvl5pPr marL="1087443" indent="-173039">
              <a:buFont typeface="Wingdings" pitchFamily="2" charset="2"/>
              <a:buChar char=""/>
              <a:tabLst/>
              <a:defRPr sz="1765" spc="-50" baseline="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67343060"/>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1_Video slide white">
    <p:bg>
      <p:bgPr>
        <a:solidFill>
          <a:schemeClr val="tx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2093274"/>
            <a:ext cx="9859116" cy="2697988"/>
          </a:xfrm>
          <a:noFill/>
        </p:spPr>
        <p:txBody>
          <a:bodyPr tIns="91440" bIns="91440" anchor="t" anchorCtr="0"/>
          <a:lstStyle>
            <a:lvl1pPr>
              <a:defRPr sz="7058" spc="-98" baseline="0">
                <a:gradFill>
                  <a:gsLst>
                    <a:gs pos="75912">
                      <a:schemeClr val="bg2"/>
                    </a:gs>
                    <a:gs pos="34307">
                      <a:schemeClr val="bg2"/>
                    </a:gs>
                    <a:gs pos="43000">
                      <a:schemeClr val="bg2"/>
                    </a:gs>
                  </a:gsLst>
                  <a:lin ang="5400000" scaled="0"/>
                </a:gradFill>
              </a:defRPr>
            </a:lvl1pPr>
          </a:lstStyle>
          <a:p>
            <a:r>
              <a:rPr lang="en-US" dirty="0"/>
              <a:t>Video title</a:t>
            </a:r>
          </a:p>
        </p:txBody>
      </p:sp>
      <p:sp>
        <p:nvSpPr>
          <p:cNvPr id="7" name="Rectangle 6"/>
          <p:cNvSpPr/>
          <p:nvPr userDrawn="1"/>
        </p:nvSpPr>
        <p:spPr bwMode="invGray">
          <a:xfrm>
            <a:off x="8228257" y="6629345"/>
            <a:ext cx="3963119" cy="22865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8" name="Group 7"/>
          <p:cNvGrpSpPr/>
          <p:nvPr userDrawn="1"/>
        </p:nvGrpSpPr>
        <p:grpSpPr>
          <a:xfrm>
            <a:off x="10056835" y="1725570"/>
            <a:ext cx="1531261" cy="2740709"/>
            <a:chOff x="10258495" y="1759921"/>
            <a:chExt cx="1561966" cy="2795269"/>
          </a:xfrm>
        </p:grpSpPr>
        <p:sp>
          <p:nvSpPr>
            <p:cNvPr id="9" name="TextBox 8"/>
            <p:cNvSpPr txBox="1"/>
            <p:nvPr userDrawn="1"/>
          </p:nvSpPr>
          <p:spPr>
            <a:xfrm>
              <a:off x="10312997" y="1773319"/>
              <a:ext cx="1507464" cy="1514261"/>
            </a:xfrm>
            <a:prstGeom prst="rect">
              <a:avLst/>
            </a:prstGeom>
            <a:noFill/>
          </p:spPr>
          <p:txBody>
            <a:bodyPr wrap="none" lIns="182880" tIns="146304" rIns="182880" bIns="146304"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8627" b="0" i="0" u="none" strike="noStrike" kern="1200" cap="none" spc="-98" normalizeH="0" baseline="0" noProof="0" dirty="0">
                  <a:ln w="3175">
                    <a:noFill/>
                  </a:ln>
                  <a:solidFill>
                    <a:srgbClr val="002050"/>
                  </a:solidFill>
                  <a:effectLst/>
                  <a:uLnTx/>
                  <a:uFillTx/>
                  <a:latin typeface="Segoe UI Light"/>
                  <a:ea typeface="+mn-ea"/>
                  <a:cs typeface="Segoe UI" pitchFamily="34" charset="0"/>
                </a:rPr>
                <a:t>20</a:t>
              </a:r>
            </a:p>
          </p:txBody>
        </p:sp>
        <p:sp>
          <p:nvSpPr>
            <p:cNvPr id="10" name="TextBox 9"/>
            <p:cNvSpPr txBox="1"/>
            <p:nvPr userDrawn="1"/>
          </p:nvSpPr>
          <p:spPr>
            <a:xfrm>
              <a:off x="10258495" y="3040929"/>
              <a:ext cx="1561966" cy="1514261"/>
            </a:xfrm>
            <a:prstGeom prst="rect">
              <a:avLst/>
            </a:prstGeom>
            <a:noFill/>
          </p:spPr>
          <p:txBody>
            <a:bodyPr wrap="none" lIns="182880" tIns="146304" rIns="182880" bIns="146304"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8627" b="0" i="0" u="none" strike="noStrike" kern="1200" cap="none" spc="-98" normalizeH="0" baseline="0" noProof="0" dirty="0">
                  <a:ln w="3175">
                    <a:noFill/>
                  </a:ln>
                  <a:solidFill>
                    <a:srgbClr val="002050"/>
                  </a:solidFill>
                  <a:effectLst/>
                  <a:uLnTx/>
                  <a:uFillTx/>
                  <a:latin typeface="Segoe UI"/>
                  <a:ea typeface="+mn-ea"/>
                  <a:cs typeface="Segoe UI" pitchFamily="34" charset="0"/>
                </a:rPr>
                <a:t>14</a:t>
              </a:r>
            </a:p>
          </p:txBody>
        </p:sp>
        <p:cxnSp>
          <p:nvCxnSpPr>
            <p:cNvPr id="11" name="Straight Connector 10"/>
            <p:cNvCxnSpPr/>
            <p:nvPr userDrawn="1"/>
          </p:nvCxnSpPr>
          <p:spPr>
            <a:xfrm>
              <a:off x="10333038" y="1759921"/>
              <a:ext cx="0" cy="2743200"/>
            </a:xfrm>
            <a:prstGeom prst="line">
              <a:avLst/>
            </a:prstGeom>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10333039" y="3116262"/>
              <a:ext cx="1487422" cy="0"/>
            </a:xfrm>
            <a:prstGeom prst="line">
              <a:avLst/>
            </a:prstGeom>
            <a:ln w="317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63464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8964248"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pic>
        <p:nvPicPr>
          <p:cNvPr id="4" name="Picture 3"/>
          <p:cNvPicPr>
            <a:picLocks noChangeAspect="1"/>
          </p:cNvPicPr>
          <p:nvPr userDrawn="1"/>
        </p:nvPicPr>
        <p:blipFill>
          <a:blip r:embed="rId2">
            <a:duotone>
              <a:prstClr val="black"/>
              <a:schemeClr val="bg2">
                <a:tint val="45000"/>
                <a:satMod val="400000"/>
              </a:schemeClr>
            </a:duotone>
          </a:blip>
          <a:stretch>
            <a:fillRect/>
          </a:stretch>
        </p:blipFill>
        <p:spPr>
          <a:xfrm>
            <a:off x="10129913" y="1725569"/>
            <a:ext cx="1293759" cy="2689656"/>
          </a:xfrm>
          <a:prstGeom prst="rect">
            <a:avLst/>
          </a:prstGeom>
        </p:spPr>
      </p:pic>
    </p:spTree>
    <p:extLst>
      <p:ext uri="{BB962C8B-B14F-4D97-AF65-F5344CB8AC3E}">
        <p14:creationId xmlns:p14="http://schemas.microsoft.com/office/powerpoint/2010/main" val="1926933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1_Section Title whit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8964248" cy="1796217"/>
          </a:xfrm>
          <a:noFill/>
        </p:spPr>
        <p:txBody>
          <a:bodyPr tIns="91440" bIns="91440" anchor="t" anchorCtr="0"/>
          <a:lstStyle>
            <a:lvl1pPr>
              <a:defRPr sz="8627" spc="-98" baseline="0">
                <a:gradFill>
                  <a:gsLst>
                    <a:gs pos="75912">
                      <a:schemeClr val="bg2"/>
                    </a:gs>
                    <a:gs pos="34307">
                      <a:schemeClr val="bg2"/>
                    </a:gs>
                  </a:gsLst>
                  <a:lin ang="5400000" scaled="0"/>
                </a:gradFill>
              </a:defRPr>
            </a:lvl1pPr>
          </a:lstStyle>
          <a:p>
            <a:r>
              <a:rPr lang="en-US" dirty="0"/>
              <a:t>Section title</a:t>
            </a:r>
          </a:p>
        </p:txBody>
      </p:sp>
      <p:sp>
        <p:nvSpPr>
          <p:cNvPr id="6" name="Rectangle 5"/>
          <p:cNvSpPr/>
          <p:nvPr userDrawn="1"/>
        </p:nvSpPr>
        <p:spPr bwMode="invGray">
          <a:xfrm>
            <a:off x="8228257" y="6629345"/>
            <a:ext cx="3963119" cy="22865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7" name="Group 6"/>
          <p:cNvGrpSpPr/>
          <p:nvPr userDrawn="1"/>
        </p:nvGrpSpPr>
        <p:grpSpPr>
          <a:xfrm>
            <a:off x="10056835" y="1725570"/>
            <a:ext cx="1531261" cy="2740709"/>
            <a:chOff x="10258495" y="1759921"/>
            <a:chExt cx="1561966" cy="2795269"/>
          </a:xfrm>
        </p:grpSpPr>
        <p:sp>
          <p:nvSpPr>
            <p:cNvPr id="8" name="TextBox 7"/>
            <p:cNvSpPr txBox="1"/>
            <p:nvPr userDrawn="1"/>
          </p:nvSpPr>
          <p:spPr>
            <a:xfrm>
              <a:off x="10312997" y="1773319"/>
              <a:ext cx="1507464" cy="1514261"/>
            </a:xfrm>
            <a:prstGeom prst="rect">
              <a:avLst/>
            </a:prstGeom>
            <a:noFill/>
          </p:spPr>
          <p:txBody>
            <a:bodyPr wrap="none" lIns="182880" tIns="146304" rIns="182880" bIns="146304"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8627" b="0" i="0" u="none" strike="noStrike" kern="1200" cap="none" spc="-98" normalizeH="0" baseline="0" noProof="0" dirty="0">
                  <a:ln w="3175">
                    <a:noFill/>
                  </a:ln>
                  <a:solidFill>
                    <a:srgbClr val="002050"/>
                  </a:solidFill>
                  <a:effectLst/>
                  <a:uLnTx/>
                  <a:uFillTx/>
                  <a:latin typeface="Segoe UI Light"/>
                  <a:ea typeface="+mn-ea"/>
                  <a:cs typeface="Segoe UI" pitchFamily="34" charset="0"/>
                </a:rPr>
                <a:t>20</a:t>
              </a:r>
            </a:p>
          </p:txBody>
        </p:sp>
        <p:sp>
          <p:nvSpPr>
            <p:cNvPr id="9" name="TextBox 8"/>
            <p:cNvSpPr txBox="1"/>
            <p:nvPr userDrawn="1"/>
          </p:nvSpPr>
          <p:spPr>
            <a:xfrm>
              <a:off x="10258495" y="3040929"/>
              <a:ext cx="1561966" cy="1514261"/>
            </a:xfrm>
            <a:prstGeom prst="rect">
              <a:avLst/>
            </a:prstGeom>
            <a:noFill/>
          </p:spPr>
          <p:txBody>
            <a:bodyPr wrap="none" lIns="182880" tIns="146304" rIns="182880" bIns="146304"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8627" b="0" i="0" u="none" strike="noStrike" kern="1200" cap="none" spc="-98" normalizeH="0" baseline="0" noProof="0" dirty="0">
                  <a:ln w="3175">
                    <a:noFill/>
                  </a:ln>
                  <a:solidFill>
                    <a:srgbClr val="002050"/>
                  </a:solidFill>
                  <a:effectLst/>
                  <a:uLnTx/>
                  <a:uFillTx/>
                  <a:latin typeface="Segoe UI"/>
                  <a:ea typeface="+mn-ea"/>
                  <a:cs typeface="Segoe UI" pitchFamily="34" charset="0"/>
                </a:rPr>
                <a:t>14</a:t>
              </a:r>
            </a:p>
          </p:txBody>
        </p:sp>
        <p:cxnSp>
          <p:nvCxnSpPr>
            <p:cNvPr id="10" name="Straight Connector 9"/>
            <p:cNvCxnSpPr/>
            <p:nvPr userDrawn="1"/>
          </p:nvCxnSpPr>
          <p:spPr>
            <a:xfrm>
              <a:off x="10333038" y="1759921"/>
              <a:ext cx="0" cy="2743200"/>
            </a:xfrm>
            <a:prstGeom prst="line">
              <a:avLst/>
            </a:prstGeom>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10333039" y="3116262"/>
              <a:ext cx="1487422" cy="0"/>
            </a:xfrm>
            <a:prstGeom prst="line">
              <a:avLst/>
            </a:prstGeom>
            <a:ln w="317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46821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4083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bg2"/>
                    </a:gs>
                    <a:gs pos="100000">
                      <a:schemeClr val="bg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1250">
                      <a:schemeClr val="bg1"/>
                    </a:gs>
                    <a:gs pos="100000">
                      <a:schemeClr val="bg1"/>
                    </a:gs>
                  </a:gsLst>
                  <a:lin ang="5400000" scaled="0"/>
                </a:gradFill>
              </a:defRPr>
            </a:lvl1pPr>
            <a:lvl2pPr marL="28012" indent="0">
              <a:buNone/>
              <a:defRPr sz="1961">
                <a:gradFill>
                  <a:gsLst>
                    <a:gs pos="1250">
                      <a:schemeClr val="bg1"/>
                    </a:gs>
                    <a:gs pos="100000">
                      <a:schemeClr val="bg1"/>
                    </a:gs>
                  </a:gsLst>
                  <a:lin ang="5400000" scaled="0"/>
                </a:gradFill>
              </a:defRPr>
            </a:lvl2pPr>
            <a:lvl3pPr marL="219428" indent="0">
              <a:buNone/>
              <a:defRPr sz="1961">
                <a:gradFill>
                  <a:gsLst>
                    <a:gs pos="1250">
                      <a:schemeClr val="bg1"/>
                    </a:gs>
                    <a:gs pos="100000">
                      <a:schemeClr val="bg1"/>
                    </a:gs>
                  </a:gsLst>
                  <a:lin ang="5400000" scaled="0"/>
                </a:gradFill>
              </a:defRPr>
            </a:lvl3pPr>
            <a:lvl4pPr marL="466868" indent="0">
              <a:buNone/>
              <a:defRPr sz="1765">
                <a:gradFill>
                  <a:gsLst>
                    <a:gs pos="1250">
                      <a:schemeClr val="bg1"/>
                    </a:gs>
                    <a:gs pos="100000">
                      <a:schemeClr val="bg1"/>
                    </a:gs>
                  </a:gsLst>
                  <a:lin ang="5400000" scaled="0"/>
                </a:gradFill>
              </a:defRPr>
            </a:lvl4pPr>
            <a:lvl5pPr marL="725201" indent="0">
              <a:buNone/>
              <a:defRPr sz="1765">
                <a:gradFill>
                  <a:gsLst>
                    <a:gs pos="1250">
                      <a:schemeClr val="bg1"/>
                    </a:gs>
                    <a:gs pos="100000">
                      <a:schemeClr val="bg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Rectangle 4"/>
          <p:cNvSpPr/>
          <p:nvPr userDrawn="1"/>
        </p:nvSpPr>
        <p:spPr bwMode="invGray">
          <a:xfrm>
            <a:off x="8228257" y="6629345"/>
            <a:ext cx="3963119" cy="22865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834244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20405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whit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000">
                      <a:schemeClr val="bg2"/>
                    </a:gs>
                    <a:gs pos="100000">
                      <a:schemeClr val="bg2"/>
                    </a:gs>
                  </a:gsLst>
                  <a:lin ang="5400000" scaled="0"/>
                </a:gradFill>
              </a:defRPr>
            </a:lvl1pPr>
          </a:lstStyle>
          <a:p>
            <a:r>
              <a:rPr lang="en-US" dirty="0"/>
              <a:t>Click to edit Master title style</a:t>
            </a:r>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gradFill>
                  <a:gsLst>
                    <a:gs pos="1250">
                      <a:schemeClr val="bg1"/>
                    </a:gs>
                    <a:gs pos="100000">
                      <a:schemeClr val="bg1"/>
                    </a:gs>
                  </a:gsLst>
                  <a:lin ang="5400000" scaled="0"/>
                </a:gradFill>
              </a:defRPr>
            </a:lvl2pPr>
            <a:lvl3pPr marL="219428" indent="0">
              <a:buNone/>
              <a:defRPr sz="1961">
                <a:gradFill>
                  <a:gsLst>
                    <a:gs pos="1250">
                      <a:schemeClr val="bg1"/>
                    </a:gs>
                    <a:gs pos="100000">
                      <a:schemeClr val="bg1"/>
                    </a:gs>
                  </a:gsLst>
                  <a:lin ang="5400000" scaled="0"/>
                </a:gradFill>
              </a:defRPr>
            </a:lvl3pPr>
            <a:lvl4pPr marL="466868" indent="0">
              <a:buNone/>
              <a:defRPr sz="1765">
                <a:gradFill>
                  <a:gsLst>
                    <a:gs pos="1250">
                      <a:schemeClr val="bg1"/>
                    </a:gs>
                    <a:gs pos="100000">
                      <a:schemeClr val="bg1"/>
                    </a:gs>
                  </a:gsLst>
                  <a:lin ang="5400000" scaled="0"/>
                </a:gradFill>
              </a:defRPr>
            </a:lvl4pPr>
            <a:lvl5pPr marL="725201" indent="0">
              <a:buNone/>
              <a:defRPr sz="1765">
                <a:gradFill>
                  <a:gsLst>
                    <a:gs pos="1250">
                      <a:schemeClr val="bg1"/>
                    </a:gs>
                    <a:gs pos="100000">
                      <a:schemeClr val="bg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Rectangle 4"/>
          <p:cNvSpPr/>
          <p:nvPr userDrawn="1"/>
        </p:nvSpPr>
        <p:spPr bwMode="invGray">
          <a:xfrm>
            <a:off x="8228257" y="6629345"/>
            <a:ext cx="3963119" cy="22865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762302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29801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1_Title and Content White">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bg2"/>
              </a:buClr>
              <a:defRPr>
                <a:gradFill>
                  <a:gsLst>
                    <a:gs pos="1250">
                      <a:schemeClr val="bg1"/>
                    </a:gs>
                    <a:gs pos="100000">
                      <a:schemeClr val="bg1"/>
                    </a:gs>
                  </a:gsLst>
                  <a:lin ang="5400000" scaled="0"/>
                </a:gradFill>
              </a:defRPr>
            </a:lvl1pPr>
            <a:lvl2pPr>
              <a:buClr>
                <a:schemeClr val="bg2"/>
              </a:buClr>
              <a:defRPr>
                <a:gradFill>
                  <a:gsLst>
                    <a:gs pos="1250">
                      <a:schemeClr val="bg1"/>
                    </a:gs>
                    <a:gs pos="100000">
                      <a:schemeClr val="bg1"/>
                    </a:gs>
                  </a:gsLst>
                  <a:lin ang="5400000" scaled="0"/>
                </a:gradFill>
              </a:defRPr>
            </a:lvl2pPr>
            <a:lvl3pPr>
              <a:buClr>
                <a:schemeClr val="bg2"/>
              </a:buClr>
              <a:defRPr sz="2353">
                <a:gradFill>
                  <a:gsLst>
                    <a:gs pos="1250">
                      <a:schemeClr val="bg1"/>
                    </a:gs>
                    <a:gs pos="100000">
                      <a:schemeClr val="bg1"/>
                    </a:gs>
                  </a:gsLst>
                  <a:lin ang="5400000" scaled="0"/>
                </a:gradFill>
              </a:defRPr>
            </a:lvl3pPr>
            <a:lvl4pPr>
              <a:buClr>
                <a:schemeClr val="bg2"/>
              </a:buClr>
              <a:defRPr sz="1961">
                <a:gradFill>
                  <a:gsLst>
                    <a:gs pos="1250">
                      <a:schemeClr val="bg1"/>
                    </a:gs>
                    <a:gs pos="100000">
                      <a:schemeClr val="bg1"/>
                    </a:gs>
                  </a:gsLst>
                  <a:lin ang="5400000" scaled="0"/>
                </a:gradFill>
              </a:defRPr>
            </a:lvl4pPr>
            <a:lvl5pPr>
              <a:buClr>
                <a:schemeClr val="bg2"/>
              </a:buClr>
              <a:defRPr sz="1961">
                <a:gradFill>
                  <a:gsLst>
                    <a:gs pos="1250">
                      <a:schemeClr val="bg1"/>
                    </a:gs>
                    <a:gs pos="100000">
                      <a:schemeClr val="bg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vert="horz" wrap="square" lIns="146304" tIns="91440" rIns="146304" bIns="91440" rtlCol="0" anchor="t">
            <a:noAutofit/>
          </a:bodyPr>
          <a:lstStyle>
            <a:lvl1pPr>
              <a:defRPr lang="en-US">
                <a:gradFill>
                  <a:gsLst>
                    <a:gs pos="2000">
                      <a:schemeClr val="bg2"/>
                    </a:gs>
                    <a:gs pos="100000">
                      <a:schemeClr val="bg2"/>
                    </a:gs>
                  </a:gsLst>
                  <a:lin ang="5400000" scaled="0"/>
                </a:gradFill>
              </a:defRPr>
            </a:lvl1pPr>
          </a:lstStyle>
          <a:p>
            <a:pPr lvl="0"/>
            <a:r>
              <a:rPr lang="en-US"/>
              <a:t>Click to edit Master title style</a:t>
            </a:r>
          </a:p>
        </p:txBody>
      </p:sp>
      <p:sp>
        <p:nvSpPr>
          <p:cNvPr id="5" name="Rectangle 4"/>
          <p:cNvSpPr/>
          <p:nvPr userDrawn="1"/>
        </p:nvSpPr>
        <p:spPr bwMode="invGray">
          <a:xfrm>
            <a:off x="8228257" y="6629345"/>
            <a:ext cx="3963119" cy="22865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602753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00221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69239" y="1187621"/>
            <a:ext cx="11151917" cy="2094277"/>
          </a:xfrm>
          <a:prstGeom prst="rect">
            <a:avLst/>
          </a:prstGeom>
        </p:spPr>
        <p:txBody>
          <a:bodyPr>
            <a:spAutoFit/>
          </a:bodyPr>
          <a:lstStyle>
            <a:lvl1pPr marL="0" indent="0">
              <a:spcBef>
                <a:spcPts val="2400"/>
              </a:spcBef>
              <a:buNone/>
              <a:defRPr sz="3921">
                <a:gradFill>
                  <a:gsLst>
                    <a:gs pos="100000">
                      <a:schemeClr val="tx2"/>
                    </a:gs>
                    <a:gs pos="0">
                      <a:schemeClr val="tx2"/>
                    </a:gs>
                  </a:gsLst>
                  <a:lin ang="5400000" scaled="0"/>
                </a:gradFill>
                <a:latin typeface="+mj-lt"/>
              </a:defRPr>
            </a:lvl1pPr>
            <a:lvl2pPr marL="0" indent="0">
              <a:buNone/>
              <a:defRPr sz="1961" spc="-50" baseline="0">
                <a:gradFill>
                  <a:gsLst>
                    <a:gs pos="100000">
                      <a:schemeClr val="tx1"/>
                    </a:gs>
                    <a:gs pos="6000">
                      <a:schemeClr val="tx1"/>
                    </a:gs>
                  </a:gsLst>
                  <a:lin ang="5400000" scaled="0"/>
                </a:gradFill>
              </a:defRPr>
            </a:lvl2pPr>
            <a:lvl3pPr marL="231776" indent="0">
              <a:buNone/>
              <a:defRPr sz="1961" spc="-50" baseline="0">
                <a:gradFill>
                  <a:gsLst>
                    <a:gs pos="100000">
                      <a:schemeClr val="tx1"/>
                    </a:gs>
                    <a:gs pos="6000">
                      <a:schemeClr val="tx1"/>
                    </a:gs>
                  </a:gsLst>
                  <a:lin ang="5400000" scaled="0"/>
                </a:gradFill>
              </a:defRPr>
            </a:lvl3pPr>
            <a:lvl4pPr marL="457202" indent="0">
              <a:buNone/>
              <a:defRPr sz="1765" spc="-50" baseline="0">
                <a:gradFill>
                  <a:gsLst>
                    <a:gs pos="100000">
                      <a:schemeClr val="tx1"/>
                    </a:gs>
                    <a:gs pos="6000">
                      <a:schemeClr val="tx1"/>
                    </a:gs>
                  </a:gsLst>
                  <a:lin ang="5400000" scaled="0"/>
                </a:gradFill>
              </a:defRPr>
            </a:lvl4pPr>
            <a:lvl5pPr marL="693741" indent="0">
              <a:buNone/>
              <a:defRPr sz="1765" spc="-50" baseline="0">
                <a:gradFill>
                  <a:gsLst>
                    <a:gs pos="100000">
                      <a:schemeClr val="tx1"/>
                    </a:gs>
                    <a:gs pos="6000">
                      <a:schemeClr val="tx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a:xfrm>
            <a:off x="269239" y="286381"/>
            <a:ext cx="11151917" cy="927940"/>
          </a:xfrm>
        </p:spPr>
        <p:txBody>
          <a:bodyPr>
            <a:spAutoFit/>
          </a:bodyPr>
          <a:lstStyle/>
          <a:p>
            <a:r>
              <a:rPr lang="en-US" dirty="0"/>
              <a:t>Click to edit master title style</a:t>
            </a:r>
          </a:p>
        </p:txBody>
      </p:sp>
    </p:spTree>
    <p:extLst>
      <p:ext uri="{BB962C8B-B14F-4D97-AF65-F5344CB8AC3E}">
        <p14:creationId xmlns:p14="http://schemas.microsoft.com/office/powerpoint/2010/main" val="677657141"/>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1_Title and 2-color bulleted white">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2pPr>
              <a:buClr>
                <a:schemeClr val="bg2"/>
              </a:buClr>
              <a:defRPr>
                <a:gradFill>
                  <a:gsLst>
                    <a:gs pos="1250">
                      <a:schemeClr val="bg1"/>
                    </a:gs>
                    <a:gs pos="100000">
                      <a:schemeClr val="bg1"/>
                    </a:gs>
                  </a:gsLst>
                  <a:lin ang="5400000" scaled="0"/>
                </a:gradFill>
              </a:defRPr>
            </a:lvl2pPr>
            <a:lvl3pPr>
              <a:buClr>
                <a:schemeClr val="bg2"/>
              </a:buClr>
              <a:defRPr sz="2353">
                <a:gradFill>
                  <a:gsLst>
                    <a:gs pos="1250">
                      <a:schemeClr val="bg1"/>
                    </a:gs>
                    <a:gs pos="100000">
                      <a:schemeClr val="bg1"/>
                    </a:gs>
                  </a:gsLst>
                  <a:lin ang="5400000" scaled="0"/>
                </a:gradFill>
              </a:defRPr>
            </a:lvl3pPr>
            <a:lvl4pPr>
              <a:buClr>
                <a:schemeClr val="bg2"/>
              </a:buClr>
              <a:defRPr sz="1961">
                <a:gradFill>
                  <a:gsLst>
                    <a:gs pos="1250">
                      <a:schemeClr val="bg1"/>
                    </a:gs>
                    <a:gs pos="100000">
                      <a:schemeClr val="bg1"/>
                    </a:gs>
                  </a:gsLst>
                  <a:lin ang="5400000" scaled="0"/>
                </a:gradFill>
              </a:defRPr>
            </a:lvl4pPr>
            <a:lvl5pPr>
              <a:buClr>
                <a:schemeClr val="bg2"/>
              </a:buClr>
              <a:defRPr sz="1961">
                <a:gradFill>
                  <a:gsLst>
                    <a:gs pos="1250">
                      <a:schemeClr val="bg1"/>
                    </a:gs>
                    <a:gs pos="100000">
                      <a:schemeClr val="bg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vert="horz" wrap="square" lIns="146304" tIns="91440" rIns="146304" bIns="91440" rtlCol="0" anchor="t">
            <a:noAutofit/>
          </a:bodyPr>
          <a:lstStyle>
            <a:lvl1pPr>
              <a:defRPr lang="en-US">
                <a:gradFill>
                  <a:gsLst>
                    <a:gs pos="2000">
                      <a:schemeClr val="bg2"/>
                    </a:gs>
                    <a:gs pos="100000">
                      <a:schemeClr val="bg2"/>
                    </a:gs>
                  </a:gsLst>
                  <a:lin ang="5400000" scaled="0"/>
                </a:gradFill>
              </a:defRPr>
            </a:lvl1pPr>
          </a:lstStyle>
          <a:p>
            <a:pPr lvl="0"/>
            <a:r>
              <a:rPr lang="en-US"/>
              <a:t>Click to edit Master title style</a:t>
            </a:r>
          </a:p>
        </p:txBody>
      </p:sp>
      <p:sp>
        <p:nvSpPr>
          <p:cNvPr id="5" name="Rectangle 4"/>
          <p:cNvSpPr/>
          <p:nvPr userDrawn="1"/>
        </p:nvSpPr>
        <p:spPr bwMode="invGray">
          <a:xfrm>
            <a:off x="8228257" y="6629345"/>
            <a:ext cx="3963119" cy="22865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294001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18432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1_Two Column Non-bulleted text whit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6304" tIns="91440" rIns="146304" bIns="91440" rtlCol="0" anchor="t">
            <a:noAutofit/>
          </a:bodyPr>
          <a:lstStyle>
            <a:lvl1pPr>
              <a:defRPr lang="en-US" dirty="0">
                <a:gradFill>
                  <a:gsLst>
                    <a:gs pos="2000">
                      <a:schemeClr val="bg2"/>
                    </a:gs>
                    <a:gs pos="100000">
                      <a:schemeClr val="bg2"/>
                    </a:gs>
                  </a:gsLst>
                  <a:lin ang="5400000" scaled="0"/>
                </a:gradFill>
              </a:defRPr>
            </a:lvl1pPr>
          </a:lstStyle>
          <a:p>
            <a:pPr lvl="0"/>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250">
                      <a:schemeClr val="bg1"/>
                    </a:gs>
                    <a:gs pos="100000">
                      <a:schemeClr val="bg1"/>
                    </a:gs>
                  </a:gsLst>
                  <a:lin ang="5400000" scaled="0"/>
                </a:gradFill>
              </a:defRPr>
            </a:lvl1pPr>
            <a:lvl2pPr marL="0" indent="0">
              <a:buNone/>
              <a:defRPr sz="1961">
                <a:gradFill>
                  <a:gsLst>
                    <a:gs pos="1250">
                      <a:schemeClr val="bg1"/>
                    </a:gs>
                    <a:gs pos="100000">
                      <a:schemeClr val="bg1"/>
                    </a:gs>
                  </a:gsLst>
                  <a:lin ang="5400000" scaled="0"/>
                </a:gradFill>
              </a:defRPr>
            </a:lvl2pPr>
            <a:lvl3pPr marL="227209" indent="0">
              <a:buNone/>
              <a:tabLst/>
              <a:defRPr sz="1961">
                <a:gradFill>
                  <a:gsLst>
                    <a:gs pos="1250">
                      <a:schemeClr val="bg1"/>
                    </a:gs>
                    <a:gs pos="100000">
                      <a:schemeClr val="bg1"/>
                    </a:gs>
                  </a:gsLst>
                  <a:lin ang="5400000" scaled="0"/>
                </a:gradFill>
              </a:defRPr>
            </a:lvl3pPr>
            <a:lvl4pPr marL="451306" indent="0">
              <a:buNone/>
              <a:defRPr>
                <a:gradFill>
                  <a:gsLst>
                    <a:gs pos="1250">
                      <a:schemeClr val="bg1"/>
                    </a:gs>
                    <a:gs pos="100000">
                      <a:schemeClr val="bg1"/>
                    </a:gs>
                  </a:gsLst>
                  <a:lin ang="5400000" scaled="0"/>
                </a:gradFill>
              </a:defRPr>
            </a:lvl4pPr>
            <a:lvl5pPr marL="672290" indent="0">
              <a:buNone/>
              <a:tabLst/>
              <a:defRPr>
                <a:gradFill>
                  <a:gsLst>
                    <a:gs pos="1250">
                      <a:schemeClr val="bg1"/>
                    </a:gs>
                    <a:gs pos="100000">
                      <a:schemeClr val="bg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250">
                      <a:schemeClr val="bg1"/>
                    </a:gs>
                    <a:gs pos="100000">
                      <a:schemeClr val="bg1"/>
                    </a:gs>
                  </a:gsLst>
                  <a:lin ang="5400000" scaled="0"/>
                </a:gradFill>
              </a:defRPr>
            </a:lvl1pPr>
            <a:lvl2pPr marL="0" indent="0">
              <a:buNone/>
              <a:defRPr sz="1961">
                <a:gradFill>
                  <a:gsLst>
                    <a:gs pos="1250">
                      <a:schemeClr val="bg1"/>
                    </a:gs>
                    <a:gs pos="100000">
                      <a:schemeClr val="bg1"/>
                    </a:gs>
                  </a:gsLst>
                  <a:lin ang="5400000" scaled="0"/>
                </a:gradFill>
              </a:defRPr>
            </a:lvl2pPr>
            <a:lvl3pPr marL="227209" indent="0">
              <a:buNone/>
              <a:tabLst/>
              <a:defRPr sz="1961">
                <a:gradFill>
                  <a:gsLst>
                    <a:gs pos="1250">
                      <a:schemeClr val="bg1"/>
                    </a:gs>
                    <a:gs pos="100000">
                      <a:schemeClr val="bg1"/>
                    </a:gs>
                  </a:gsLst>
                  <a:lin ang="5400000" scaled="0"/>
                </a:gradFill>
              </a:defRPr>
            </a:lvl3pPr>
            <a:lvl4pPr marL="451306" indent="0">
              <a:buNone/>
              <a:defRPr>
                <a:gradFill>
                  <a:gsLst>
                    <a:gs pos="1250">
                      <a:schemeClr val="bg1"/>
                    </a:gs>
                    <a:gs pos="100000">
                      <a:schemeClr val="bg1"/>
                    </a:gs>
                  </a:gsLst>
                  <a:lin ang="5400000" scaled="0"/>
                </a:gradFill>
              </a:defRPr>
            </a:lvl4pPr>
            <a:lvl5pPr marL="672290" indent="0">
              <a:buNone/>
              <a:tabLst/>
              <a:defRPr>
                <a:gradFill>
                  <a:gsLst>
                    <a:gs pos="1250">
                      <a:schemeClr val="bg1"/>
                    </a:gs>
                    <a:gs pos="100000">
                      <a:schemeClr val="bg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bwMode="invGray">
          <a:xfrm>
            <a:off x="8228257" y="6629345"/>
            <a:ext cx="3963119" cy="22865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515381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98641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1_Two Column 2-color Non-bulleted text whit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6304" tIns="91440" rIns="146304" bIns="91440" rtlCol="0" anchor="t">
            <a:noAutofit/>
          </a:bodyPr>
          <a:lstStyle>
            <a:lvl1pPr>
              <a:defRPr lang="en-US" dirty="0">
                <a:gradFill>
                  <a:gsLst>
                    <a:gs pos="2000">
                      <a:schemeClr val="bg2"/>
                    </a:gs>
                    <a:gs pos="100000">
                      <a:schemeClr val="bg2"/>
                    </a:gs>
                  </a:gsLst>
                  <a:lin ang="5400000" scaled="0"/>
                </a:gradFill>
              </a:defRPr>
            </a:lvl1pPr>
          </a:lstStyle>
          <a:p>
            <a:pPr lvl="0"/>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gradFill>
                  <a:gsLst>
                    <a:gs pos="1250">
                      <a:schemeClr val="bg1"/>
                    </a:gs>
                    <a:gs pos="100000">
                      <a:schemeClr val="bg1"/>
                    </a:gs>
                  </a:gsLst>
                  <a:lin ang="5400000" scaled="0"/>
                </a:gradFill>
              </a:defRPr>
            </a:lvl2pPr>
            <a:lvl3pPr marL="227209" indent="0">
              <a:buNone/>
              <a:tabLst/>
              <a:defRPr sz="1961">
                <a:gradFill>
                  <a:gsLst>
                    <a:gs pos="1250">
                      <a:schemeClr val="bg1"/>
                    </a:gs>
                    <a:gs pos="100000">
                      <a:schemeClr val="bg1"/>
                    </a:gs>
                  </a:gsLst>
                  <a:lin ang="5400000" scaled="0"/>
                </a:gradFill>
              </a:defRPr>
            </a:lvl3pPr>
            <a:lvl4pPr marL="451306" indent="0">
              <a:buNone/>
              <a:defRPr>
                <a:gradFill>
                  <a:gsLst>
                    <a:gs pos="1250">
                      <a:schemeClr val="bg1"/>
                    </a:gs>
                    <a:gs pos="100000">
                      <a:schemeClr val="bg1"/>
                    </a:gs>
                  </a:gsLst>
                  <a:lin ang="5400000" scaled="0"/>
                </a:gradFill>
              </a:defRPr>
            </a:lvl4pPr>
            <a:lvl5pPr marL="672290" indent="0">
              <a:buNone/>
              <a:tabLst/>
              <a:defRPr>
                <a:gradFill>
                  <a:gsLst>
                    <a:gs pos="1250">
                      <a:schemeClr val="bg1"/>
                    </a:gs>
                    <a:gs pos="100000">
                      <a:schemeClr val="bg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lang="en-US" sz="1961" kern="1200" spc="0" baseline="0" dirty="0" smtClean="0">
                <a:gradFill>
                  <a:gsLst>
                    <a:gs pos="1250">
                      <a:schemeClr val="bg1"/>
                    </a:gs>
                    <a:gs pos="100000">
                      <a:schemeClr val="bg1"/>
                    </a:gs>
                  </a:gsLst>
                  <a:lin ang="5400000" scaled="0"/>
                </a:gradFill>
                <a:latin typeface="+mn-lt"/>
                <a:ea typeface="+mn-ea"/>
                <a:cs typeface="+mn-cs"/>
              </a:defRPr>
            </a:lvl2pPr>
            <a:lvl3pPr marL="227209"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lang="en-US" sz="1961" kern="1200" spc="0" baseline="0" dirty="0" smtClean="0">
                <a:gradFill>
                  <a:gsLst>
                    <a:gs pos="1250">
                      <a:schemeClr val="bg1"/>
                    </a:gs>
                    <a:gs pos="100000">
                      <a:schemeClr val="bg1"/>
                    </a:gs>
                  </a:gsLst>
                  <a:lin ang="5400000" scaled="0"/>
                </a:gradFill>
                <a:latin typeface="+mn-lt"/>
                <a:ea typeface="+mn-ea"/>
                <a:cs typeface="+mn-cs"/>
              </a:defRPr>
            </a:lvl3pPr>
            <a:lvl4pPr marL="451306"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lang="en-US" sz="1961" kern="1200" spc="0" baseline="0" dirty="0" smtClean="0">
                <a:gradFill>
                  <a:gsLst>
                    <a:gs pos="1250">
                      <a:schemeClr val="bg1"/>
                    </a:gs>
                    <a:gs pos="100000">
                      <a:schemeClr val="bg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lang="en-US" sz="1961" kern="1200" spc="0" baseline="0" dirty="0">
                <a:gradFill>
                  <a:gsLst>
                    <a:gs pos="1250">
                      <a:schemeClr val="bg1"/>
                    </a:gs>
                    <a:gs pos="100000">
                      <a:schemeClr val="bg1"/>
                    </a:gs>
                  </a:gsLst>
                  <a:lin ang="5400000" scaled="0"/>
                </a:gra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Rectangle 5"/>
          <p:cNvSpPr/>
          <p:nvPr userDrawn="1"/>
        </p:nvSpPr>
        <p:spPr bwMode="invGray">
          <a:xfrm>
            <a:off x="8228257" y="6629345"/>
            <a:ext cx="3963119" cy="22865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959598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69185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1_Two Column Bullet text whit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bg2"/>
                    </a:gs>
                    <a:gs pos="100000">
                      <a:schemeClr val="bg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bg2"/>
              </a:buClr>
              <a:buFont typeface="Wingdings" panose="05000000000000000000" pitchFamily="2" charset="2"/>
              <a:buChar char="§"/>
              <a:defRPr sz="3529">
                <a:gradFill>
                  <a:gsLst>
                    <a:gs pos="1250">
                      <a:schemeClr val="bg1"/>
                    </a:gs>
                    <a:gs pos="100000">
                      <a:schemeClr val="bg1"/>
                    </a:gs>
                  </a:gsLst>
                  <a:lin ang="5400000" scaled="0"/>
                </a:gradFill>
              </a:defRPr>
            </a:lvl1pPr>
            <a:lvl2pPr marL="520702" indent="-228601">
              <a:buClr>
                <a:schemeClr val="bg2"/>
              </a:buClr>
              <a:defRPr sz="2353">
                <a:gradFill>
                  <a:gsLst>
                    <a:gs pos="1250">
                      <a:schemeClr val="bg1"/>
                    </a:gs>
                    <a:gs pos="100000">
                      <a:schemeClr val="bg1"/>
                    </a:gs>
                  </a:gsLst>
                  <a:lin ang="5400000" scaled="0"/>
                </a:gradFill>
              </a:defRPr>
            </a:lvl2pPr>
            <a:lvl3pPr marL="685803" indent="-165101">
              <a:buClr>
                <a:schemeClr val="bg2"/>
              </a:buClr>
              <a:tabLst/>
              <a:defRPr sz="1961">
                <a:gradFill>
                  <a:gsLst>
                    <a:gs pos="1250">
                      <a:schemeClr val="bg1"/>
                    </a:gs>
                    <a:gs pos="100000">
                      <a:schemeClr val="bg1"/>
                    </a:gs>
                  </a:gsLst>
                  <a:lin ang="5400000" scaled="0"/>
                </a:gradFill>
              </a:defRPr>
            </a:lvl3pPr>
            <a:lvl4pPr marL="863603" indent="-177801">
              <a:buClr>
                <a:schemeClr val="bg2"/>
              </a:buClr>
              <a:defRPr>
                <a:gradFill>
                  <a:gsLst>
                    <a:gs pos="1250">
                      <a:schemeClr val="bg1"/>
                    </a:gs>
                    <a:gs pos="100000">
                      <a:schemeClr val="bg1"/>
                    </a:gs>
                  </a:gsLst>
                  <a:lin ang="5400000" scaled="0"/>
                </a:gradFill>
              </a:defRPr>
            </a:lvl4pPr>
            <a:lvl5pPr marL="1028704" indent="-165101">
              <a:buClr>
                <a:schemeClr val="bg2"/>
              </a:buClr>
              <a:tabLst/>
              <a:defRPr>
                <a:gradFill>
                  <a:gsLst>
                    <a:gs pos="1250">
                      <a:schemeClr val="bg1"/>
                    </a:gs>
                    <a:gs pos="100000">
                      <a:schemeClr val="bg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bg2"/>
              </a:buClr>
              <a:buFont typeface="Wingdings" panose="05000000000000000000" pitchFamily="2" charset="2"/>
              <a:buChar char="§"/>
              <a:defRPr sz="3529">
                <a:gradFill>
                  <a:gsLst>
                    <a:gs pos="1250">
                      <a:schemeClr val="bg1"/>
                    </a:gs>
                    <a:gs pos="100000">
                      <a:schemeClr val="bg1"/>
                    </a:gs>
                  </a:gsLst>
                  <a:lin ang="5400000" scaled="0"/>
                </a:gradFill>
              </a:defRPr>
            </a:lvl1pPr>
            <a:lvl2pPr marL="520702" indent="-228601">
              <a:buClr>
                <a:schemeClr val="bg2"/>
              </a:buClr>
              <a:defRPr sz="2353">
                <a:gradFill>
                  <a:gsLst>
                    <a:gs pos="1250">
                      <a:schemeClr val="bg1"/>
                    </a:gs>
                    <a:gs pos="100000">
                      <a:schemeClr val="bg1"/>
                    </a:gs>
                  </a:gsLst>
                  <a:lin ang="5400000" scaled="0"/>
                </a:gradFill>
              </a:defRPr>
            </a:lvl2pPr>
            <a:lvl3pPr marL="685803" indent="-165101">
              <a:buClr>
                <a:schemeClr val="bg2"/>
              </a:buClr>
              <a:tabLst/>
              <a:defRPr sz="1961">
                <a:gradFill>
                  <a:gsLst>
                    <a:gs pos="1250">
                      <a:schemeClr val="bg1"/>
                    </a:gs>
                    <a:gs pos="100000">
                      <a:schemeClr val="bg1"/>
                    </a:gs>
                  </a:gsLst>
                  <a:lin ang="5400000" scaled="0"/>
                </a:gradFill>
              </a:defRPr>
            </a:lvl3pPr>
            <a:lvl4pPr marL="863603" indent="-177801">
              <a:buClr>
                <a:schemeClr val="bg2"/>
              </a:buClr>
              <a:defRPr>
                <a:gradFill>
                  <a:gsLst>
                    <a:gs pos="1250">
                      <a:schemeClr val="bg1"/>
                    </a:gs>
                    <a:gs pos="100000">
                      <a:schemeClr val="bg1"/>
                    </a:gs>
                  </a:gsLst>
                  <a:lin ang="5400000" scaled="0"/>
                </a:gradFill>
              </a:defRPr>
            </a:lvl4pPr>
            <a:lvl5pPr marL="1028704" indent="-165101">
              <a:buClr>
                <a:schemeClr val="bg2"/>
              </a:buClr>
              <a:tabLst/>
              <a:defRPr>
                <a:gradFill>
                  <a:gsLst>
                    <a:gs pos="1250">
                      <a:schemeClr val="bg1"/>
                    </a:gs>
                    <a:gs pos="100000">
                      <a:schemeClr val="bg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bwMode="invGray">
          <a:xfrm>
            <a:off x="8228257" y="6629345"/>
            <a:ext cx="3963119" cy="22865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938449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44935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1_Two Column 2-color Bullet text whit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6304" tIns="91440" rIns="146304" bIns="91440" rtlCol="0" anchor="t">
            <a:noAutofit/>
          </a:bodyPr>
          <a:lstStyle>
            <a:lvl1pPr>
              <a:defRPr lang="en-US" dirty="0">
                <a:gradFill>
                  <a:gsLst>
                    <a:gs pos="1250">
                      <a:schemeClr val="bg2"/>
                    </a:gs>
                    <a:gs pos="100000">
                      <a:schemeClr val="bg2"/>
                    </a:gs>
                  </a:gsLst>
                  <a:lin ang="5400000" scaled="0"/>
                </a:gradFill>
              </a:defRPr>
            </a:lvl1pPr>
          </a:lstStyle>
          <a:p>
            <a:pPr lvl="0"/>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buClr>
                <a:schemeClr val="bg2"/>
              </a:buClr>
              <a:defRPr sz="2353">
                <a:gradFill>
                  <a:gsLst>
                    <a:gs pos="1250">
                      <a:schemeClr val="bg1"/>
                    </a:gs>
                    <a:gs pos="100000">
                      <a:schemeClr val="bg1"/>
                    </a:gs>
                  </a:gsLst>
                  <a:lin ang="5400000" scaled="0"/>
                </a:gradFill>
              </a:defRPr>
            </a:lvl2pPr>
            <a:lvl3pPr marL="685803" indent="-165101">
              <a:buClr>
                <a:schemeClr val="bg2"/>
              </a:buClr>
              <a:tabLst/>
              <a:defRPr sz="1961">
                <a:gradFill>
                  <a:gsLst>
                    <a:gs pos="1250">
                      <a:schemeClr val="bg1"/>
                    </a:gs>
                    <a:gs pos="100000">
                      <a:schemeClr val="bg1"/>
                    </a:gs>
                  </a:gsLst>
                  <a:lin ang="5400000" scaled="0"/>
                </a:gradFill>
              </a:defRPr>
            </a:lvl3pPr>
            <a:lvl4pPr marL="863603" indent="-177801">
              <a:buClr>
                <a:schemeClr val="bg2"/>
              </a:buClr>
              <a:defRPr>
                <a:gradFill>
                  <a:gsLst>
                    <a:gs pos="1250">
                      <a:schemeClr val="bg1"/>
                    </a:gs>
                    <a:gs pos="100000">
                      <a:schemeClr val="bg1"/>
                    </a:gs>
                  </a:gsLst>
                  <a:lin ang="5400000" scaled="0"/>
                </a:gradFill>
              </a:defRPr>
            </a:lvl4pPr>
            <a:lvl5pPr marL="1028704" indent="-165101">
              <a:buClr>
                <a:schemeClr val="bg2"/>
              </a:buClr>
              <a:tabLst/>
              <a:defRPr>
                <a:gradFill>
                  <a:gsLst>
                    <a:gs pos="1250">
                      <a:schemeClr val="bg1"/>
                    </a:gs>
                    <a:gs pos="100000">
                      <a:schemeClr val="bg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buClr>
                <a:schemeClr val="bg2"/>
              </a:buClr>
              <a:defRPr sz="2353">
                <a:gradFill>
                  <a:gsLst>
                    <a:gs pos="1250">
                      <a:schemeClr val="bg1"/>
                    </a:gs>
                    <a:gs pos="100000">
                      <a:schemeClr val="bg1"/>
                    </a:gs>
                  </a:gsLst>
                  <a:lin ang="5400000" scaled="0"/>
                </a:gradFill>
              </a:defRPr>
            </a:lvl2pPr>
            <a:lvl3pPr marL="685803" indent="-165101">
              <a:buClr>
                <a:schemeClr val="bg2"/>
              </a:buClr>
              <a:tabLst/>
              <a:defRPr sz="1961">
                <a:gradFill>
                  <a:gsLst>
                    <a:gs pos="1250">
                      <a:schemeClr val="bg1"/>
                    </a:gs>
                    <a:gs pos="100000">
                      <a:schemeClr val="bg1"/>
                    </a:gs>
                  </a:gsLst>
                  <a:lin ang="5400000" scaled="0"/>
                </a:gradFill>
              </a:defRPr>
            </a:lvl3pPr>
            <a:lvl4pPr marL="863603" indent="-177801">
              <a:buClr>
                <a:schemeClr val="bg2"/>
              </a:buClr>
              <a:defRPr>
                <a:gradFill>
                  <a:gsLst>
                    <a:gs pos="1250">
                      <a:schemeClr val="bg1"/>
                    </a:gs>
                    <a:gs pos="100000">
                      <a:schemeClr val="bg1"/>
                    </a:gs>
                  </a:gsLst>
                  <a:lin ang="5400000" scaled="0"/>
                </a:gradFill>
              </a:defRPr>
            </a:lvl4pPr>
            <a:lvl5pPr marL="1028704" indent="-165101">
              <a:buClr>
                <a:schemeClr val="bg2"/>
              </a:buClr>
              <a:tabLst/>
              <a:defRPr>
                <a:gradFill>
                  <a:gsLst>
                    <a:gs pos="1250">
                      <a:schemeClr val="bg1"/>
                    </a:gs>
                    <a:gs pos="100000">
                      <a:schemeClr val="bg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Rectangle 5"/>
          <p:cNvSpPr/>
          <p:nvPr userDrawn="1"/>
        </p:nvSpPr>
        <p:spPr bwMode="invGray">
          <a:xfrm>
            <a:off x="8228257" y="6629345"/>
            <a:ext cx="3963119" cy="22865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420402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85639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69239" y="1187621"/>
            <a:ext cx="11151917" cy="2094277"/>
          </a:xfrm>
          <a:prstGeom prst="rect">
            <a:avLst/>
          </a:prstGeom>
        </p:spPr>
        <p:txBody>
          <a:bodyPr>
            <a:spAutoFit/>
          </a:bodyPr>
          <a:lstStyle>
            <a:lvl1pPr marL="0" indent="0">
              <a:spcBef>
                <a:spcPts val="2400"/>
              </a:spcBef>
              <a:buNone/>
              <a:defRPr sz="3921">
                <a:gradFill>
                  <a:gsLst>
                    <a:gs pos="100000">
                      <a:schemeClr val="tx1"/>
                    </a:gs>
                    <a:gs pos="0">
                      <a:schemeClr val="tx1"/>
                    </a:gs>
                  </a:gsLst>
                  <a:lin ang="5400000" scaled="0"/>
                </a:gradFill>
                <a:latin typeface="+mj-lt"/>
              </a:defRPr>
            </a:lvl1pPr>
            <a:lvl2pPr marL="0" indent="0">
              <a:buNone/>
              <a:defRPr sz="1961" spc="-50" baseline="0">
                <a:gradFill>
                  <a:gsLst>
                    <a:gs pos="100000">
                      <a:schemeClr val="tx1"/>
                    </a:gs>
                    <a:gs pos="0">
                      <a:schemeClr val="tx1"/>
                    </a:gs>
                  </a:gsLst>
                  <a:lin ang="5400000" scaled="0"/>
                </a:gradFill>
              </a:defRPr>
            </a:lvl2pPr>
            <a:lvl3pPr marL="231776" indent="0">
              <a:buNone/>
              <a:defRPr sz="1961" spc="-50" baseline="0">
                <a:gradFill>
                  <a:gsLst>
                    <a:gs pos="100000">
                      <a:schemeClr val="tx1"/>
                    </a:gs>
                    <a:gs pos="0">
                      <a:schemeClr val="tx1"/>
                    </a:gs>
                  </a:gsLst>
                  <a:lin ang="5400000" scaled="0"/>
                </a:gradFill>
              </a:defRPr>
            </a:lvl3pPr>
            <a:lvl4pPr marL="457202" indent="0">
              <a:buNone/>
              <a:defRPr sz="1765" spc="-50" baseline="0">
                <a:gradFill>
                  <a:gsLst>
                    <a:gs pos="100000">
                      <a:schemeClr val="tx1"/>
                    </a:gs>
                    <a:gs pos="0">
                      <a:schemeClr val="tx1"/>
                    </a:gs>
                  </a:gsLst>
                  <a:lin ang="5400000" scaled="0"/>
                </a:gradFill>
              </a:defRPr>
            </a:lvl4pPr>
            <a:lvl5pPr marL="693741" indent="0">
              <a:buNone/>
              <a:defRPr sz="1765" spc="-50" baseline="0">
                <a:gradFill>
                  <a:gsLst>
                    <a:gs pos="100000">
                      <a:schemeClr val="tx1"/>
                    </a:gs>
                    <a:gs pos="0">
                      <a:schemeClr val="tx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641305056"/>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1_Title Only whit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6304" tIns="91440" rIns="146304" bIns="91440" rtlCol="0" anchor="t">
            <a:noAutofit/>
          </a:bodyPr>
          <a:lstStyle>
            <a:lvl1pPr>
              <a:defRPr lang="en-US">
                <a:gradFill>
                  <a:gsLst>
                    <a:gs pos="1250">
                      <a:schemeClr val="bg2"/>
                    </a:gs>
                    <a:gs pos="100000">
                      <a:schemeClr val="bg2"/>
                    </a:gs>
                  </a:gsLst>
                  <a:lin ang="5400000" scaled="0"/>
                </a:gradFill>
              </a:defRPr>
            </a:lvl1pPr>
          </a:lstStyle>
          <a:p>
            <a:pPr lvl="0"/>
            <a:r>
              <a:rPr lang="en-US"/>
              <a:t>Click to edit Master title style</a:t>
            </a:r>
          </a:p>
        </p:txBody>
      </p:sp>
      <p:sp>
        <p:nvSpPr>
          <p:cNvPr id="3" name="Rectangle 2"/>
          <p:cNvSpPr/>
          <p:nvPr userDrawn="1"/>
        </p:nvSpPr>
        <p:spPr bwMode="invGray">
          <a:xfrm>
            <a:off x="8228257" y="6629345"/>
            <a:ext cx="3963119" cy="22865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672314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Tree>
    <p:extLst>
      <p:ext uri="{BB962C8B-B14F-4D97-AF65-F5344CB8AC3E}">
        <p14:creationId xmlns:p14="http://schemas.microsoft.com/office/powerpoint/2010/main" val="4191336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1_Big Idea Layout whit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gradFill>
                  <a:gsLst>
                    <a:gs pos="1250">
                      <a:schemeClr val="bg2"/>
                    </a:gs>
                    <a:gs pos="100000">
                      <a:schemeClr val="bg2"/>
                    </a:gs>
                  </a:gsLst>
                  <a:lin ang="5400000" scaled="0"/>
                </a:gradFill>
              </a:defRPr>
            </a:lvl1pPr>
          </a:lstStyle>
          <a:p>
            <a:r>
              <a:rPr lang="en-US"/>
              <a:t>Click to edit Master title style</a:t>
            </a:r>
            <a:endParaRPr lang="en-US" dirty="0"/>
          </a:p>
        </p:txBody>
      </p:sp>
      <p:sp>
        <p:nvSpPr>
          <p:cNvPr id="3" name="Rectangle 2"/>
          <p:cNvSpPr/>
          <p:nvPr userDrawn="1"/>
        </p:nvSpPr>
        <p:spPr bwMode="invGray">
          <a:xfrm>
            <a:off x="8228257" y="6629345"/>
            <a:ext cx="3963119" cy="22865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061960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2045625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1_Fact Layout whit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gradFill>
                  <a:gsLst>
                    <a:gs pos="1250">
                      <a:schemeClr val="bg2"/>
                    </a:gs>
                    <a:gs pos="100000">
                      <a:schemeClr val="bg2"/>
                    </a:gs>
                  </a:gsLst>
                  <a:lin ang="5400000" scaled="0"/>
                </a:gradFill>
              </a:defRPr>
            </a:lvl1pPr>
          </a:lstStyle>
          <a:p>
            <a:r>
              <a:rPr lang="en-US"/>
              <a:t>Click to edit Master title style</a:t>
            </a:r>
            <a:endParaRPr lang="en-US" dirty="0"/>
          </a:p>
        </p:txBody>
      </p:sp>
      <p:sp>
        <p:nvSpPr>
          <p:cNvPr id="3" name="Rectangle 2"/>
          <p:cNvSpPr/>
          <p:nvPr userDrawn="1"/>
        </p:nvSpPr>
        <p:spPr bwMode="invGray">
          <a:xfrm>
            <a:off x="8228257" y="6629345"/>
            <a:ext cx="3963119" cy="22865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745773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3473531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1_Quote Layout white">
    <p:bg>
      <p:bgPr>
        <a:solidFill>
          <a:schemeClr val="tx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gradFill>
                  <a:gsLst>
                    <a:gs pos="1250">
                      <a:schemeClr val="bg2"/>
                    </a:gs>
                    <a:gs pos="100000">
                      <a:schemeClr val="bg2"/>
                    </a:gs>
                  </a:gsLst>
                  <a:lin ang="5400000" scaled="0"/>
                </a:gradFill>
              </a:defRPr>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gradFill>
                  <a:gsLst>
                    <a:gs pos="1250">
                      <a:schemeClr val="bg2"/>
                    </a:gs>
                    <a:gs pos="100000">
                      <a:schemeClr val="bg2"/>
                    </a:gs>
                  </a:gsLst>
                  <a:lin ang="5400000" scaled="0"/>
                </a:gradFill>
                <a:latin typeface="+mj-lt"/>
              </a:defRPr>
            </a:lvl1pPr>
          </a:lstStyle>
          <a:p>
            <a:pPr lvl="0"/>
            <a:r>
              <a:rPr lang="en-US" dirty="0"/>
              <a:t>Author Name</a:t>
            </a:r>
          </a:p>
          <a:p>
            <a:pPr lvl="0"/>
            <a:r>
              <a:rPr lang="en-US" dirty="0"/>
              <a:t>Title</a:t>
            </a:r>
          </a:p>
        </p:txBody>
      </p:sp>
      <p:sp>
        <p:nvSpPr>
          <p:cNvPr id="5" name="Rectangle 4"/>
          <p:cNvSpPr/>
          <p:nvPr userDrawn="1"/>
        </p:nvSpPr>
        <p:spPr bwMode="invGray">
          <a:xfrm>
            <a:off x="8228257" y="6629345"/>
            <a:ext cx="3963119" cy="22865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022597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22416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1_Big Idea &amp; 3 Points white">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bg2"/>
                    </a:gs>
                    <a:gs pos="39000">
                      <a:schemeClr val="bg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bg2"/>
                    </a:gs>
                    <a:gs pos="100000">
                      <a:schemeClr val="bg2"/>
                    </a:gs>
                  </a:gsLst>
                  <a:lin ang="5400000" scaled="0"/>
                </a:gradFill>
              </a:defRPr>
            </a:lvl1pPr>
          </a:lstStyle>
          <a:p>
            <a:r>
              <a:rPr lang="en-US" dirty="0"/>
              <a:t>Click to edit Master title style</a:t>
            </a:r>
          </a:p>
        </p:txBody>
      </p:sp>
      <p:sp>
        <p:nvSpPr>
          <p:cNvPr id="5" name="Rectangle 4"/>
          <p:cNvSpPr/>
          <p:nvPr userDrawn="1"/>
        </p:nvSpPr>
        <p:spPr bwMode="invGray">
          <a:xfrm>
            <a:off x="8228257" y="6629345"/>
            <a:ext cx="3963119" cy="22865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500714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1589601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86381"/>
            <a:ext cx="11151917" cy="927940"/>
          </a:xfr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269239" y="1187621"/>
            <a:ext cx="5369641" cy="2703851"/>
          </a:xfrm>
        </p:spPr>
        <p:txBody>
          <a:bodyPr wrap="square">
            <a:spAutoFit/>
          </a:bodyPr>
          <a:lstStyle>
            <a:lvl1pPr marL="292101" indent="-292101">
              <a:spcBef>
                <a:spcPts val="1200"/>
              </a:spcBef>
              <a:buClr>
                <a:schemeClr val="tx1"/>
              </a:buClr>
              <a:buFont typeface="Wingdings" pitchFamily="2" charset="2"/>
              <a:buChar char=""/>
              <a:defRPr/>
            </a:lvl1pPr>
            <a:lvl2pPr marL="520702" indent="-228601">
              <a:defRPr sz="2353" spc="-50" baseline="0"/>
            </a:lvl2pPr>
            <a:lvl3pPr marL="685803" indent="-165101">
              <a:tabLst/>
              <a:defRPr sz="1961" spc="-50" baseline="0"/>
            </a:lvl3pPr>
            <a:lvl4pPr marL="863603" indent="-177801">
              <a:defRPr sz="1765" spc="-50" baseline="0"/>
            </a:lvl4pPr>
            <a:lvl5pPr marL="1028704" indent="-165101">
              <a:tabLst/>
              <a:defRPr sz="1765" spc="-50"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hasCustomPrompt="1"/>
          </p:nvPr>
        </p:nvSpPr>
        <p:spPr>
          <a:xfrm>
            <a:off x="5638880" y="1187621"/>
            <a:ext cx="5387457" cy="2703851"/>
          </a:xfrm>
        </p:spPr>
        <p:txBody>
          <a:bodyPr wrap="square">
            <a:spAutoFit/>
          </a:bodyPr>
          <a:lstStyle>
            <a:lvl1pPr marL="339726" indent="-339726">
              <a:spcBef>
                <a:spcPts val="1200"/>
              </a:spcBef>
              <a:buFont typeface="Wingdings" pitchFamily="2" charset="2"/>
              <a:buChar char=""/>
              <a:defRPr lang="en-US" sz="3921" kern="1200" spc="-70" baseline="0" dirty="0" smtClean="0">
                <a:gradFill>
                  <a:gsLst>
                    <a:gs pos="1250">
                      <a:schemeClr val="tx1"/>
                    </a:gs>
                    <a:gs pos="100000">
                      <a:schemeClr val="tx1"/>
                    </a:gs>
                  </a:gsLst>
                  <a:lin ang="5400000" scaled="0"/>
                </a:gradFill>
                <a:latin typeface="+mj-lt"/>
                <a:ea typeface="+mn-ea"/>
                <a:cs typeface="+mn-cs"/>
              </a:defRPr>
            </a:lvl1pPr>
            <a:lvl2pPr marL="635003" indent="-342901">
              <a:defRPr lang="en-US" sz="2353" kern="1200" spc="-50" baseline="0" dirty="0" smtClean="0">
                <a:gradFill>
                  <a:gsLst>
                    <a:gs pos="1250">
                      <a:schemeClr val="tx1"/>
                    </a:gs>
                    <a:gs pos="100000">
                      <a:schemeClr val="tx1"/>
                    </a:gs>
                  </a:gsLst>
                  <a:lin ang="5400000" scaled="0"/>
                </a:gradFill>
                <a:latin typeface="+mn-lt"/>
                <a:ea typeface="+mn-ea"/>
                <a:cs typeface="+mn-cs"/>
              </a:defRPr>
            </a:lvl2pPr>
            <a:lvl3pPr marL="863603" indent="-342901">
              <a:defRPr lang="en-US" sz="1961" kern="1200" spc="-50" baseline="0" dirty="0" smtClean="0">
                <a:gradFill>
                  <a:gsLst>
                    <a:gs pos="1250">
                      <a:schemeClr val="tx1"/>
                    </a:gs>
                    <a:gs pos="100000">
                      <a:schemeClr val="tx1"/>
                    </a:gs>
                  </a:gsLst>
                  <a:lin ang="5400000" scaled="0"/>
                </a:gradFill>
                <a:latin typeface="+mn-lt"/>
                <a:ea typeface="+mn-ea"/>
                <a:cs typeface="+mn-cs"/>
              </a:defRPr>
            </a:lvl3pPr>
            <a:lvl4pPr marL="1028704" indent="-342901">
              <a:defRPr lang="en-US" sz="1765" kern="1200" spc="-50" baseline="0" dirty="0" smtClean="0">
                <a:gradFill>
                  <a:gsLst>
                    <a:gs pos="1250">
                      <a:schemeClr val="tx1"/>
                    </a:gs>
                    <a:gs pos="100000">
                      <a:schemeClr val="tx1"/>
                    </a:gs>
                  </a:gsLst>
                  <a:lin ang="5400000" scaled="0"/>
                </a:gradFill>
                <a:latin typeface="+mn-lt"/>
                <a:ea typeface="+mn-ea"/>
                <a:cs typeface="+mn-cs"/>
              </a:defRPr>
            </a:lvl4pPr>
            <a:lvl5pPr marL="1206505" indent="-342901">
              <a:defRPr lang="en-US" sz="1765" kern="1200" spc="-50" baseline="0" dirty="0">
                <a:gradFill>
                  <a:gsLst>
                    <a:gs pos="1250">
                      <a:schemeClr val="tx1"/>
                    </a:gs>
                    <a:gs pos="100000">
                      <a:schemeClr val="tx1"/>
                    </a:gs>
                  </a:gsLst>
                  <a:lin ang="5400000" scaled="0"/>
                </a:gradFill>
                <a:latin typeface="+mn-lt"/>
                <a:ea typeface="+mn-ea"/>
                <a:cs typeface="+mn-cs"/>
              </a:defRPr>
            </a:lvl5pPr>
          </a:lstStyle>
          <a:p>
            <a:pPr marL="292101" marR="0" lvl="0" indent="-292101" algn="l" defTabSz="91436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dirty="0"/>
              <a:t>Click to edit master text styles</a:t>
            </a:r>
          </a:p>
          <a:p>
            <a:pPr marL="520702" marR="0" lvl="1" indent="-228601" algn="l" defTabSz="914367" rtl="0" eaLnBrk="1" fontAlgn="auto" latinLnBrk="0" hangingPunct="1">
              <a:lnSpc>
                <a:spcPct val="90000"/>
              </a:lnSpc>
              <a:spcBef>
                <a:spcPct val="20000"/>
              </a:spcBef>
              <a:spcAft>
                <a:spcPts val="0"/>
              </a:spcAft>
              <a:buClrTx/>
              <a:buSzPct val="90000"/>
              <a:buFont typeface="Wingdings" pitchFamily="2" charset="2"/>
              <a:buChar char=""/>
              <a:tabLst/>
            </a:pPr>
            <a:r>
              <a:rPr lang="en-US" dirty="0"/>
              <a:t>Second level</a:t>
            </a:r>
          </a:p>
          <a:p>
            <a:pPr marL="685803" marR="0" lvl="2" indent="-165101" algn="l" defTabSz="914367" rtl="0" eaLnBrk="1" fontAlgn="auto" latinLnBrk="0" hangingPunct="1">
              <a:lnSpc>
                <a:spcPct val="90000"/>
              </a:lnSpc>
              <a:spcBef>
                <a:spcPct val="20000"/>
              </a:spcBef>
              <a:spcAft>
                <a:spcPts val="0"/>
              </a:spcAft>
              <a:buClrTx/>
              <a:buSzPct val="90000"/>
              <a:buFont typeface="Wingdings" pitchFamily="2" charset="2"/>
              <a:buChar char=""/>
              <a:tabLst/>
            </a:pPr>
            <a:r>
              <a:rPr lang="en-US" dirty="0"/>
              <a:t>Third level</a:t>
            </a:r>
          </a:p>
          <a:p>
            <a:pPr marL="863603" marR="0" lvl="3" indent="-177801" algn="l" defTabSz="914367" rtl="0" eaLnBrk="1" fontAlgn="auto" latinLnBrk="0" hangingPunct="1">
              <a:lnSpc>
                <a:spcPct val="90000"/>
              </a:lnSpc>
              <a:spcBef>
                <a:spcPct val="20000"/>
              </a:spcBef>
              <a:spcAft>
                <a:spcPts val="0"/>
              </a:spcAft>
              <a:buClrTx/>
              <a:buSzPct val="90000"/>
              <a:buFont typeface="Wingdings" pitchFamily="2" charset="2"/>
              <a:buChar char=""/>
              <a:tabLst/>
            </a:pPr>
            <a:r>
              <a:rPr lang="en-US" dirty="0"/>
              <a:t>Fourth level</a:t>
            </a:r>
          </a:p>
          <a:p>
            <a:pPr marL="1028704" marR="0" lvl="4" indent="-165101" algn="l" defTabSz="914367" rtl="0" eaLnBrk="1" fontAlgn="auto" latinLnBrk="0" hangingPunct="1">
              <a:lnSpc>
                <a:spcPct val="90000"/>
              </a:lnSpc>
              <a:spcBef>
                <a:spcPct val="20000"/>
              </a:spcBef>
              <a:spcAft>
                <a:spcPts val="0"/>
              </a:spcAft>
              <a:buClrTx/>
              <a:buSzPct val="90000"/>
              <a:buFont typeface="Wingdings" pitchFamily="2" charset="2"/>
              <a:buChar char=""/>
              <a:tabLst/>
            </a:pPr>
            <a:r>
              <a:rPr lang="en-US" dirty="0"/>
              <a:t>Fifth level</a:t>
            </a:r>
          </a:p>
        </p:txBody>
      </p:sp>
    </p:spTree>
    <p:extLst>
      <p:ext uri="{BB962C8B-B14F-4D97-AF65-F5344CB8AC3E}">
        <p14:creationId xmlns:p14="http://schemas.microsoft.com/office/powerpoint/2010/main" val="340779384"/>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a:t>Click icon to add picture</a:t>
            </a:r>
            <a:endParaRPr lang="en-US" dirty="0"/>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1103442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alphaModFix amt="25000"/>
          </a:blip>
          <a:stretch>
            <a:fillRect/>
          </a:stretch>
        </p:blipFill>
        <p:spPr>
          <a:xfrm>
            <a:off x="10129913" y="1725569"/>
            <a:ext cx="1293759" cy="2689656"/>
          </a:xfrm>
          <a:prstGeom prst="rect">
            <a:avLst/>
          </a:prstGeom>
        </p:spPr>
      </p:pic>
    </p:spTree>
    <p:extLst>
      <p:ext uri="{BB962C8B-B14F-4D97-AF65-F5344CB8AC3E}">
        <p14:creationId xmlns:p14="http://schemas.microsoft.com/office/powerpoint/2010/main" val="1071426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1_Blank white">
    <p:bg>
      <p:bgPr>
        <a:solidFill>
          <a:schemeClr val="tx1"/>
        </a:solidFill>
        <a:effectLst/>
      </p:bgPr>
    </p:bg>
    <p:spTree>
      <p:nvGrpSpPr>
        <p:cNvPr id="1" name=""/>
        <p:cNvGrpSpPr/>
        <p:nvPr/>
      </p:nvGrpSpPr>
      <p:grpSpPr>
        <a:xfrm>
          <a:off x="0" y="0"/>
          <a:ext cx="0" cy="0"/>
          <a:chOff x="0" y="0"/>
          <a:chExt cx="0" cy="0"/>
        </a:xfrm>
      </p:grpSpPr>
      <p:sp>
        <p:nvSpPr>
          <p:cNvPr id="4" name="Rectangle 3"/>
          <p:cNvSpPr/>
          <p:nvPr userDrawn="1"/>
        </p:nvSpPr>
        <p:spPr bwMode="invGray">
          <a:xfrm>
            <a:off x="8228257" y="6629345"/>
            <a:ext cx="3963119" cy="22865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5" name="Group 4"/>
          <p:cNvGrpSpPr/>
          <p:nvPr userDrawn="1"/>
        </p:nvGrpSpPr>
        <p:grpSpPr>
          <a:xfrm>
            <a:off x="10056835" y="1725570"/>
            <a:ext cx="1531261" cy="2740709"/>
            <a:chOff x="10258495" y="1759921"/>
            <a:chExt cx="1561966" cy="2795269"/>
          </a:xfrm>
        </p:grpSpPr>
        <p:sp>
          <p:nvSpPr>
            <p:cNvPr id="6" name="TextBox 5"/>
            <p:cNvSpPr txBox="1"/>
            <p:nvPr userDrawn="1"/>
          </p:nvSpPr>
          <p:spPr>
            <a:xfrm>
              <a:off x="10312997" y="1773319"/>
              <a:ext cx="1507464" cy="1514261"/>
            </a:xfrm>
            <a:prstGeom prst="rect">
              <a:avLst/>
            </a:prstGeom>
            <a:noFill/>
          </p:spPr>
          <p:txBody>
            <a:bodyPr wrap="none" lIns="182880" tIns="146304" rIns="182880" bIns="146304"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8627" b="0" i="0" u="none" strike="noStrike" kern="1200" cap="none" spc="-98" normalizeH="0" baseline="0" noProof="0" dirty="0">
                  <a:ln w="3175">
                    <a:noFill/>
                  </a:ln>
                  <a:solidFill>
                    <a:srgbClr val="002050"/>
                  </a:solidFill>
                  <a:effectLst/>
                  <a:uLnTx/>
                  <a:uFillTx/>
                  <a:latin typeface="Segoe UI Light"/>
                  <a:ea typeface="+mn-ea"/>
                  <a:cs typeface="Segoe UI" pitchFamily="34" charset="0"/>
                </a:rPr>
                <a:t>20</a:t>
              </a:r>
            </a:p>
          </p:txBody>
        </p:sp>
        <p:sp>
          <p:nvSpPr>
            <p:cNvPr id="7" name="TextBox 6"/>
            <p:cNvSpPr txBox="1"/>
            <p:nvPr userDrawn="1"/>
          </p:nvSpPr>
          <p:spPr>
            <a:xfrm>
              <a:off x="10258495" y="3040929"/>
              <a:ext cx="1561966" cy="1514261"/>
            </a:xfrm>
            <a:prstGeom prst="rect">
              <a:avLst/>
            </a:prstGeom>
            <a:noFill/>
          </p:spPr>
          <p:txBody>
            <a:bodyPr wrap="none" lIns="182880" tIns="146304" rIns="182880" bIns="146304"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8627" b="0" i="0" u="none" strike="noStrike" kern="1200" cap="none" spc="-98" normalizeH="0" baseline="0" noProof="0" dirty="0">
                  <a:ln w="3175">
                    <a:noFill/>
                  </a:ln>
                  <a:solidFill>
                    <a:srgbClr val="002050"/>
                  </a:solidFill>
                  <a:effectLst/>
                  <a:uLnTx/>
                  <a:uFillTx/>
                  <a:latin typeface="Segoe UI"/>
                  <a:ea typeface="+mn-ea"/>
                  <a:cs typeface="Segoe UI" pitchFamily="34" charset="0"/>
                </a:rPr>
                <a:t>14</a:t>
              </a:r>
            </a:p>
          </p:txBody>
        </p:sp>
        <p:cxnSp>
          <p:nvCxnSpPr>
            <p:cNvPr id="8" name="Straight Connector 7"/>
            <p:cNvCxnSpPr/>
            <p:nvPr userDrawn="1"/>
          </p:nvCxnSpPr>
          <p:spPr>
            <a:xfrm>
              <a:off x="10333038" y="1759921"/>
              <a:ext cx="0" cy="2743200"/>
            </a:xfrm>
            <a:prstGeom prst="line">
              <a:avLst/>
            </a:prstGeom>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10333039" y="3116262"/>
              <a:ext cx="1487422" cy="0"/>
            </a:xfrm>
            <a:prstGeom prst="line">
              <a:avLst/>
            </a:prstGeom>
            <a:ln w="317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74297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invGray">
          <a:xfrm>
            <a:off x="8228257" y="6629345"/>
            <a:ext cx="3963119" cy="22865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334353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Rectangle 1"/>
          <p:cNvSpPr/>
          <p:nvPr userDrawn="1"/>
        </p:nvSpPr>
        <p:spPr bwMode="invGray">
          <a:xfrm>
            <a:off x="8228257" y="6629345"/>
            <a:ext cx="3963119" cy="22865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772274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Rectangle 1"/>
          <p:cNvSpPr/>
          <p:nvPr userDrawn="1"/>
        </p:nvSpPr>
        <p:spPr bwMode="invGray">
          <a:xfrm>
            <a:off x="8228257" y="6629345"/>
            <a:ext cx="3963119" cy="22865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151443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1_Blank Accent Color 4">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1525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2_Blank accent white">
    <p:bg>
      <p:bgPr>
        <a:solidFill>
          <a:schemeClr val="tx1"/>
        </a:solidFill>
        <a:effectLst/>
      </p:bgPr>
    </p:bg>
    <p:spTree>
      <p:nvGrpSpPr>
        <p:cNvPr id="1" name=""/>
        <p:cNvGrpSpPr/>
        <p:nvPr/>
      </p:nvGrpSpPr>
      <p:grpSpPr>
        <a:xfrm>
          <a:off x="0" y="0"/>
          <a:ext cx="0" cy="0"/>
          <a:chOff x="0" y="0"/>
          <a:chExt cx="0" cy="0"/>
        </a:xfrm>
      </p:grpSpPr>
      <p:sp>
        <p:nvSpPr>
          <p:cNvPr id="4" name="Rectangle 3"/>
          <p:cNvSpPr/>
          <p:nvPr userDrawn="1"/>
        </p:nvSpPr>
        <p:spPr bwMode="invGray">
          <a:xfrm>
            <a:off x="8228257" y="6629345"/>
            <a:ext cx="3963119" cy="22865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547756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227310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Title Slide_Option 2">
    <p:bg>
      <p:bgPr>
        <a:solidFill>
          <a:schemeClr val="bg1">
            <a:lumMod val="50000"/>
          </a:schemeClr>
        </a:solidFill>
        <a:effectLst/>
      </p:bgPr>
    </p:bg>
    <p:spTree>
      <p:nvGrpSpPr>
        <p:cNvPr id="1" name=""/>
        <p:cNvGrpSpPr/>
        <p:nvPr/>
      </p:nvGrpSpPr>
      <p:grpSpPr>
        <a:xfrm>
          <a:off x="0" y="0"/>
          <a:ext cx="0" cy="0"/>
          <a:chOff x="0" y="0"/>
          <a:chExt cx="0" cy="0"/>
        </a:xfrm>
      </p:grpSpPr>
      <p:sp>
        <p:nvSpPr>
          <p:cNvPr id="8" name="Freeform 6"/>
          <p:cNvSpPr>
            <a:spLocks noChangeAspect="1" noEditPoints="1"/>
          </p:cNvSpPr>
          <p:nvPr userDrawn="1"/>
        </p:nvSpPr>
        <p:spPr bwMode="auto">
          <a:xfrm>
            <a:off x="624" y="-3504"/>
            <a:ext cx="12191377" cy="6861505"/>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19396C"/>
          </a:solidFill>
          <a:ln>
            <a:noFill/>
          </a:ln>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title" hasCustomPrompt="1"/>
          </p:nvPr>
        </p:nvSpPr>
        <p:spPr>
          <a:xfrm>
            <a:off x="5647788" y="1187622"/>
            <a:ext cx="6274974" cy="2136022"/>
          </a:xfrm>
        </p:spPr>
        <p:txBody>
          <a:bodyPr wrap="square" anchor="t" anchorCtr="0">
            <a:spAutoFit/>
          </a:bodyPr>
          <a:lstStyle>
            <a:lvl1pPr>
              <a:defRPr sz="7056" spc="-150" baseline="0">
                <a:gradFill>
                  <a:gsLst>
                    <a:gs pos="22083">
                      <a:schemeClr val="tx1"/>
                    </a:gs>
                    <a:gs pos="42000">
                      <a:schemeClr val="tx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5647788" y="3877278"/>
            <a:ext cx="6274974" cy="615483"/>
          </a:xfrm>
        </p:spPr>
        <p:txBody>
          <a:bodyPr wrap="square">
            <a:spAutoFit/>
          </a:bodyPr>
          <a:lstStyle>
            <a:lvl1pPr marL="0" indent="0">
              <a:spcBef>
                <a:spcPts val="0"/>
              </a:spcBef>
              <a:buNone/>
              <a:defRPr sz="3136" spc="-70" baseline="0">
                <a:gradFill>
                  <a:gsLst>
                    <a:gs pos="22083">
                      <a:schemeClr val="tx1"/>
                    </a:gs>
                    <a:gs pos="42000">
                      <a:schemeClr val="tx1"/>
                    </a:gs>
                  </a:gsLst>
                  <a:lin ang="5400000" scaled="0"/>
                </a:gradFill>
                <a:latin typeface="+mj-lt"/>
              </a:defRPr>
            </a:lvl1pPr>
          </a:lstStyle>
          <a:p>
            <a:pPr lvl="0"/>
            <a:r>
              <a:rPr lang="en-US" dirty="0"/>
              <a:t>Speaker title</a:t>
            </a:r>
          </a:p>
        </p:txBody>
      </p:sp>
      <p:sp>
        <p:nvSpPr>
          <p:cNvPr id="17" name="Freeform 5"/>
          <p:cNvSpPr>
            <a:spLocks noEditPoints="1"/>
          </p:cNvSpPr>
          <p:nvPr userDrawn="1"/>
        </p:nvSpPr>
        <p:spPr bwMode="black">
          <a:xfrm>
            <a:off x="1702838" y="1570216"/>
            <a:ext cx="3001964" cy="4623154"/>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1"/>
          </a:solidFill>
          <a:ln w="10795" cap="flat" cmpd="sng" algn="ctr">
            <a:noFill/>
            <a:prstDash val="solid"/>
            <a:headEnd type="none" w="med" len="med"/>
            <a:tailEnd type="none" w="med" len="med"/>
          </a:ln>
          <a:effectLst/>
          <a:ex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895919" rtl="0" eaLnBrk="1" fontAlgn="base" latinLnBrk="0" hangingPunct="1">
              <a:lnSpc>
                <a:spcPct val="90000"/>
              </a:lnSpc>
              <a:spcBef>
                <a:spcPct val="0"/>
              </a:spcBef>
              <a:spcAft>
                <a:spcPct val="0"/>
              </a:spcAft>
              <a:buClrTx/>
              <a:buSzTx/>
              <a:buFontTx/>
              <a:buNone/>
              <a:tabLst/>
              <a:defRPr/>
            </a:pPr>
            <a:endParaRPr kumimoji="0" lang="en-US" sz="1961" b="0" i="0" u="none" strike="noStrike" kern="0" cap="none" spc="-49" normalizeH="0" baseline="0" noProof="0">
              <a:ln>
                <a:noFill/>
              </a:ln>
              <a:gradFill>
                <a:gsLst>
                  <a:gs pos="1250">
                    <a:srgbClr val="EFEFEF"/>
                  </a:gs>
                  <a:gs pos="10417">
                    <a:srgbClr val="EFEFE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4619164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173">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86381"/>
            <a:ext cx="11151917" cy="927940"/>
          </a:xfrm>
        </p:spPr>
        <p:txBody>
          <a:bodyPr/>
          <a:lstStyle/>
          <a:p>
            <a:r>
              <a:rPr lang="en-US" dirty="0"/>
              <a:t>Click to edit master title style</a:t>
            </a:r>
          </a:p>
        </p:txBody>
      </p:sp>
      <p:sp>
        <p:nvSpPr>
          <p:cNvPr id="6" name="Text Placeholder 5"/>
          <p:cNvSpPr>
            <a:spLocks noGrp="1"/>
          </p:cNvSpPr>
          <p:nvPr>
            <p:ph type="body" sz="quarter" idx="11" hasCustomPrompt="1"/>
          </p:nvPr>
        </p:nvSpPr>
        <p:spPr>
          <a:xfrm>
            <a:off x="269239" y="1187621"/>
            <a:ext cx="5378549" cy="2697815"/>
          </a:xfrm>
        </p:spPr>
        <p:txBody>
          <a:bodyPr>
            <a:spAutoFit/>
          </a:bodyPr>
          <a:lstStyle>
            <a:lvl1pPr marL="0" indent="0">
              <a:spcBef>
                <a:spcPts val="1200"/>
              </a:spcBef>
              <a:buNone/>
              <a:defRPr sz="3921">
                <a:gradFill>
                  <a:gsLst>
                    <a:gs pos="100000">
                      <a:schemeClr val="tx2"/>
                    </a:gs>
                    <a:gs pos="0">
                      <a:schemeClr val="tx2"/>
                    </a:gs>
                  </a:gsLst>
                  <a:lin ang="5400000" scaled="0"/>
                </a:gradFill>
                <a:latin typeface="+mj-lt"/>
              </a:defRPr>
            </a:lvl1pPr>
            <a:lvl2pPr marL="0" indent="0">
              <a:buNone/>
              <a:defRPr sz="1961" spc="-50" baseline="0"/>
            </a:lvl2pPr>
            <a:lvl3pPr marL="233364" indent="0">
              <a:buNone/>
              <a:defRPr sz="1961" spc="-50" baseline="0"/>
            </a:lvl3pPr>
            <a:lvl4pPr marL="457202" indent="0">
              <a:buNone/>
              <a:defRPr sz="1765" spc="-50" baseline="0"/>
            </a:lvl4pPr>
            <a:lvl5pPr marL="693741" indent="0">
              <a:buNone/>
              <a:defRPr sz="1765" spc="-50"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hasCustomPrompt="1"/>
          </p:nvPr>
        </p:nvSpPr>
        <p:spPr>
          <a:xfrm>
            <a:off x="5647788" y="1187621"/>
            <a:ext cx="5396366" cy="2642775"/>
          </a:xfrm>
        </p:spPr>
        <p:txBody>
          <a:bodyPr>
            <a:spAutoFit/>
          </a:bodyPr>
          <a:lstStyle>
            <a:lvl1pPr marL="0" indent="0">
              <a:spcBef>
                <a:spcPts val="1200"/>
              </a:spcBef>
              <a:buNone/>
              <a:defRPr lang="en-US" sz="3921"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50" baseline="0" dirty="0" smtClean="0">
                <a:gradFill>
                  <a:gsLst>
                    <a:gs pos="1250">
                      <a:schemeClr val="tx1"/>
                    </a:gs>
                    <a:gs pos="100000">
                      <a:schemeClr val="tx1"/>
                    </a:gs>
                  </a:gsLst>
                  <a:lin ang="5400000" scaled="0"/>
                </a:gradFill>
                <a:latin typeface="+mn-lt"/>
                <a:ea typeface="+mn-ea"/>
                <a:cs typeface="+mn-cs"/>
              </a:defRPr>
            </a:lvl2pPr>
            <a:lvl3pPr marL="233364"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50" baseline="0" dirty="0" smtClean="0">
                <a:gradFill>
                  <a:gsLst>
                    <a:gs pos="1250">
                      <a:schemeClr val="tx1"/>
                    </a:gs>
                    <a:gs pos="100000">
                      <a:schemeClr val="tx1"/>
                    </a:gs>
                  </a:gsLst>
                  <a:lin ang="5400000" scaled="0"/>
                </a:gradFill>
                <a:latin typeface="+mn-lt"/>
                <a:ea typeface="+mn-ea"/>
                <a:cs typeface="+mn-cs"/>
              </a:defRPr>
            </a:lvl3pPr>
            <a:lvl4pPr marL="460377"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765" kern="1200" spc="-50" baseline="0" dirty="0" smtClean="0">
                <a:gradFill>
                  <a:gsLst>
                    <a:gs pos="1250">
                      <a:schemeClr val="tx1"/>
                    </a:gs>
                    <a:gs pos="100000">
                      <a:schemeClr val="tx1"/>
                    </a:gs>
                  </a:gsLst>
                  <a:lin ang="5400000" scaled="0"/>
                </a:gradFill>
                <a:latin typeface="+mn-lt"/>
                <a:ea typeface="+mn-ea"/>
                <a:cs typeface="+mn-cs"/>
              </a:defRPr>
            </a:lvl4pPr>
            <a:lvl5pPr marL="6873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765" kern="1200" spc="-50" baseline="0" dirty="0">
                <a:gradFill>
                  <a:gsLst>
                    <a:gs pos="1250">
                      <a:schemeClr val="tx1"/>
                    </a:gs>
                    <a:gs pos="100000">
                      <a:schemeClr val="tx1"/>
                    </a:gs>
                  </a:gsLst>
                  <a:lin ang="5400000" scaled="0"/>
                </a:gradFill>
                <a:latin typeface="+mn-lt"/>
                <a:ea typeface="+mn-ea"/>
                <a:cs typeface="+mn-cs"/>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71664337"/>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type="title" preserve="1">
  <p:cSld name="제목 슬라이드">
    <p:spTree>
      <p:nvGrpSpPr>
        <p:cNvPr id="1" name=""/>
        <p:cNvGrpSpPr/>
        <p:nvPr/>
      </p:nvGrpSpPr>
      <p:grpSpPr>
        <a:xfrm>
          <a:off x="0" y="0"/>
          <a:ext cx="0" cy="0"/>
          <a:chOff x="0" y="0"/>
          <a:chExt cx="0" cy="0"/>
        </a:xfrm>
      </p:grpSpPr>
      <p:sp>
        <p:nvSpPr>
          <p:cNvPr id="2" name="제목 1"/>
          <p:cNvSpPr>
            <a:spLocks noGrp="1"/>
          </p:cNvSpPr>
          <p:nvPr>
            <p:ph type="ctrTitle"/>
          </p:nvPr>
        </p:nvSpPr>
        <p:spPr>
          <a:xfrm>
            <a:off x="1524000" y="1122363"/>
            <a:ext cx="9144000" cy="2387600"/>
          </a:xfrm>
        </p:spPr>
        <p:txBody>
          <a:bodyPr anchor="b"/>
          <a:lstStyle>
            <a:lvl1pPr algn="ctr">
              <a:defRPr sz="6000"/>
            </a:lvl1pPr>
          </a:lstStyle>
          <a:p>
            <a:r>
              <a:rPr lang="ko-KR" altLang="en-US"/>
              <a:t>마스터 제목 스타일 편집</a:t>
            </a:r>
          </a:p>
        </p:txBody>
      </p:sp>
      <p:sp>
        <p:nvSpPr>
          <p:cNvPr id="3" name="부제목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ko-KR" altLang="en-US"/>
              <a:t>클릭하여 마스터 부제목 스타일 편집</a:t>
            </a:r>
          </a:p>
        </p:txBody>
      </p:sp>
      <p:sp>
        <p:nvSpPr>
          <p:cNvPr id="4" name="날짜 개체 틀 3"/>
          <p:cNvSpPr>
            <a:spLocks noGrp="1"/>
          </p:cNvSpPr>
          <p:nvPr>
            <p:ph type="dt" sz="half" idx="10"/>
          </p:nvPr>
        </p:nvSpPr>
        <p:spPr/>
        <p:txBody>
          <a:bodyPr/>
          <a:lstStyle/>
          <a:p>
            <a:fld id="{CBDF9506-ED22-417D-BC6C-24F890DEF661}" type="datetimeFigureOut">
              <a:rPr lang="ko-KR" altLang="en-US" smtClean="0"/>
              <a:t>2016-09-20</a:t>
            </a:fld>
            <a:endParaRPr lang="ko-KR" altLang="en-US"/>
          </a:p>
        </p:txBody>
      </p:sp>
      <p:sp>
        <p:nvSpPr>
          <p:cNvPr id="5" name="바닥글 개체 틀 4"/>
          <p:cNvSpPr>
            <a:spLocks noGrp="1"/>
          </p:cNvSpPr>
          <p:nvPr>
            <p:ph type="ftr" sz="quarter" idx="11"/>
          </p:nvPr>
        </p:nvSpPr>
        <p:spPr/>
        <p:txBody>
          <a:bodyPr/>
          <a:lstStyle/>
          <a:p>
            <a:endParaRPr lang="ko-KR" altLang="en-US"/>
          </a:p>
        </p:txBody>
      </p:sp>
      <p:sp>
        <p:nvSpPr>
          <p:cNvPr id="6" name="슬라이드 번호 개체 틀 5"/>
          <p:cNvSpPr>
            <a:spLocks noGrp="1"/>
          </p:cNvSpPr>
          <p:nvPr>
            <p:ph type="sldNum" sz="quarter" idx="12"/>
          </p:nvPr>
        </p:nvSpPr>
        <p:spPr/>
        <p:txBody>
          <a:bodyPr/>
          <a:lstStyle/>
          <a:p>
            <a:fld id="{F58B6ACC-E7CD-44D3-84AE-CDDCD430B75D}" type="slidenum">
              <a:rPr lang="ko-KR" altLang="en-US" smtClean="0"/>
              <a:t>‹#›</a:t>
            </a:fld>
            <a:endParaRPr lang="ko-KR" altLang="en-US"/>
          </a:p>
        </p:txBody>
      </p:sp>
    </p:spTree>
    <p:extLst>
      <p:ext uri="{BB962C8B-B14F-4D97-AF65-F5344CB8AC3E}">
        <p14:creationId xmlns:p14="http://schemas.microsoft.com/office/powerpoint/2010/main" val="610114310"/>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type="obj" preserve="1">
  <p:cSld name="제목 및 내용">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ko-KR" altLang="en-US"/>
              <a:t>마스터 제목 스타일 편집</a:t>
            </a:r>
          </a:p>
        </p:txBody>
      </p:sp>
      <p:sp>
        <p:nvSpPr>
          <p:cNvPr id="3" name="내용 개체 틀 2"/>
          <p:cNvSpPr>
            <a:spLocks noGrp="1"/>
          </p:cNvSpPr>
          <p:nvPr>
            <p:ph idx="1"/>
          </p:nvPr>
        </p:nvSpPr>
        <p:spPr/>
        <p:txBody>
          <a:bodyPr/>
          <a:lstStyle/>
          <a:p>
            <a:pPr lvl="0"/>
            <a:r>
              <a:rPr lang="ko-KR" altLang="en-US"/>
              <a:t>마스터 텍스트 스타일 편집</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4" name="날짜 개체 틀 3"/>
          <p:cNvSpPr>
            <a:spLocks noGrp="1"/>
          </p:cNvSpPr>
          <p:nvPr>
            <p:ph type="dt" sz="half" idx="10"/>
          </p:nvPr>
        </p:nvSpPr>
        <p:spPr/>
        <p:txBody>
          <a:bodyPr/>
          <a:lstStyle/>
          <a:p>
            <a:fld id="{CBDF9506-ED22-417D-BC6C-24F890DEF661}" type="datetimeFigureOut">
              <a:rPr lang="ko-KR" altLang="en-US" smtClean="0"/>
              <a:t>2016-09-20</a:t>
            </a:fld>
            <a:endParaRPr lang="ko-KR" altLang="en-US"/>
          </a:p>
        </p:txBody>
      </p:sp>
      <p:sp>
        <p:nvSpPr>
          <p:cNvPr id="5" name="바닥글 개체 틀 4"/>
          <p:cNvSpPr>
            <a:spLocks noGrp="1"/>
          </p:cNvSpPr>
          <p:nvPr>
            <p:ph type="ftr" sz="quarter" idx="11"/>
          </p:nvPr>
        </p:nvSpPr>
        <p:spPr/>
        <p:txBody>
          <a:bodyPr/>
          <a:lstStyle/>
          <a:p>
            <a:endParaRPr lang="ko-KR" altLang="en-US"/>
          </a:p>
        </p:txBody>
      </p:sp>
      <p:sp>
        <p:nvSpPr>
          <p:cNvPr id="6" name="슬라이드 번호 개체 틀 5"/>
          <p:cNvSpPr>
            <a:spLocks noGrp="1"/>
          </p:cNvSpPr>
          <p:nvPr>
            <p:ph type="sldNum" sz="quarter" idx="12"/>
          </p:nvPr>
        </p:nvSpPr>
        <p:spPr/>
        <p:txBody>
          <a:bodyPr/>
          <a:lstStyle/>
          <a:p>
            <a:fld id="{F58B6ACC-E7CD-44D3-84AE-CDDCD430B75D}" type="slidenum">
              <a:rPr lang="ko-KR" altLang="en-US" smtClean="0"/>
              <a:t>‹#›</a:t>
            </a:fld>
            <a:endParaRPr lang="ko-KR" altLang="en-US"/>
          </a:p>
        </p:txBody>
      </p:sp>
    </p:spTree>
    <p:extLst>
      <p:ext uri="{BB962C8B-B14F-4D97-AF65-F5344CB8AC3E}">
        <p14:creationId xmlns:p14="http://schemas.microsoft.com/office/powerpoint/2010/main" val="3445538652"/>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type="secHead" preserve="1">
  <p:cSld name="구역 머리글">
    <p:spTree>
      <p:nvGrpSpPr>
        <p:cNvPr id="1" name=""/>
        <p:cNvGrpSpPr/>
        <p:nvPr/>
      </p:nvGrpSpPr>
      <p:grpSpPr>
        <a:xfrm>
          <a:off x="0" y="0"/>
          <a:ext cx="0" cy="0"/>
          <a:chOff x="0" y="0"/>
          <a:chExt cx="0" cy="0"/>
        </a:xfrm>
      </p:grpSpPr>
      <p:sp>
        <p:nvSpPr>
          <p:cNvPr id="2" name="제목 1"/>
          <p:cNvSpPr>
            <a:spLocks noGrp="1"/>
          </p:cNvSpPr>
          <p:nvPr>
            <p:ph type="title"/>
          </p:nvPr>
        </p:nvSpPr>
        <p:spPr>
          <a:xfrm>
            <a:off x="831850" y="1709738"/>
            <a:ext cx="10515600" cy="2852737"/>
          </a:xfrm>
        </p:spPr>
        <p:txBody>
          <a:bodyPr anchor="b"/>
          <a:lstStyle>
            <a:lvl1pPr>
              <a:defRPr sz="6000"/>
            </a:lvl1pPr>
          </a:lstStyle>
          <a:p>
            <a:r>
              <a:rPr lang="ko-KR" altLang="en-US"/>
              <a:t>마스터 제목 스타일 편집</a:t>
            </a:r>
          </a:p>
        </p:txBody>
      </p:sp>
      <p:sp>
        <p:nvSpPr>
          <p:cNvPr id="3" name="텍스트 개체 틀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ko-KR" altLang="en-US"/>
              <a:t>마스터 텍스트 스타일 편집</a:t>
            </a:r>
          </a:p>
        </p:txBody>
      </p:sp>
      <p:sp>
        <p:nvSpPr>
          <p:cNvPr id="4" name="날짜 개체 틀 3"/>
          <p:cNvSpPr>
            <a:spLocks noGrp="1"/>
          </p:cNvSpPr>
          <p:nvPr>
            <p:ph type="dt" sz="half" idx="10"/>
          </p:nvPr>
        </p:nvSpPr>
        <p:spPr/>
        <p:txBody>
          <a:bodyPr/>
          <a:lstStyle/>
          <a:p>
            <a:fld id="{CBDF9506-ED22-417D-BC6C-24F890DEF661}" type="datetimeFigureOut">
              <a:rPr lang="ko-KR" altLang="en-US" smtClean="0"/>
              <a:t>2016-09-20</a:t>
            </a:fld>
            <a:endParaRPr lang="ko-KR" altLang="en-US"/>
          </a:p>
        </p:txBody>
      </p:sp>
      <p:sp>
        <p:nvSpPr>
          <p:cNvPr id="5" name="바닥글 개체 틀 4"/>
          <p:cNvSpPr>
            <a:spLocks noGrp="1"/>
          </p:cNvSpPr>
          <p:nvPr>
            <p:ph type="ftr" sz="quarter" idx="11"/>
          </p:nvPr>
        </p:nvSpPr>
        <p:spPr/>
        <p:txBody>
          <a:bodyPr/>
          <a:lstStyle/>
          <a:p>
            <a:endParaRPr lang="ko-KR" altLang="en-US"/>
          </a:p>
        </p:txBody>
      </p:sp>
      <p:sp>
        <p:nvSpPr>
          <p:cNvPr id="6" name="슬라이드 번호 개체 틀 5"/>
          <p:cNvSpPr>
            <a:spLocks noGrp="1"/>
          </p:cNvSpPr>
          <p:nvPr>
            <p:ph type="sldNum" sz="quarter" idx="12"/>
          </p:nvPr>
        </p:nvSpPr>
        <p:spPr/>
        <p:txBody>
          <a:bodyPr/>
          <a:lstStyle/>
          <a:p>
            <a:fld id="{F58B6ACC-E7CD-44D3-84AE-CDDCD430B75D}" type="slidenum">
              <a:rPr lang="ko-KR" altLang="en-US" smtClean="0"/>
              <a:t>‹#›</a:t>
            </a:fld>
            <a:endParaRPr lang="ko-KR" altLang="en-US"/>
          </a:p>
        </p:txBody>
      </p:sp>
    </p:spTree>
    <p:extLst>
      <p:ext uri="{BB962C8B-B14F-4D97-AF65-F5344CB8AC3E}">
        <p14:creationId xmlns:p14="http://schemas.microsoft.com/office/powerpoint/2010/main" val="2314064112"/>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type="twoObj" preserve="1">
  <p:cSld name="콘텐츠 2개">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ko-KR" altLang="en-US"/>
              <a:t>마스터 제목 스타일 편집</a:t>
            </a:r>
          </a:p>
        </p:txBody>
      </p:sp>
      <p:sp>
        <p:nvSpPr>
          <p:cNvPr id="3" name="내용 개체 틀 2"/>
          <p:cNvSpPr>
            <a:spLocks noGrp="1"/>
          </p:cNvSpPr>
          <p:nvPr>
            <p:ph sz="half" idx="1"/>
          </p:nvPr>
        </p:nvSpPr>
        <p:spPr>
          <a:xfrm>
            <a:off x="838200" y="1825625"/>
            <a:ext cx="5181600" cy="4351338"/>
          </a:xfrm>
        </p:spPr>
        <p:txBody>
          <a:bodyPr/>
          <a:lstStyle/>
          <a:p>
            <a:pPr lvl="0"/>
            <a:r>
              <a:rPr lang="ko-KR" altLang="en-US"/>
              <a:t>마스터 텍스트 스타일 편집</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4" name="내용 개체 틀 3"/>
          <p:cNvSpPr>
            <a:spLocks noGrp="1"/>
          </p:cNvSpPr>
          <p:nvPr>
            <p:ph sz="half" idx="2"/>
          </p:nvPr>
        </p:nvSpPr>
        <p:spPr>
          <a:xfrm>
            <a:off x="6172200" y="1825625"/>
            <a:ext cx="5181600" cy="4351338"/>
          </a:xfrm>
        </p:spPr>
        <p:txBody>
          <a:bodyPr/>
          <a:lstStyle/>
          <a:p>
            <a:pPr lvl="0"/>
            <a:r>
              <a:rPr lang="ko-KR" altLang="en-US"/>
              <a:t>마스터 텍스트 스타일 편집</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5" name="날짜 개체 틀 4"/>
          <p:cNvSpPr>
            <a:spLocks noGrp="1"/>
          </p:cNvSpPr>
          <p:nvPr>
            <p:ph type="dt" sz="half" idx="10"/>
          </p:nvPr>
        </p:nvSpPr>
        <p:spPr/>
        <p:txBody>
          <a:bodyPr/>
          <a:lstStyle/>
          <a:p>
            <a:fld id="{CBDF9506-ED22-417D-BC6C-24F890DEF661}" type="datetimeFigureOut">
              <a:rPr lang="ko-KR" altLang="en-US" smtClean="0"/>
              <a:t>2016-09-20</a:t>
            </a:fld>
            <a:endParaRPr lang="ko-KR" altLang="en-US"/>
          </a:p>
        </p:txBody>
      </p:sp>
      <p:sp>
        <p:nvSpPr>
          <p:cNvPr id="6" name="바닥글 개체 틀 5"/>
          <p:cNvSpPr>
            <a:spLocks noGrp="1"/>
          </p:cNvSpPr>
          <p:nvPr>
            <p:ph type="ftr" sz="quarter" idx="11"/>
          </p:nvPr>
        </p:nvSpPr>
        <p:spPr/>
        <p:txBody>
          <a:bodyPr/>
          <a:lstStyle/>
          <a:p>
            <a:endParaRPr lang="ko-KR" altLang="en-US"/>
          </a:p>
        </p:txBody>
      </p:sp>
      <p:sp>
        <p:nvSpPr>
          <p:cNvPr id="7" name="슬라이드 번호 개체 틀 6"/>
          <p:cNvSpPr>
            <a:spLocks noGrp="1"/>
          </p:cNvSpPr>
          <p:nvPr>
            <p:ph type="sldNum" sz="quarter" idx="12"/>
          </p:nvPr>
        </p:nvSpPr>
        <p:spPr/>
        <p:txBody>
          <a:bodyPr/>
          <a:lstStyle/>
          <a:p>
            <a:fld id="{F58B6ACC-E7CD-44D3-84AE-CDDCD430B75D}" type="slidenum">
              <a:rPr lang="ko-KR" altLang="en-US" smtClean="0"/>
              <a:t>‹#›</a:t>
            </a:fld>
            <a:endParaRPr lang="ko-KR" altLang="en-US"/>
          </a:p>
        </p:txBody>
      </p:sp>
    </p:spTree>
    <p:extLst>
      <p:ext uri="{BB962C8B-B14F-4D97-AF65-F5344CB8AC3E}">
        <p14:creationId xmlns:p14="http://schemas.microsoft.com/office/powerpoint/2010/main" val="511861989"/>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type="twoTxTwoObj" preserve="1">
  <p:cSld name="비교">
    <p:spTree>
      <p:nvGrpSpPr>
        <p:cNvPr id="1" name=""/>
        <p:cNvGrpSpPr/>
        <p:nvPr/>
      </p:nvGrpSpPr>
      <p:grpSpPr>
        <a:xfrm>
          <a:off x="0" y="0"/>
          <a:ext cx="0" cy="0"/>
          <a:chOff x="0" y="0"/>
          <a:chExt cx="0" cy="0"/>
        </a:xfrm>
      </p:grpSpPr>
      <p:sp>
        <p:nvSpPr>
          <p:cNvPr id="2" name="제목 1"/>
          <p:cNvSpPr>
            <a:spLocks noGrp="1"/>
          </p:cNvSpPr>
          <p:nvPr>
            <p:ph type="title"/>
          </p:nvPr>
        </p:nvSpPr>
        <p:spPr>
          <a:xfrm>
            <a:off x="839788" y="365125"/>
            <a:ext cx="10515600" cy="1325563"/>
          </a:xfrm>
        </p:spPr>
        <p:txBody>
          <a:bodyPr/>
          <a:lstStyle/>
          <a:p>
            <a:r>
              <a:rPr lang="ko-KR" altLang="en-US"/>
              <a:t>마스터 제목 스타일 편집</a:t>
            </a:r>
          </a:p>
        </p:txBody>
      </p:sp>
      <p:sp>
        <p:nvSpPr>
          <p:cNvPr id="3" name="텍스트 개체 틀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ko-KR" altLang="en-US"/>
              <a:t>마스터 텍스트 스타일 편집</a:t>
            </a:r>
          </a:p>
        </p:txBody>
      </p:sp>
      <p:sp>
        <p:nvSpPr>
          <p:cNvPr id="4" name="내용 개체 틀 3"/>
          <p:cNvSpPr>
            <a:spLocks noGrp="1"/>
          </p:cNvSpPr>
          <p:nvPr>
            <p:ph sz="half" idx="2"/>
          </p:nvPr>
        </p:nvSpPr>
        <p:spPr>
          <a:xfrm>
            <a:off x="839788" y="2505075"/>
            <a:ext cx="5157787" cy="3684588"/>
          </a:xfrm>
        </p:spPr>
        <p:txBody>
          <a:bodyPr/>
          <a:lstStyle/>
          <a:p>
            <a:pPr lvl="0"/>
            <a:r>
              <a:rPr lang="ko-KR" altLang="en-US"/>
              <a:t>마스터 텍스트 스타일 편집</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5" name="텍스트 개체 틀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ko-KR" altLang="en-US"/>
              <a:t>마스터 텍스트 스타일 편집</a:t>
            </a:r>
          </a:p>
        </p:txBody>
      </p:sp>
      <p:sp>
        <p:nvSpPr>
          <p:cNvPr id="6" name="내용 개체 틀 5"/>
          <p:cNvSpPr>
            <a:spLocks noGrp="1"/>
          </p:cNvSpPr>
          <p:nvPr>
            <p:ph sz="quarter" idx="4"/>
          </p:nvPr>
        </p:nvSpPr>
        <p:spPr>
          <a:xfrm>
            <a:off x="6172200" y="2505075"/>
            <a:ext cx="5183188" cy="3684588"/>
          </a:xfrm>
        </p:spPr>
        <p:txBody>
          <a:bodyPr/>
          <a:lstStyle/>
          <a:p>
            <a:pPr lvl="0"/>
            <a:r>
              <a:rPr lang="ko-KR" altLang="en-US"/>
              <a:t>마스터 텍스트 스타일 편집</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7" name="날짜 개체 틀 6"/>
          <p:cNvSpPr>
            <a:spLocks noGrp="1"/>
          </p:cNvSpPr>
          <p:nvPr>
            <p:ph type="dt" sz="half" idx="10"/>
          </p:nvPr>
        </p:nvSpPr>
        <p:spPr/>
        <p:txBody>
          <a:bodyPr/>
          <a:lstStyle/>
          <a:p>
            <a:fld id="{CBDF9506-ED22-417D-BC6C-24F890DEF661}" type="datetimeFigureOut">
              <a:rPr lang="ko-KR" altLang="en-US" smtClean="0"/>
              <a:t>2016-09-20</a:t>
            </a:fld>
            <a:endParaRPr lang="ko-KR" altLang="en-US"/>
          </a:p>
        </p:txBody>
      </p:sp>
      <p:sp>
        <p:nvSpPr>
          <p:cNvPr id="8" name="바닥글 개체 틀 7"/>
          <p:cNvSpPr>
            <a:spLocks noGrp="1"/>
          </p:cNvSpPr>
          <p:nvPr>
            <p:ph type="ftr" sz="quarter" idx="11"/>
          </p:nvPr>
        </p:nvSpPr>
        <p:spPr/>
        <p:txBody>
          <a:bodyPr/>
          <a:lstStyle/>
          <a:p>
            <a:endParaRPr lang="ko-KR" altLang="en-US"/>
          </a:p>
        </p:txBody>
      </p:sp>
      <p:sp>
        <p:nvSpPr>
          <p:cNvPr id="9" name="슬라이드 번호 개체 틀 8"/>
          <p:cNvSpPr>
            <a:spLocks noGrp="1"/>
          </p:cNvSpPr>
          <p:nvPr>
            <p:ph type="sldNum" sz="quarter" idx="12"/>
          </p:nvPr>
        </p:nvSpPr>
        <p:spPr/>
        <p:txBody>
          <a:bodyPr/>
          <a:lstStyle/>
          <a:p>
            <a:fld id="{F58B6ACC-E7CD-44D3-84AE-CDDCD430B75D}" type="slidenum">
              <a:rPr lang="ko-KR" altLang="en-US" smtClean="0"/>
              <a:t>‹#›</a:t>
            </a:fld>
            <a:endParaRPr lang="ko-KR" altLang="en-US"/>
          </a:p>
        </p:txBody>
      </p:sp>
    </p:spTree>
    <p:extLst>
      <p:ext uri="{BB962C8B-B14F-4D97-AF65-F5344CB8AC3E}">
        <p14:creationId xmlns:p14="http://schemas.microsoft.com/office/powerpoint/2010/main" val="2337693794"/>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titleOnly" preserve="1">
  <p:cSld name="제목만">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ko-KR" altLang="en-US"/>
              <a:t>마스터 제목 스타일 편집</a:t>
            </a:r>
          </a:p>
        </p:txBody>
      </p:sp>
      <p:sp>
        <p:nvSpPr>
          <p:cNvPr id="3" name="날짜 개체 틀 2"/>
          <p:cNvSpPr>
            <a:spLocks noGrp="1"/>
          </p:cNvSpPr>
          <p:nvPr>
            <p:ph type="dt" sz="half" idx="10"/>
          </p:nvPr>
        </p:nvSpPr>
        <p:spPr/>
        <p:txBody>
          <a:bodyPr/>
          <a:lstStyle/>
          <a:p>
            <a:fld id="{CBDF9506-ED22-417D-BC6C-24F890DEF661}" type="datetimeFigureOut">
              <a:rPr lang="ko-KR" altLang="en-US" smtClean="0"/>
              <a:t>2016-09-20</a:t>
            </a:fld>
            <a:endParaRPr lang="ko-KR" altLang="en-US"/>
          </a:p>
        </p:txBody>
      </p:sp>
      <p:sp>
        <p:nvSpPr>
          <p:cNvPr id="4" name="바닥글 개체 틀 3"/>
          <p:cNvSpPr>
            <a:spLocks noGrp="1"/>
          </p:cNvSpPr>
          <p:nvPr>
            <p:ph type="ftr" sz="quarter" idx="11"/>
          </p:nvPr>
        </p:nvSpPr>
        <p:spPr/>
        <p:txBody>
          <a:bodyPr/>
          <a:lstStyle/>
          <a:p>
            <a:endParaRPr lang="ko-KR" altLang="en-US"/>
          </a:p>
        </p:txBody>
      </p:sp>
      <p:sp>
        <p:nvSpPr>
          <p:cNvPr id="5" name="슬라이드 번호 개체 틀 4"/>
          <p:cNvSpPr>
            <a:spLocks noGrp="1"/>
          </p:cNvSpPr>
          <p:nvPr>
            <p:ph type="sldNum" sz="quarter" idx="12"/>
          </p:nvPr>
        </p:nvSpPr>
        <p:spPr/>
        <p:txBody>
          <a:bodyPr/>
          <a:lstStyle/>
          <a:p>
            <a:fld id="{F58B6ACC-E7CD-44D3-84AE-CDDCD430B75D}" type="slidenum">
              <a:rPr lang="ko-KR" altLang="en-US" smtClean="0"/>
              <a:t>‹#›</a:t>
            </a:fld>
            <a:endParaRPr lang="ko-KR" altLang="en-US"/>
          </a:p>
        </p:txBody>
      </p:sp>
    </p:spTree>
    <p:extLst>
      <p:ext uri="{BB962C8B-B14F-4D97-AF65-F5344CB8AC3E}">
        <p14:creationId xmlns:p14="http://schemas.microsoft.com/office/powerpoint/2010/main" val="1577477262"/>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type="blank" preserve="1">
  <p:cSld name="빈 화면">
    <p:spTree>
      <p:nvGrpSpPr>
        <p:cNvPr id="1" name=""/>
        <p:cNvGrpSpPr/>
        <p:nvPr/>
      </p:nvGrpSpPr>
      <p:grpSpPr>
        <a:xfrm>
          <a:off x="0" y="0"/>
          <a:ext cx="0" cy="0"/>
          <a:chOff x="0" y="0"/>
          <a:chExt cx="0" cy="0"/>
        </a:xfrm>
      </p:grpSpPr>
      <p:sp>
        <p:nvSpPr>
          <p:cNvPr id="2" name="날짜 개체 틀 1"/>
          <p:cNvSpPr>
            <a:spLocks noGrp="1"/>
          </p:cNvSpPr>
          <p:nvPr>
            <p:ph type="dt" sz="half" idx="10"/>
          </p:nvPr>
        </p:nvSpPr>
        <p:spPr/>
        <p:txBody>
          <a:bodyPr/>
          <a:lstStyle/>
          <a:p>
            <a:fld id="{CBDF9506-ED22-417D-BC6C-24F890DEF661}" type="datetimeFigureOut">
              <a:rPr lang="ko-KR" altLang="en-US" smtClean="0"/>
              <a:t>2016-09-20</a:t>
            </a:fld>
            <a:endParaRPr lang="ko-KR" altLang="en-US"/>
          </a:p>
        </p:txBody>
      </p:sp>
      <p:sp>
        <p:nvSpPr>
          <p:cNvPr id="3" name="바닥글 개체 틀 2"/>
          <p:cNvSpPr>
            <a:spLocks noGrp="1"/>
          </p:cNvSpPr>
          <p:nvPr>
            <p:ph type="ftr" sz="quarter" idx="11"/>
          </p:nvPr>
        </p:nvSpPr>
        <p:spPr/>
        <p:txBody>
          <a:bodyPr/>
          <a:lstStyle/>
          <a:p>
            <a:endParaRPr lang="ko-KR" altLang="en-US"/>
          </a:p>
        </p:txBody>
      </p:sp>
      <p:sp>
        <p:nvSpPr>
          <p:cNvPr id="4" name="슬라이드 번호 개체 틀 3"/>
          <p:cNvSpPr>
            <a:spLocks noGrp="1"/>
          </p:cNvSpPr>
          <p:nvPr>
            <p:ph type="sldNum" sz="quarter" idx="12"/>
          </p:nvPr>
        </p:nvSpPr>
        <p:spPr/>
        <p:txBody>
          <a:bodyPr/>
          <a:lstStyle/>
          <a:p>
            <a:fld id="{F58B6ACC-E7CD-44D3-84AE-CDDCD430B75D}" type="slidenum">
              <a:rPr lang="ko-KR" altLang="en-US" smtClean="0"/>
              <a:t>‹#›</a:t>
            </a:fld>
            <a:endParaRPr lang="ko-KR" altLang="en-US"/>
          </a:p>
        </p:txBody>
      </p:sp>
    </p:spTree>
    <p:extLst>
      <p:ext uri="{BB962C8B-B14F-4D97-AF65-F5344CB8AC3E}">
        <p14:creationId xmlns:p14="http://schemas.microsoft.com/office/powerpoint/2010/main" val="3526618143"/>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type="objTx" preserve="1">
  <p:cSld name="캡션 있는 콘텐츠">
    <p:spTree>
      <p:nvGrpSpPr>
        <p:cNvPr id="1" name=""/>
        <p:cNvGrpSpPr/>
        <p:nvPr/>
      </p:nvGrpSpPr>
      <p:grpSpPr>
        <a:xfrm>
          <a:off x="0" y="0"/>
          <a:ext cx="0" cy="0"/>
          <a:chOff x="0" y="0"/>
          <a:chExt cx="0" cy="0"/>
        </a:xfrm>
      </p:grpSpPr>
      <p:sp>
        <p:nvSpPr>
          <p:cNvPr id="2" name="제목 1"/>
          <p:cNvSpPr>
            <a:spLocks noGrp="1"/>
          </p:cNvSpPr>
          <p:nvPr>
            <p:ph type="title"/>
          </p:nvPr>
        </p:nvSpPr>
        <p:spPr>
          <a:xfrm>
            <a:off x="839788" y="457200"/>
            <a:ext cx="3932237" cy="1600200"/>
          </a:xfrm>
        </p:spPr>
        <p:txBody>
          <a:bodyPr anchor="b"/>
          <a:lstStyle>
            <a:lvl1pPr>
              <a:defRPr sz="3200"/>
            </a:lvl1pPr>
          </a:lstStyle>
          <a:p>
            <a:r>
              <a:rPr lang="ko-KR" altLang="en-US"/>
              <a:t>마스터 제목 스타일 편집</a:t>
            </a:r>
          </a:p>
        </p:txBody>
      </p:sp>
      <p:sp>
        <p:nvSpPr>
          <p:cNvPr id="3" name="내용 개체 틀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ko-KR" altLang="en-US"/>
              <a:t>마스터 텍스트 스타일 편집</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4" name="텍스트 개체 틀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ko-KR" altLang="en-US"/>
              <a:t>마스터 텍스트 스타일 편집</a:t>
            </a:r>
          </a:p>
        </p:txBody>
      </p:sp>
      <p:sp>
        <p:nvSpPr>
          <p:cNvPr id="5" name="날짜 개체 틀 4"/>
          <p:cNvSpPr>
            <a:spLocks noGrp="1"/>
          </p:cNvSpPr>
          <p:nvPr>
            <p:ph type="dt" sz="half" idx="10"/>
          </p:nvPr>
        </p:nvSpPr>
        <p:spPr/>
        <p:txBody>
          <a:bodyPr/>
          <a:lstStyle/>
          <a:p>
            <a:fld id="{CBDF9506-ED22-417D-BC6C-24F890DEF661}" type="datetimeFigureOut">
              <a:rPr lang="ko-KR" altLang="en-US" smtClean="0"/>
              <a:t>2016-09-20</a:t>
            </a:fld>
            <a:endParaRPr lang="ko-KR" altLang="en-US"/>
          </a:p>
        </p:txBody>
      </p:sp>
      <p:sp>
        <p:nvSpPr>
          <p:cNvPr id="6" name="바닥글 개체 틀 5"/>
          <p:cNvSpPr>
            <a:spLocks noGrp="1"/>
          </p:cNvSpPr>
          <p:nvPr>
            <p:ph type="ftr" sz="quarter" idx="11"/>
          </p:nvPr>
        </p:nvSpPr>
        <p:spPr/>
        <p:txBody>
          <a:bodyPr/>
          <a:lstStyle/>
          <a:p>
            <a:endParaRPr lang="ko-KR" altLang="en-US"/>
          </a:p>
        </p:txBody>
      </p:sp>
      <p:sp>
        <p:nvSpPr>
          <p:cNvPr id="7" name="슬라이드 번호 개체 틀 6"/>
          <p:cNvSpPr>
            <a:spLocks noGrp="1"/>
          </p:cNvSpPr>
          <p:nvPr>
            <p:ph type="sldNum" sz="quarter" idx="12"/>
          </p:nvPr>
        </p:nvSpPr>
        <p:spPr/>
        <p:txBody>
          <a:bodyPr/>
          <a:lstStyle/>
          <a:p>
            <a:fld id="{F58B6ACC-E7CD-44D3-84AE-CDDCD430B75D}" type="slidenum">
              <a:rPr lang="ko-KR" altLang="en-US" smtClean="0"/>
              <a:t>‹#›</a:t>
            </a:fld>
            <a:endParaRPr lang="ko-KR" altLang="en-US"/>
          </a:p>
        </p:txBody>
      </p:sp>
    </p:spTree>
    <p:extLst>
      <p:ext uri="{BB962C8B-B14F-4D97-AF65-F5344CB8AC3E}">
        <p14:creationId xmlns:p14="http://schemas.microsoft.com/office/powerpoint/2010/main" val="682920119"/>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type="picTx" preserve="1">
  <p:cSld name="캡션 있는 그림">
    <p:spTree>
      <p:nvGrpSpPr>
        <p:cNvPr id="1" name=""/>
        <p:cNvGrpSpPr/>
        <p:nvPr/>
      </p:nvGrpSpPr>
      <p:grpSpPr>
        <a:xfrm>
          <a:off x="0" y="0"/>
          <a:ext cx="0" cy="0"/>
          <a:chOff x="0" y="0"/>
          <a:chExt cx="0" cy="0"/>
        </a:xfrm>
      </p:grpSpPr>
      <p:sp>
        <p:nvSpPr>
          <p:cNvPr id="2" name="제목 1"/>
          <p:cNvSpPr>
            <a:spLocks noGrp="1"/>
          </p:cNvSpPr>
          <p:nvPr>
            <p:ph type="title"/>
          </p:nvPr>
        </p:nvSpPr>
        <p:spPr>
          <a:xfrm>
            <a:off x="839788" y="457200"/>
            <a:ext cx="3932237" cy="1600200"/>
          </a:xfrm>
        </p:spPr>
        <p:txBody>
          <a:bodyPr anchor="b"/>
          <a:lstStyle>
            <a:lvl1pPr>
              <a:defRPr sz="3200"/>
            </a:lvl1pPr>
          </a:lstStyle>
          <a:p>
            <a:r>
              <a:rPr lang="ko-KR" altLang="en-US"/>
              <a:t>마스터 제목 스타일 편집</a:t>
            </a:r>
          </a:p>
        </p:txBody>
      </p:sp>
      <p:sp>
        <p:nvSpPr>
          <p:cNvPr id="3" name="그림 개체 틀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ko-KR" altLang="en-US"/>
          </a:p>
        </p:txBody>
      </p:sp>
      <p:sp>
        <p:nvSpPr>
          <p:cNvPr id="4" name="텍스트 개체 틀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ko-KR" altLang="en-US"/>
              <a:t>마스터 텍스트 스타일 편집</a:t>
            </a:r>
          </a:p>
        </p:txBody>
      </p:sp>
      <p:sp>
        <p:nvSpPr>
          <p:cNvPr id="5" name="날짜 개체 틀 4"/>
          <p:cNvSpPr>
            <a:spLocks noGrp="1"/>
          </p:cNvSpPr>
          <p:nvPr>
            <p:ph type="dt" sz="half" idx="10"/>
          </p:nvPr>
        </p:nvSpPr>
        <p:spPr/>
        <p:txBody>
          <a:bodyPr/>
          <a:lstStyle/>
          <a:p>
            <a:fld id="{CBDF9506-ED22-417D-BC6C-24F890DEF661}" type="datetimeFigureOut">
              <a:rPr lang="ko-KR" altLang="en-US" smtClean="0"/>
              <a:t>2016-09-20</a:t>
            </a:fld>
            <a:endParaRPr lang="ko-KR" altLang="en-US"/>
          </a:p>
        </p:txBody>
      </p:sp>
      <p:sp>
        <p:nvSpPr>
          <p:cNvPr id="6" name="바닥글 개체 틀 5"/>
          <p:cNvSpPr>
            <a:spLocks noGrp="1"/>
          </p:cNvSpPr>
          <p:nvPr>
            <p:ph type="ftr" sz="quarter" idx="11"/>
          </p:nvPr>
        </p:nvSpPr>
        <p:spPr/>
        <p:txBody>
          <a:bodyPr/>
          <a:lstStyle/>
          <a:p>
            <a:endParaRPr lang="ko-KR" altLang="en-US"/>
          </a:p>
        </p:txBody>
      </p:sp>
      <p:sp>
        <p:nvSpPr>
          <p:cNvPr id="7" name="슬라이드 번호 개체 틀 6"/>
          <p:cNvSpPr>
            <a:spLocks noGrp="1"/>
          </p:cNvSpPr>
          <p:nvPr>
            <p:ph type="sldNum" sz="quarter" idx="12"/>
          </p:nvPr>
        </p:nvSpPr>
        <p:spPr/>
        <p:txBody>
          <a:bodyPr/>
          <a:lstStyle/>
          <a:p>
            <a:fld id="{F58B6ACC-E7CD-44D3-84AE-CDDCD430B75D}" type="slidenum">
              <a:rPr lang="ko-KR" altLang="en-US" smtClean="0"/>
              <a:t>‹#›</a:t>
            </a:fld>
            <a:endParaRPr lang="ko-KR" altLang="en-US"/>
          </a:p>
        </p:txBody>
      </p:sp>
    </p:spTree>
    <p:extLst>
      <p:ext uri="{BB962C8B-B14F-4D97-AF65-F5344CB8AC3E}">
        <p14:creationId xmlns:p14="http://schemas.microsoft.com/office/powerpoint/2010/main" val="165300248"/>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type="vertTx" preserve="1">
  <p:cSld name="제목 및 세로 텍스트">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ko-KR" altLang="en-US"/>
              <a:t>마스터 제목 스타일 편집</a:t>
            </a:r>
          </a:p>
        </p:txBody>
      </p:sp>
      <p:sp>
        <p:nvSpPr>
          <p:cNvPr id="3" name="세로 텍스트 개체 틀 2"/>
          <p:cNvSpPr>
            <a:spLocks noGrp="1"/>
          </p:cNvSpPr>
          <p:nvPr>
            <p:ph type="body" orient="vert" idx="1"/>
          </p:nvPr>
        </p:nvSpPr>
        <p:spPr/>
        <p:txBody>
          <a:bodyPr vert="eaVert"/>
          <a:lstStyle/>
          <a:p>
            <a:pPr lvl="0"/>
            <a:r>
              <a:rPr lang="ko-KR" altLang="en-US"/>
              <a:t>마스터 텍스트 스타일 편집</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4" name="날짜 개체 틀 3"/>
          <p:cNvSpPr>
            <a:spLocks noGrp="1"/>
          </p:cNvSpPr>
          <p:nvPr>
            <p:ph type="dt" sz="half" idx="10"/>
          </p:nvPr>
        </p:nvSpPr>
        <p:spPr/>
        <p:txBody>
          <a:bodyPr/>
          <a:lstStyle/>
          <a:p>
            <a:fld id="{CBDF9506-ED22-417D-BC6C-24F890DEF661}" type="datetimeFigureOut">
              <a:rPr lang="ko-KR" altLang="en-US" smtClean="0"/>
              <a:t>2016-09-20</a:t>
            </a:fld>
            <a:endParaRPr lang="ko-KR" altLang="en-US"/>
          </a:p>
        </p:txBody>
      </p:sp>
      <p:sp>
        <p:nvSpPr>
          <p:cNvPr id="5" name="바닥글 개체 틀 4"/>
          <p:cNvSpPr>
            <a:spLocks noGrp="1"/>
          </p:cNvSpPr>
          <p:nvPr>
            <p:ph type="ftr" sz="quarter" idx="11"/>
          </p:nvPr>
        </p:nvSpPr>
        <p:spPr/>
        <p:txBody>
          <a:bodyPr/>
          <a:lstStyle/>
          <a:p>
            <a:endParaRPr lang="ko-KR" altLang="en-US"/>
          </a:p>
        </p:txBody>
      </p:sp>
      <p:sp>
        <p:nvSpPr>
          <p:cNvPr id="6" name="슬라이드 번호 개체 틀 5"/>
          <p:cNvSpPr>
            <a:spLocks noGrp="1"/>
          </p:cNvSpPr>
          <p:nvPr>
            <p:ph type="sldNum" sz="quarter" idx="12"/>
          </p:nvPr>
        </p:nvSpPr>
        <p:spPr/>
        <p:txBody>
          <a:bodyPr/>
          <a:lstStyle/>
          <a:p>
            <a:fld id="{F58B6ACC-E7CD-44D3-84AE-CDDCD430B75D}" type="slidenum">
              <a:rPr lang="ko-KR" altLang="en-US" smtClean="0"/>
              <a:t>‹#›</a:t>
            </a:fld>
            <a:endParaRPr lang="ko-KR" altLang="en-US"/>
          </a:p>
        </p:txBody>
      </p:sp>
    </p:spTree>
    <p:extLst>
      <p:ext uri="{BB962C8B-B14F-4D97-AF65-F5344CB8AC3E}">
        <p14:creationId xmlns:p14="http://schemas.microsoft.com/office/powerpoint/2010/main" val="209734014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solidFill>
                  <a:srgbClr val="92D050"/>
                </a:solidFill>
                <a:latin typeface="+mj-lt"/>
              </a:defRPr>
            </a:lvl1pPr>
          </a:lstStyle>
          <a:p>
            <a:pPr lvl="0"/>
            <a:r>
              <a:rPr lang="en-US" dirty="0"/>
              <a:t>Speaker Name</a:t>
            </a:r>
          </a:p>
        </p:txBody>
      </p:sp>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b" anchorCtr="0"/>
          <a:lstStyle>
            <a:lvl1pPr>
              <a:defRPr sz="7058" spc="-98" baseline="0">
                <a:gradFill>
                  <a:gsLst>
                    <a:gs pos="100000">
                      <a:schemeClr val="tx1"/>
                    </a:gs>
                    <a:gs pos="0">
                      <a:schemeClr val="tx1"/>
                    </a:gs>
                  </a:gsLst>
                  <a:lin ang="5400000" scaled="0"/>
                </a:gradFill>
              </a:defRPr>
            </a:lvl1pPr>
          </a:lstStyle>
          <a:p>
            <a:r>
              <a:rPr lang="en-US" dirty="0"/>
              <a:t>Demo title</a:t>
            </a:r>
          </a:p>
        </p:txBody>
      </p:sp>
    </p:spTree>
    <p:extLst>
      <p:ext uri="{BB962C8B-B14F-4D97-AF65-F5344CB8AC3E}">
        <p14:creationId xmlns:p14="http://schemas.microsoft.com/office/powerpoint/2010/main" val="11000703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86381"/>
            <a:ext cx="11151917" cy="927940"/>
          </a:xfrm>
        </p:spPr>
        <p:txBody>
          <a:bodyPr/>
          <a:lstStyle/>
          <a:p>
            <a:r>
              <a:rPr lang="en-US" dirty="0"/>
              <a:t>Click to edit master title style</a:t>
            </a:r>
          </a:p>
        </p:txBody>
      </p:sp>
      <p:sp>
        <p:nvSpPr>
          <p:cNvPr id="6" name="Text Placeholder 5"/>
          <p:cNvSpPr>
            <a:spLocks noGrp="1"/>
          </p:cNvSpPr>
          <p:nvPr>
            <p:ph type="body" sz="quarter" idx="11" hasCustomPrompt="1"/>
          </p:nvPr>
        </p:nvSpPr>
        <p:spPr>
          <a:xfrm>
            <a:off x="269239" y="1187621"/>
            <a:ext cx="5378549" cy="2637462"/>
          </a:xfrm>
        </p:spPr>
        <p:txBody>
          <a:bodyPr>
            <a:spAutoFit/>
          </a:bodyPr>
          <a:lstStyle>
            <a:lvl1pPr marL="0" indent="0">
              <a:spcBef>
                <a:spcPts val="1200"/>
              </a:spcBef>
              <a:buNone/>
              <a:defRPr sz="3921">
                <a:gradFill>
                  <a:gsLst>
                    <a:gs pos="1000">
                      <a:schemeClr val="tx1"/>
                    </a:gs>
                    <a:gs pos="98000">
                      <a:schemeClr val="tx1"/>
                    </a:gs>
                  </a:gsLst>
                  <a:lin ang="5400000" scaled="0"/>
                </a:gradFill>
                <a:latin typeface="+mj-lt"/>
              </a:defRPr>
            </a:lvl1pPr>
            <a:lvl2pPr marL="0" indent="0">
              <a:buNone/>
              <a:defRPr sz="1961" spc="-50" baseline="0">
                <a:gradFill>
                  <a:gsLst>
                    <a:gs pos="1000">
                      <a:schemeClr val="tx1"/>
                    </a:gs>
                    <a:gs pos="98000">
                      <a:schemeClr val="tx1"/>
                    </a:gs>
                  </a:gsLst>
                  <a:lin ang="5400000" scaled="0"/>
                </a:gradFill>
              </a:defRPr>
            </a:lvl2pPr>
            <a:lvl3pPr marL="233364" indent="0">
              <a:buNone/>
              <a:defRPr sz="1961" spc="-50" baseline="0">
                <a:gradFill>
                  <a:gsLst>
                    <a:gs pos="1000">
                      <a:schemeClr val="tx1"/>
                    </a:gs>
                    <a:gs pos="98000">
                      <a:schemeClr val="tx1"/>
                    </a:gs>
                  </a:gsLst>
                  <a:lin ang="5400000" scaled="0"/>
                </a:gradFill>
              </a:defRPr>
            </a:lvl3pPr>
            <a:lvl4pPr marL="457202" indent="0">
              <a:buNone/>
              <a:defRPr sz="1765" spc="-50" baseline="0">
                <a:gradFill>
                  <a:gsLst>
                    <a:gs pos="1000">
                      <a:schemeClr val="tx1"/>
                    </a:gs>
                    <a:gs pos="98000">
                      <a:schemeClr val="tx1"/>
                    </a:gs>
                  </a:gsLst>
                  <a:lin ang="5400000" scaled="0"/>
                </a:gradFill>
              </a:defRPr>
            </a:lvl4pPr>
            <a:lvl5pPr marL="693741" indent="0">
              <a:buNone/>
              <a:defRPr sz="1765" spc="-50" baseline="0">
                <a:gradFill>
                  <a:gsLst>
                    <a:gs pos="1000">
                      <a:schemeClr val="tx1"/>
                    </a:gs>
                    <a:gs pos="98000">
                      <a:schemeClr val="tx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hasCustomPrompt="1"/>
          </p:nvPr>
        </p:nvSpPr>
        <p:spPr>
          <a:xfrm>
            <a:off x="5647788" y="1187621"/>
            <a:ext cx="5396366" cy="2637462"/>
          </a:xfrm>
        </p:spPr>
        <p:txBody>
          <a:bodyPr>
            <a:spAutoFit/>
          </a:bodyPr>
          <a:lstStyle>
            <a:lvl1pPr marL="0" indent="0">
              <a:spcBef>
                <a:spcPts val="1200"/>
              </a:spcBef>
              <a:buNone/>
              <a:defRPr lang="en-US" sz="3921" kern="1200" spc="-70" baseline="0" dirty="0" smtClean="0">
                <a:gradFill>
                  <a:gsLst>
                    <a:gs pos="1000">
                      <a:schemeClr val="tx1"/>
                    </a:gs>
                    <a:gs pos="98000">
                      <a:schemeClr val="tx1"/>
                    </a:gs>
                  </a:gsLst>
                  <a:lin ang="5400000" scaled="0"/>
                </a:gradFill>
                <a:latin typeface="+mj-lt"/>
                <a:ea typeface="+mn-ea"/>
                <a:cs typeface="+mn-cs"/>
              </a:defRPr>
            </a:lvl1pPr>
            <a:lvl2pPr marL="3175"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50" baseline="0" dirty="0" smtClean="0">
                <a:gradFill>
                  <a:gsLst>
                    <a:gs pos="1000">
                      <a:schemeClr val="tx1"/>
                    </a:gs>
                    <a:gs pos="98000">
                      <a:schemeClr val="tx1"/>
                    </a:gs>
                  </a:gsLst>
                  <a:lin ang="5400000" scaled="0"/>
                </a:gradFill>
                <a:latin typeface="+mn-lt"/>
                <a:ea typeface="+mn-ea"/>
                <a:cs typeface="+mn-cs"/>
              </a:defRPr>
            </a:lvl2pPr>
            <a:lvl3pPr marL="233364"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50" baseline="0" dirty="0" smtClean="0">
                <a:gradFill>
                  <a:gsLst>
                    <a:gs pos="1000">
                      <a:schemeClr val="tx1"/>
                    </a:gs>
                    <a:gs pos="98000">
                      <a:schemeClr val="tx1"/>
                    </a:gs>
                  </a:gsLst>
                  <a:lin ang="5400000" scaled="0"/>
                </a:gradFill>
                <a:latin typeface="+mn-lt"/>
                <a:ea typeface="+mn-ea"/>
                <a:cs typeface="+mn-cs"/>
              </a:defRPr>
            </a:lvl3pPr>
            <a:lvl4pPr marL="460377"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765" kern="1200" spc="-50" baseline="0" dirty="0" smtClean="0">
                <a:gradFill>
                  <a:gsLst>
                    <a:gs pos="1000">
                      <a:schemeClr val="tx1"/>
                    </a:gs>
                    <a:gs pos="98000">
                      <a:schemeClr val="tx1"/>
                    </a:gs>
                  </a:gsLst>
                  <a:lin ang="5400000" scaled="0"/>
                </a:gradFill>
                <a:latin typeface="+mn-lt"/>
                <a:ea typeface="+mn-ea"/>
                <a:cs typeface="+mn-cs"/>
              </a:defRPr>
            </a:lvl4pPr>
            <a:lvl5pPr marL="6873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765" kern="1200" spc="-50" baseline="0" dirty="0">
                <a:gradFill>
                  <a:gsLst>
                    <a:gs pos="1000">
                      <a:schemeClr val="tx1"/>
                    </a:gs>
                    <a:gs pos="98000">
                      <a:schemeClr val="tx1"/>
                    </a:gs>
                  </a:gsLst>
                  <a:lin ang="5400000" scaled="0"/>
                </a:gradFill>
                <a:latin typeface="+mn-lt"/>
                <a:ea typeface="+mn-ea"/>
                <a:cs typeface="+mn-cs"/>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73337697"/>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type="vertTitleAndTx" preserve="1">
  <p:cSld name="세로 제목 및 텍스트">
    <p:spTree>
      <p:nvGrpSpPr>
        <p:cNvPr id="1" name=""/>
        <p:cNvGrpSpPr/>
        <p:nvPr/>
      </p:nvGrpSpPr>
      <p:grpSpPr>
        <a:xfrm>
          <a:off x="0" y="0"/>
          <a:ext cx="0" cy="0"/>
          <a:chOff x="0" y="0"/>
          <a:chExt cx="0" cy="0"/>
        </a:xfrm>
      </p:grpSpPr>
      <p:sp>
        <p:nvSpPr>
          <p:cNvPr id="2" name="세로 제목 1"/>
          <p:cNvSpPr>
            <a:spLocks noGrp="1"/>
          </p:cNvSpPr>
          <p:nvPr>
            <p:ph type="title" orient="vert"/>
          </p:nvPr>
        </p:nvSpPr>
        <p:spPr>
          <a:xfrm>
            <a:off x="8724900" y="365125"/>
            <a:ext cx="2628900" cy="5811838"/>
          </a:xfrm>
        </p:spPr>
        <p:txBody>
          <a:bodyPr vert="eaVert"/>
          <a:lstStyle/>
          <a:p>
            <a:r>
              <a:rPr lang="ko-KR" altLang="en-US"/>
              <a:t>마스터 제목 스타일 편집</a:t>
            </a:r>
          </a:p>
        </p:txBody>
      </p:sp>
      <p:sp>
        <p:nvSpPr>
          <p:cNvPr id="3" name="세로 텍스트 개체 틀 2"/>
          <p:cNvSpPr>
            <a:spLocks noGrp="1"/>
          </p:cNvSpPr>
          <p:nvPr>
            <p:ph type="body" orient="vert" idx="1"/>
          </p:nvPr>
        </p:nvSpPr>
        <p:spPr>
          <a:xfrm>
            <a:off x="838200" y="365125"/>
            <a:ext cx="7734300" cy="5811838"/>
          </a:xfrm>
        </p:spPr>
        <p:txBody>
          <a:bodyPr vert="eaVert"/>
          <a:lstStyle/>
          <a:p>
            <a:pPr lvl="0"/>
            <a:r>
              <a:rPr lang="ko-KR" altLang="en-US"/>
              <a:t>마스터 텍스트 스타일 편집</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4" name="날짜 개체 틀 3"/>
          <p:cNvSpPr>
            <a:spLocks noGrp="1"/>
          </p:cNvSpPr>
          <p:nvPr>
            <p:ph type="dt" sz="half" idx="10"/>
          </p:nvPr>
        </p:nvSpPr>
        <p:spPr/>
        <p:txBody>
          <a:bodyPr/>
          <a:lstStyle/>
          <a:p>
            <a:fld id="{CBDF9506-ED22-417D-BC6C-24F890DEF661}" type="datetimeFigureOut">
              <a:rPr lang="ko-KR" altLang="en-US" smtClean="0"/>
              <a:t>2016-09-20</a:t>
            </a:fld>
            <a:endParaRPr lang="ko-KR" altLang="en-US"/>
          </a:p>
        </p:txBody>
      </p:sp>
      <p:sp>
        <p:nvSpPr>
          <p:cNvPr id="5" name="바닥글 개체 틀 4"/>
          <p:cNvSpPr>
            <a:spLocks noGrp="1"/>
          </p:cNvSpPr>
          <p:nvPr>
            <p:ph type="ftr" sz="quarter" idx="11"/>
          </p:nvPr>
        </p:nvSpPr>
        <p:spPr/>
        <p:txBody>
          <a:bodyPr/>
          <a:lstStyle/>
          <a:p>
            <a:endParaRPr lang="ko-KR" altLang="en-US"/>
          </a:p>
        </p:txBody>
      </p:sp>
      <p:sp>
        <p:nvSpPr>
          <p:cNvPr id="6" name="슬라이드 번호 개체 틀 5"/>
          <p:cNvSpPr>
            <a:spLocks noGrp="1"/>
          </p:cNvSpPr>
          <p:nvPr>
            <p:ph type="sldNum" sz="quarter" idx="12"/>
          </p:nvPr>
        </p:nvSpPr>
        <p:spPr/>
        <p:txBody>
          <a:bodyPr/>
          <a:lstStyle/>
          <a:p>
            <a:fld id="{F58B6ACC-E7CD-44D3-84AE-CDDCD430B75D}" type="slidenum">
              <a:rPr lang="ko-KR" altLang="en-US" smtClean="0"/>
              <a:t>‹#›</a:t>
            </a:fld>
            <a:endParaRPr lang="ko-KR" altLang="en-US"/>
          </a:p>
        </p:txBody>
      </p:sp>
    </p:spTree>
    <p:extLst>
      <p:ext uri="{BB962C8B-B14F-4D97-AF65-F5344CB8AC3E}">
        <p14:creationId xmlns:p14="http://schemas.microsoft.com/office/powerpoint/2010/main" val="406873314"/>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vert="horz" lIns="137160" tIns="109728" rIns="137160" bIns="109728" rtlCol="0" anchor="t" anchorCtr="0">
            <a:noAutofit/>
          </a:bodyPr>
          <a:lstStyle>
            <a:lvl1pPr>
              <a:defRPr lang="en-US" cap="none" spc="0" dirty="0">
                <a:ln>
                  <a:noFill/>
                </a:ln>
                <a:solidFill>
                  <a:schemeClr val="accent5"/>
                </a:solidFill>
                <a:effectLst/>
              </a:defRPr>
            </a:lvl1pPr>
          </a:lstStyle>
          <a:p>
            <a:pPr lvl="0"/>
            <a:r>
              <a:rPr lang="en-US" dirty="0"/>
              <a:t>Click to edit title</a:t>
            </a:r>
          </a:p>
        </p:txBody>
      </p:sp>
      <p:sp>
        <p:nvSpPr>
          <p:cNvPr id="3" name="Rectangle 2"/>
          <p:cNvSpPr/>
          <p:nvPr/>
        </p:nvSpPr>
        <p:spPr>
          <a:xfrm>
            <a:off x="0" y="0"/>
            <a:ext cx="278780" cy="105783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914367" latinLnBrk="0">
              <a:lnSpc>
                <a:spcPct val="90000"/>
              </a:lnSpc>
              <a:spcBef>
                <a:spcPts val="600"/>
              </a:spcBef>
            </a:pPr>
            <a:endParaRPr lang="en-US" sz="2000" dirty="0" err="1">
              <a:solidFill>
                <a:prstClr val="white"/>
              </a:solidFill>
            </a:endParaRPr>
          </a:p>
        </p:txBody>
      </p:sp>
      <p:sp>
        <p:nvSpPr>
          <p:cNvPr id="4" name="Rectangle 3"/>
          <p:cNvSpPr/>
          <p:nvPr userDrawn="1"/>
        </p:nvSpPr>
        <p:spPr>
          <a:xfrm>
            <a:off x="0" y="0"/>
            <a:ext cx="278780" cy="105783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914367" latinLnBrk="0">
              <a:lnSpc>
                <a:spcPct val="90000"/>
              </a:lnSpc>
              <a:spcBef>
                <a:spcPts val="600"/>
              </a:spcBef>
            </a:pPr>
            <a:endParaRPr lang="en-US" sz="2000" dirty="0" err="1">
              <a:solidFill>
                <a:prstClr val="white"/>
              </a:solidFill>
            </a:endParaRPr>
          </a:p>
        </p:txBody>
      </p:sp>
    </p:spTree>
    <p:extLst>
      <p:ext uri="{BB962C8B-B14F-4D97-AF65-F5344CB8AC3E}">
        <p14:creationId xmlns:p14="http://schemas.microsoft.com/office/powerpoint/2010/main" val="3416240360"/>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userDrawn="1">
  <p:cSld name="사용자 지정 레이아웃">
    <p:spTree>
      <p:nvGrpSpPr>
        <p:cNvPr id="1" name=""/>
        <p:cNvGrpSpPr/>
        <p:nvPr/>
      </p:nvGrpSpPr>
      <p:grpSpPr>
        <a:xfrm>
          <a:off x="0" y="0"/>
          <a:ext cx="0" cy="0"/>
          <a:chOff x="0" y="0"/>
          <a:chExt cx="0" cy="0"/>
        </a:xfrm>
      </p:grpSpPr>
      <p:pic>
        <p:nvPicPr>
          <p:cNvPr id="3" name="그림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40" y="0"/>
            <a:ext cx="12188560" cy="6858000"/>
          </a:xfrm>
          <a:prstGeom prst="rect">
            <a:avLst/>
          </a:prstGeom>
        </p:spPr>
      </p:pic>
    </p:spTree>
    <p:extLst>
      <p:ext uri="{BB962C8B-B14F-4D97-AF65-F5344CB8AC3E}">
        <p14:creationId xmlns:p14="http://schemas.microsoft.com/office/powerpoint/2010/main" val="312437269"/>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2928192"/>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cSld name="1_제목 및 내용">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ko-KR" altLang="en-US"/>
              <a:t>마스터 제목 스타일 편집</a:t>
            </a:r>
          </a:p>
        </p:txBody>
      </p:sp>
      <p:sp>
        <p:nvSpPr>
          <p:cNvPr id="3" name="Content Placeholder 2"/>
          <p:cNvSpPr>
            <a:spLocks noGrp="1"/>
          </p:cNvSpPr>
          <p:nvPr>
            <p:ph idx="1"/>
          </p:nvPr>
        </p:nvSpPr>
        <p:spPr/>
        <p:txBody>
          <a:bodyPr/>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8" name="Text Placeholder 7"/>
          <p:cNvSpPr>
            <a:spLocks noGrp="1"/>
          </p:cNvSpPr>
          <p:nvPr>
            <p:ph type="body" sz="quarter" idx="10"/>
          </p:nvPr>
        </p:nvSpPr>
        <p:spPr>
          <a:xfrm>
            <a:off x="312418" y="783773"/>
            <a:ext cx="11567160" cy="429208"/>
          </a:xfrm>
        </p:spPr>
        <p:txBody>
          <a:bodyPr vert="horz" lIns="91440" tIns="45720" rIns="91440" bIns="45720" rtlCol="0" anchor="ctr">
            <a:normAutofit/>
          </a:bodyPr>
          <a:lstStyle>
            <a:lvl1pPr marL="0" indent="0">
              <a:buNone/>
              <a:defRPr lang="ko-KR" altLang="en-US" sz="1800" b="0" baseline="0" dirty="0">
                <a:latin typeface="+mn-lt"/>
                <a:ea typeface="+mn-ea"/>
                <a:cs typeface="+mj-cs"/>
              </a:defRPr>
            </a:lvl1pPr>
          </a:lstStyle>
          <a:p>
            <a:pPr lvl="0">
              <a:spcBef>
                <a:spcPct val="0"/>
              </a:spcBef>
            </a:pPr>
            <a:r>
              <a:rPr lang="ko-KR" altLang="en-US"/>
              <a:t>마스터 텍스트 스타일을 편집합니다</a:t>
            </a:r>
          </a:p>
        </p:txBody>
      </p:sp>
    </p:spTree>
    <p:extLst>
      <p:ext uri="{BB962C8B-B14F-4D97-AF65-F5344CB8AC3E}">
        <p14:creationId xmlns:p14="http://schemas.microsoft.com/office/powerpoint/2010/main" val="3582951579"/>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48586" y="6121376"/>
            <a:ext cx="1254995" cy="269134"/>
          </a:xfrm>
          <a:prstGeom prst="rect">
            <a:avLst/>
          </a:prstGeom>
        </p:spPr>
      </p:pic>
    </p:spTree>
    <p:extLst>
      <p:ext uri="{BB962C8B-B14F-4D97-AF65-F5344CB8AC3E}">
        <p14:creationId xmlns:p14="http://schemas.microsoft.com/office/powerpoint/2010/main" val="13539593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08507158"/>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60403760"/>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09765711"/>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337861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367" rtl="0" eaLnBrk="1" latinLnBrk="0" hangingPunct="1">
              <a:lnSpc>
                <a:spcPct val="90000"/>
              </a:lnSpc>
              <a:spcBef>
                <a:spcPct val="0"/>
              </a:spcBef>
              <a:buNone/>
              <a:defRPr lang="en-US" sz="5294" b="0" kern="1200" cap="none" spc="-100"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1026511558"/>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18117221"/>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49553371"/>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58547691"/>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85427114"/>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87936518"/>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723772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513315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5884257"/>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143481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532604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69645673"/>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565152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7392984"/>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43317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0779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863304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3379701"/>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4"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4" y="3083652"/>
            <a:ext cx="3227129" cy="692057"/>
          </a:xfrm>
          <a:prstGeom prst="rect">
            <a:avLst/>
          </a:prstGeom>
        </p:spPr>
      </p:pic>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spTree>
    <p:extLst>
      <p:ext uri="{BB962C8B-B14F-4D97-AF65-F5344CB8AC3E}">
        <p14:creationId xmlns:p14="http://schemas.microsoft.com/office/powerpoint/2010/main" val="1372779476"/>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a:t>
            </a:r>
          </a:p>
        </p:txBody>
      </p:sp>
    </p:spTree>
    <p:extLst>
      <p:ext uri="{BB962C8B-B14F-4D97-AF65-F5344CB8AC3E}">
        <p14:creationId xmlns:p14="http://schemas.microsoft.com/office/powerpoint/2010/main" val="22009125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355699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54892" y="481159"/>
            <a:ext cx="1408078" cy="300619"/>
          </a:xfrm>
          <a:prstGeom prst="rect">
            <a:avLst/>
          </a:prstGeom>
        </p:spPr>
      </p:pic>
      <p:sp>
        <p:nvSpPr>
          <p:cNvPr id="12" name="Freeform 11"/>
          <p:cNvSpPr>
            <a:spLocks noEditPoints="1"/>
          </p:cNvSpPr>
          <p:nvPr userDrawn="1"/>
        </p:nvSpPr>
        <p:spPr bwMode="black">
          <a:xfrm>
            <a:off x="2095549" y="2425050"/>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00BCF2"/>
          </a:solidFill>
          <a:ln>
            <a:noFill/>
          </a:ln>
        </p:spPr>
        <p:txBody>
          <a:bodyPr vert="horz" wrap="square" lIns="89630" tIns="44814" rIns="89630" bIns="44814"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26040539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txBox="1">
            <a:spLocks/>
          </p:cNvSpPr>
          <p:nvPr userDrawn="1"/>
        </p:nvSpPr>
        <p:spPr>
          <a:xfrm>
            <a:off x="269239" y="308191"/>
            <a:ext cx="11151917" cy="927940"/>
          </a:xfrm>
          <a:prstGeom prst="rect">
            <a:avLst/>
          </a:prstGeom>
        </p:spPr>
        <p:txBody>
          <a:bodyPr lIns="143428" tIns="89642" rIns="143428" bIns="89642"/>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5294"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Arial" charset="0"/>
              </a:rPr>
              <a:t>Cloud, an ‘evolution’ for IT</a:t>
            </a:r>
          </a:p>
        </p:txBody>
      </p:sp>
    </p:spTree>
    <p:extLst>
      <p:ext uri="{BB962C8B-B14F-4D97-AF65-F5344CB8AC3E}">
        <p14:creationId xmlns:p14="http://schemas.microsoft.com/office/powerpoint/2010/main" val="4037366914"/>
      </p:ext>
    </p:extLst>
  </p:cSld>
  <p:clrMapOvr>
    <a:masterClrMapping/>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3" y="3878574"/>
            <a:ext cx="9860611"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7" name="Text Placeholder 2"/>
          <p:cNvSpPr>
            <a:spLocks noGrp="1"/>
          </p:cNvSpPr>
          <p:nvPr>
            <p:ph type="body" sz="quarter" idx="13" hasCustomPrompt="1"/>
          </p:nvPr>
        </p:nvSpPr>
        <p:spPr>
          <a:xfrm>
            <a:off x="8337064" y="301618"/>
            <a:ext cx="3584143" cy="567015"/>
          </a:xfrm>
        </p:spPr>
        <p:txBody>
          <a:bodyPr lIns="182880" tIns="146304" rIns="182880" bIns="146304"/>
          <a:lstStyle>
            <a:lvl1pPr marL="0" indent="0" algn="r">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dirty="0"/>
              <a:t>Session Code Here</a:t>
            </a:r>
          </a:p>
        </p:txBody>
      </p:sp>
      <p:sp>
        <p:nvSpPr>
          <p:cNvPr id="8" name="TextBox 7"/>
          <p:cNvSpPr txBox="1"/>
          <p:nvPr userDrawn="1"/>
        </p:nvSpPr>
        <p:spPr>
          <a:xfrm>
            <a:off x="283308" y="5954047"/>
            <a:ext cx="1892940" cy="622056"/>
          </a:xfrm>
          <a:prstGeom prst="rect">
            <a:avLst/>
          </a:prstGeom>
          <a:noFill/>
        </p:spPr>
        <p:txBody>
          <a:bodyPr wrap="none" lIns="179259" tIns="143407" rIns="179259" bIns="143407" rtlCol="0">
            <a:spAutoFit/>
          </a:bodyPr>
          <a:lstStyle/>
          <a:p>
            <a:pPr>
              <a:lnSpc>
                <a:spcPct val="90000"/>
              </a:lnSpc>
              <a:spcAft>
                <a:spcPts val="588"/>
              </a:spcAft>
            </a:pPr>
            <a:r>
              <a:rPr lang="en-US" sz="2353"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37882644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3" y="3878574"/>
            <a:ext cx="9860611"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7" name="Text Placeholder 2"/>
          <p:cNvSpPr>
            <a:spLocks noGrp="1"/>
          </p:cNvSpPr>
          <p:nvPr>
            <p:ph type="body" sz="quarter" idx="13" hasCustomPrompt="1"/>
          </p:nvPr>
        </p:nvSpPr>
        <p:spPr>
          <a:xfrm>
            <a:off x="8337064" y="301618"/>
            <a:ext cx="3584143" cy="567015"/>
          </a:xfrm>
        </p:spPr>
        <p:txBody>
          <a:bodyPr lIns="182880" tIns="146304" rIns="182880" bIns="146304"/>
          <a:lstStyle>
            <a:lvl1pPr marL="0" indent="0" algn="r">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dirty="0"/>
              <a:t>Session Code Here</a:t>
            </a:r>
          </a:p>
        </p:txBody>
      </p:sp>
      <p:sp>
        <p:nvSpPr>
          <p:cNvPr id="8" name="Freeform 7"/>
          <p:cNvSpPr>
            <a:spLocks noChangeAspect="1" noEditPoints="1"/>
          </p:cNvSpPr>
          <p:nvPr userDrawn="1"/>
        </p:nvSpPr>
        <p:spPr bwMode="black">
          <a:xfrm>
            <a:off x="448212" y="481157"/>
            <a:ext cx="1214650" cy="30482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endParaRPr lang="en-US" sz="1765">
              <a:solidFill>
                <a:srgbClr val="404040"/>
              </a:solidFill>
            </a:endParaRPr>
          </a:p>
        </p:txBody>
      </p:sp>
      <p:sp>
        <p:nvSpPr>
          <p:cNvPr id="9" name="TextBox 8"/>
          <p:cNvSpPr txBox="1"/>
          <p:nvPr userDrawn="1"/>
        </p:nvSpPr>
        <p:spPr>
          <a:xfrm>
            <a:off x="283308" y="5954047"/>
            <a:ext cx="1892940" cy="622056"/>
          </a:xfrm>
          <a:prstGeom prst="rect">
            <a:avLst/>
          </a:prstGeom>
          <a:noFill/>
        </p:spPr>
        <p:txBody>
          <a:bodyPr wrap="none" lIns="179259" tIns="143407" rIns="179259" bIns="143407" rtlCol="0">
            <a:spAutoFit/>
          </a:bodyPr>
          <a:lstStyle/>
          <a:p>
            <a:pPr>
              <a:lnSpc>
                <a:spcPct val="90000"/>
              </a:lnSpc>
              <a:spcAft>
                <a:spcPts val="588"/>
              </a:spcAft>
            </a:pPr>
            <a:r>
              <a:rPr lang="en-US" sz="2353"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42613072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40" y="1189177"/>
            <a:ext cx="11653523" cy="2055306"/>
          </a:xfrm>
        </p:spPr>
        <p:txBody>
          <a:bodyPr/>
          <a:lstStyle>
            <a:lvl1pPr marL="0" indent="0">
              <a:buNone/>
              <a:defRPr>
                <a:gradFill>
                  <a:gsLst>
                    <a:gs pos="1250">
                      <a:schemeClr val="tx1"/>
                    </a:gs>
                    <a:gs pos="99000">
                      <a:schemeClr val="tx1"/>
                    </a:gs>
                  </a:gsLst>
                  <a:lin ang="5400000" scaled="0"/>
                </a:gradFill>
              </a:defRPr>
            </a:lvl1pPr>
            <a:lvl2pPr marL="0" indent="0">
              <a:buFontTx/>
              <a:buNone/>
              <a:defRPr sz="2353"/>
            </a:lvl2pPr>
            <a:lvl3pPr marL="224054" indent="0">
              <a:buNone/>
              <a:defRPr/>
            </a:lvl3pPr>
            <a:lvl4pPr marL="448107" indent="0">
              <a:buNone/>
              <a:defRPr/>
            </a:lvl4pPr>
            <a:lvl5pPr marL="67216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77235181"/>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63712894"/>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2" y="1189177"/>
            <a:ext cx="5378548" cy="1943393"/>
          </a:xfrm>
        </p:spPr>
        <p:txBody>
          <a:bodyPr wrap="square">
            <a:spAutoFit/>
          </a:bodyPr>
          <a:lstStyle>
            <a:lvl1pPr marL="0" indent="0">
              <a:spcBef>
                <a:spcPts val="1200"/>
              </a:spcBef>
              <a:buClr>
                <a:schemeClr val="tx1"/>
              </a:buClr>
              <a:buFont typeface="Wingdings" pitchFamily="2" charset="2"/>
              <a:buNone/>
              <a:defRPr sz="3136"/>
            </a:lvl1pPr>
            <a:lvl2pPr marL="0" indent="0">
              <a:buNone/>
              <a:defRPr sz="2353"/>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7"/>
            <a:ext cx="5378548" cy="1943393"/>
          </a:xfrm>
        </p:spPr>
        <p:txBody>
          <a:bodyPr wrap="square">
            <a:spAutoFit/>
          </a:bodyPr>
          <a:lstStyle>
            <a:lvl1pPr marL="0" indent="0">
              <a:spcBef>
                <a:spcPts val="1200"/>
              </a:spcBef>
              <a:buClr>
                <a:schemeClr val="tx1"/>
              </a:buClr>
              <a:buFont typeface="Wingdings" pitchFamily="2" charset="2"/>
              <a:buNone/>
              <a:defRPr sz="3136"/>
            </a:lvl1pPr>
            <a:lvl2pPr marL="0" indent="0">
              <a:buNone/>
              <a:defRPr sz="2353"/>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22569885"/>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35215352"/>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994275134"/>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2"/>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570014934"/>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7"/>
            <a:ext cx="8964248" cy="1158793"/>
          </a:xfrm>
          <a:noFill/>
        </p:spPr>
        <p:txBody>
          <a:bodyPr wrap="square" tIns="91440" bIns="91440" anchor="t" anchorCtr="0">
            <a:spAutoFit/>
          </a:bodyPr>
          <a:lstStyle>
            <a:lvl1pPr>
              <a:defRPr sz="7056" spc="-98" baseline="0">
                <a:gradFill>
                  <a:gsLst>
                    <a:gs pos="6195">
                      <a:schemeClr val="tx1"/>
                    </a:gs>
                    <a:gs pos="24779">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8964247" cy="724246"/>
          </a:xfrm>
          <a:noFill/>
        </p:spPr>
        <p:txBody>
          <a:bodyPr wrap="square" lIns="182880" tIns="146304" rIns="182880" bIns="146304">
            <a:spAutoFit/>
          </a:bodyPr>
          <a:lstStyle>
            <a:lvl1pPr marL="0" indent="0">
              <a:spcBef>
                <a:spcPts val="0"/>
              </a:spcBef>
              <a:buNone/>
              <a:defRPr sz="3136" spc="0" baseline="0">
                <a:gradFill>
                  <a:gsLst>
                    <a:gs pos="6195">
                      <a:schemeClr val="tx1"/>
                    </a:gs>
                    <a:gs pos="24779">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296637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7"/>
            <a:ext cx="8964247"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1382934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Slide for developer code</a:t>
            </a:r>
          </a:p>
        </p:txBody>
      </p:sp>
      <p:sp>
        <p:nvSpPr>
          <p:cNvPr id="5" name="Text Placeholder 4"/>
          <p:cNvSpPr>
            <a:spLocks noGrp="1"/>
          </p:cNvSpPr>
          <p:nvPr>
            <p:ph type="body" sz="quarter" idx="10"/>
          </p:nvPr>
        </p:nvSpPr>
        <p:spPr>
          <a:xfrm>
            <a:off x="269239" y="1187621"/>
            <a:ext cx="11155093" cy="2463945"/>
          </a:xfrm>
        </p:spPr>
        <p:txBody>
          <a:bodyPr>
            <a:spAutoFit/>
          </a:bodyPr>
          <a:lstStyle>
            <a:lvl1pPr marL="0" indent="0">
              <a:buNone/>
              <a:defRPr sz="3235">
                <a:gradFill>
                  <a:gsLst>
                    <a:gs pos="1250">
                      <a:schemeClr val="tx1"/>
                    </a:gs>
                    <a:gs pos="100000">
                      <a:schemeClr val="tx1"/>
                    </a:gs>
                  </a:gsLst>
                  <a:lin ang="5400000" scaled="0"/>
                </a:gradFill>
                <a:latin typeface="Consolas" pitchFamily="49" charset="0"/>
                <a:cs typeface="Consolas" pitchFamily="49" charset="0"/>
              </a:defRPr>
            </a:lvl1pPr>
            <a:lvl2pPr marL="339726" indent="0">
              <a:buNone/>
              <a:defRPr>
                <a:gradFill>
                  <a:gsLst>
                    <a:gs pos="1250">
                      <a:schemeClr val="tx1"/>
                    </a:gs>
                    <a:gs pos="100000">
                      <a:schemeClr val="tx1"/>
                    </a:gs>
                  </a:gsLst>
                  <a:lin ang="5400000" scaled="0"/>
                </a:gradFill>
                <a:latin typeface="Consolas" pitchFamily="49" charset="0"/>
                <a:cs typeface="Consolas" pitchFamily="49" charset="0"/>
              </a:defRPr>
            </a:lvl2pPr>
            <a:lvl3pPr marL="573090" indent="0">
              <a:buNone/>
              <a:defRPr>
                <a:gradFill>
                  <a:gsLst>
                    <a:gs pos="1250">
                      <a:schemeClr val="tx1"/>
                    </a:gs>
                    <a:gs pos="100000">
                      <a:schemeClr val="tx1"/>
                    </a:gs>
                  </a:gsLst>
                  <a:lin ang="5400000" scaled="0"/>
                </a:gradFill>
                <a:latin typeface="Consolas" pitchFamily="49" charset="0"/>
                <a:cs typeface="Consolas" pitchFamily="49" charset="0"/>
              </a:defRPr>
            </a:lvl3pPr>
            <a:lvl4pPr marL="798516" indent="0">
              <a:buNone/>
              <a:defRPr>
                <a:gradFill>
                  <a:gsLst>
                    <a:gs pos="1250">
                      <a:schemeClr val="tx1"/>
                    </a:gs>
                    <a:gs pos="100000">
                      <a:schemeClr val="tx1"/>
                    </a:gs>
                  </a:gsLst>
                  <a:lin ang="5400000" scaled="0"/>
                </a:gradFill>
                <a:latin typeface="Consolas" pitchFamily="49" charset="0"/>
                <a:cs typeface="Consolas" pitchFamily="49" charset="0"/>
              </a:defRPr>
            </a:lvl4pPr>
            <a:lvl5pPr marL="1030292" indent="0">
              <a:buNone/>
              <a:defRPr>
                <a:gradFill>
                  <a:gsLst>
                    <a:gs pos="1250">
                      <a:schemeClr val="tx1"/>
                    </a:gs>
                    <a:gs pos="100000">
                      <a:schemeClr val="tx1"/>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26540243"/>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960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21239">
                      <a:srgbClr val="FFFFFF"/>
                    </a:gs>
                    <a:gs pos="52000">
                      <a:srgbClr val="FFFFFF"/>
                    </a:gs>
                  </a:gsLst>
                  <a:lin ang="5400000" scaled="0"/>
                </a:gradFill>
              </a:defRPr>
            </a:lvl1pPr>
          </a:lstStyle>
          <a:p>
            <a:r>
              <a:rPr lang="en-US" dirty="0"/>
              <a:t>Section title</a:t>
            </a:r>
          </a:p>
        </p:txBody>
      </p:sp>
    </p:spTree>
    <p:extLst>
      <p:ext uri="{BB962C8B-B14F-4D97-AF65-F5344CB8AC3E}">
        <p14:creationId xmlns:p14="http://schemas.microsoft.com/office/powerpoint/2010/main" val="14709043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dpi="0" rotWithShape="1">
            <a:blip r:embed="rId2"/>
            <a:srcRect/>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314079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9083135"/>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15605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Blank Accent Color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16753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66510470"/>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rgbClr val="505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9114625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8112226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194539" y="1189178"/>
            <a:ext cx="5453252" cy="1943393"/>
          </a:xfrm>
        </p:spPr>
        <p:txBody>
          <a:bodyPr wrap="square">
            <a:spAutoFit/>
          </a:bodyPr>
          <a:lstStyle>
            <a:lvl1pPr marL="0" indent="0">
              <a:spcBef>
                <a:spcPts val="1200"/>
              </a:spcBef>
              <a:buClr>
                <a:schemeClr val="bg1"/>
              </a:buClr>
              <a:buFont typeface="Arial" pitchFamily="34" charset="0"/>
              <a:buChar char="•"/>
              <a:defRPr sz="3135">
                <a:gradFill>
                  <a:gsLst>
                    <a:gs pos="1250">
                      <a:schemeClr val="tx2"/>
                    </a:gs>
                    <a:gs pos="99000">
                      <a:schemeClr val="tx2"/>
                    </a:gs>
                  </a:gsLst>
                  <a:lin ang="5400000" scaled="0"/>
                </a:gradFill>
              </a:defRPr>
            </a:lvl1pPr>
            <a:lvl2pPr marL="520502" indent="-228513">
              <a:buClr>
                <a:schemeClr val="bg1"/>
              </a:buClr>
              <a:defRPr sz="2353"/>
            </a:lvl2pPr>
            <a:lvl3pPr marL="685539" indent="-165038">
              <a:buClr>
                <a:schemeClr val="bg1"/>
              </a:buClr>
              <a:tabLst/>
              <a:defRPr sz="1961"/>
            </a:lvl3pPr>
            <a:lvl4pPr marL="863271" indent="-177733">
              <a:buClr>
                <a:schemeClr val="bg1"/>
              </a:buClr>
              <a:defRPr/>
            </a:lvl4pPr>
            <a:lvl5pPr marL="1028308" indent="-165038">
              <a:buClr>
                <a:schemeClr val="bg1"/>
              </a:buCl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469510" y="1189178"/>
            <a:ext cx="5453252" cy="1943393"/>
          </a:xfrm>
        </p:spPr>
        <p:txBody>
          <a:bodyPr wrap="square">
            <a:spAutoFit/>
          </a:bodyPr>
          <a:lstStyle>
            <a:lvl1pPr marL="0" indent="0">
              <a:spcBef>
                <a:spcPts val="1200"/>
              </a:spcBef>
              <a:buClr>
                <a:schemeClr val="bg1"/>
              </a:buClr>
              <a:buFont typeface="Arial" pitchFamily="34" charset="0"/>
              <a:buChar char="•"/>
              <a:defRPr sz="3135">
                <a:gradFill>
                  <a:gsLst>
                    <a:gs pos="1250">
                      <a:schemeClr val="tx2"/>
                    </a:gs>
                    <a:gs pos="99000">
                      <a:schemeClr val="tx2"/>
                    </a:gs>
                  </a:gsLst>
                  <a:lin ang="5400000" scaled="0"/>
                </a:gradFill>
              </a:defRPr>
            </a:lvl1pPr>
            <a:lvl2pPr marL="520502" indent="-228513">
              <a:buClr>
                <a:schemeClr val="bg1"/>
              </a:buClr>
              <a:defRPr sz="2353"/>
            </a:lvl2pPr>
            <a:lvl3pPr marL="685539" indent="-165038">
              <a:buClr>
                <a:schemeClr val="bg1"/>
              </a:buClr>
              <a:tabLst/>
              <a:defRPr sz="1961"/>
            </a:lvl3pPr>
            <a:lvl4pPr marL="863271" indent="-177733">
              <a:buClr>
                <a:schemeClr val="bg1"/>
              </a:buClr>
              <a:defRPr/>
            </a:lvl4pPr>
            <a:lvl5pPr marL="1028308" indent="-165038">
              <a:buClr>
                <a:schemeClr val="bg1"/>
              </a:buCl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Rectangle 8"/>
          <p:cNvSpPr/>
          <p:nvPr userDrawn="1"/>
        </p:nvSpPr>
        <p:spPr>
          <a:xfrm>
            <a:off x="179597" y="6609042"/>
            <a:ext cx="2360896" cy="253787"/>
          </a:xfrm>
          <a:prstGeom prst="rect">
            <a:avLst/>
          </a:prstGeom>
        </p:spPr>
        <p:txBody>
          <a:bodyPr wrap="square">
            <a:sp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027" b="0" i="0" u="none" strike="noStrike" kern="1200" cap="none" spc="0" normalizeH="0" baseline="0" noProof="0" dirty="0">
                <a:ln>
                  <a:noFill/>
                </a:ln>
                <a:solidFill>
                  <a:srgbClr val="505050"/>
                </a:solidFill>
                <a:effectLst/>
                <a:uLnTx/>
                <a:uFillTx/>
                <a:latin typeface="Segoe UI"/>
                <a:ea typeface="+mn-ea"/>
                <a:cs typeface="+mn-cs"/>
              </a:rPr>
              <a:t>Microsoft Confidential</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88582" y="6364610"/>
            <a:ext cx="1064371" cy="404644"/>
          </a:xfrm>
          <a:prstGeom prst="rect">
            <a:avLst/>
          </a:prstGeom>
        </p:spPr>
      </p:pic>
    </p:spTree>
    <p:extLst>
      <p:ext uri="{BB962C8B-B14F-4D97-AF65-F5344CB8AC3E}">
        <p14:creationId xmlns:p14="http://schemas.microsoft.com/office/powerpoint/2010/main" val="365789197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69239" y="291069"/>
            <a:ext cx="11155093" cy="914360"/>
          </a:xfrm>
        </p:spPr>
        <p:txBody>
          <a:bodyPr>
            <a:spAutoFit/>
          </a:bodyPr>
          <a:lstStyle>
            <a:lvl1pPr>
              <a:defRPr sz="5294"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269239" y="1187621"/>
            <a:ext cx="11151917" cy="2504683"/>
          </a:xfrm>
          <a:prstGeom prst="rect">
            <a:avLst/>
          </a:prstGeom>
        </p:spPr>
        <p:txBody>
          <a:bodyPr>
            <a:spAutoFit/>
          </a:bodyPr>
          <a:lstStyle>
            <a:lvl1pPr marL="342901" indent="-342901">
              <a:buClr>
                <a:srgbClr val="FFFFFF"/>
              </a:buClr>
              <a:buSzPct val="90000"/>
              <a:buFont typeface="Arial" pitchFamily="34" charset="0"/>
              <a:buChar char="•"/>
              <a:defRPr sz="3529">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3" indent="-285752">
              <a:buClr>
                <a:srgbClr val="FFFFFF"/>
              </a:buClr>
              <a:buSzPct val="90000"/>
              <a:buFont typeface="Arial" pitchFamily="34" charset="0"/>
              <a:buChar char="•"/>
              <a:defRPr sz="3137">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3" indent="-285752">
              <a:buClr>
                <a:srgbClr val="FFFFFF"/>
              </a:buClr>
              <a:buSzPct val="90000"/>
              <a:buFont typeface="Arial" pitchFamily="34" charset="0"/>
              <a:buChar char="•"/>
              <a:defRPr sz="2745">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4" indent="-228601">
              <a:buClr>
                <a:srgbClr val="FFFFFF"/>
              </a:buClr>
              <a:buSzPct val="90000"/>
              <a:buFont typeface="Arial" pitchFamily="34" charset="0"/>
              <a:buChar char="•"/>
              <a:defRPr sz="2353">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5" indent="-228601">
              <a:buClr>
                <a:srgbClr val="FFFFFF"/>
              </a:buClr>
              <a:buSzPct val="90000"/>
              <a:buFont typeface="Arial" pitchFamily="34" charset="0"/>
              <a:buChar char="•"/>
              <a:defRPr sz="1961">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927880590"/>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1228591"/>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54892" y="481158"/>
            <a:ext cx="1408078" cy="300619"/>
          </a:xfrm>
          <a:prstGeom prst="rect">
            <a:avLst/>
          </a:prstGeom>
        </p:spPr>
      </p:pic>
      <p:sp>
        <p:nvSpPr>
          <p:cNvPr id="12" name="Freeform 1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00BCF2"/>
          </a:solidFill>
          <a:ln>
            <a:noFill/>
          </a:ln>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8315230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
        <p:nvSpPr>
          <p:cNvPr id="7" name="Text Placeholder 2"/>
          <p:cNvSpPr>
            <a:spLocks noGrp="1"/>
          </p:cNvSpPr>
          <p:nvPr>
            <p:ph type="body" sz="quarter" idx="13" hasCustomPrompt="1"/>
          </p:nvPr>
        </p:nvSpPr>
        <p:spPr>
          <a:xfrm>
            <a:off x="8337063" y="301617"/>
            <a:ext cx="3584143"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
        <p:nvSpPr>
          <p:cNvPr id="8" name="TextBox 7"/>
          <p:cNvSpPr txBox="1"/>
          <p:nvPr userDrawn="1"/>
        </p:nvSpPr>
        <p:spPr>
          <a:xfrm>
            <a:off x="283308" y="5954047"/>
            <a:ext cx="1862846" cy="615609"/>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36466554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7" name="Text Placeholder 2"/>
          <p:cNvSpPr>
            <a:spLocks noGrp="1"/>
          </p:cNvSpPr>
          <p:nvPr>
            <p:ph type="body" sz="quarter" idx="13" hasCustomPrompt="1"/>
          </p:nvPr>
        </p:nvSpPr>
        <p:spPr>
          <a:xfrm>
            <a:off x="8337063" y="301617"/>
            <a:ext cx="3584143"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
        <p:nvSpPr>
          <p:cNvPr id="8" name="Freeform 7"/>
          <p:cNvSpPr>
            <a:spLocks noChangeAspect="1" noEditPoints="1"/>
          </p:cNvSpPr>
          <p:nvPr userDrawn="1"/>
        </p:nvSpPr>
        <p:spPr bwMode="black">
          <a:xfrm>
            <a:off x="448212" y="481157"/>
            <a:ext cx="1214650" cy="30482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a:solidFill>
                <a:srgbClr val="404040"/>
              </a:solidFill>
            </a:endParaRPr>
          </a:p>
        </p:txBody>
      </p:sp>
      <p:sp>
        <p:nvSpPr>
          <p:cNvPr id="9" name="TextBox 8"/>
          <p:cNvSpPr txBox="1"/>
          <p:nvPr userDrawn="1"/>
        </p:nvSpPr>
        <p:spPr>
          <a:xfrm>
            <a:off x="283308" y="5954047"/>
            <a:ext cx="1862846" cy="615609"/>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27347796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2055306"/>
          </a:xfrm>
        </p:spPr>
        <p:txBody>
          <a:bodyPr/>
          <a:lstStyle>
            <a:lvl1pPr marL="0" indent="0">
              <a:buNone/>
              <a:defRPr>
                <a:gradFill>
                  <a:gsLst>
                    <a:gs pos="1250">
                      <a:schemeClr val="tx1"/>
                    </a:gs>
                    <a:gs pos="99000">
                      <a:schemeClr val="tx1"/>
                    </a:gs>
                  </a:gsLst>
                  <a:lin ang="5400000" scaled="0"/>
                </a:gradFill>
              </a:defRPr>
            </a:lvl1pPr>
            <a:lvl2pPr marL="0" indent="0">
              <a:buFontTx/>
              <a:buNone/>
              <a:defRPr sz="2353"/>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42435443"/>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28499364"/>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95849766"/>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94831375"/>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394550209"/>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419907304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90753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8964248" cy="1158793"/>
          </a:xfrm>
          <a:noFill/>
        </p:spPr>
        <p:txBody>
          <a:bodyPr wrap="square" tIns="91440" bIns="91440" anchor="t" anchorCtr="0">
            <a:spAutoFit/>
          </a:bodyPr>
          <a:lstStyle>
            <a:lvl1pPr>
              <a:defRPr sz="7058" spc="-98" baseline="0">
                <a:gradFill>
                  <a:gsLst>
                    <a:gs pos="6195">
                      <a:schemeClr val="tx1"/>
                    </a:gs>
                    <a:gs pos="24779">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964247" cy="724246"/>
          </a:xfrm>
          <a:noFill/>
        </p:spPr>
        <p:txBody>
          <a:bodyPr wrap="square" lIns="182880" tIns="146304" rIns="182880" bIns="146304">
            <a:spAutoFit/>
          </a:bodyPr>
          <a:lstStyle>
            <a:lvl1pPr marL="0" indent="0">
              <a:spcBef>
                <a:spcPts val="0"/>
              </a:spcBef>
              <a:buNone/>
              <a:defRPr sz="3137" spc="0" baseline="0">
                <a:gradFill>
                  <a:gsLst>
                    <a:gs pos="6195">
                      <a:schemeClr val="tx1"/>
                    </a:gs>
                    <a:gs pos="24779">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0925907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964247"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4933196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280759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21239">
                      <a:srgbClr val="FFFFFF"/>
                    </a:gs>
                    <a:gs pos="52000">
                      <a:srgbClr val="FFFFFF"/>
                    </a:gs>
                  </a:gsLst>
                  <a:lin ang="5400000" scaled="0"/>
                </a:gradFill>
              </a:defRPr>
            </a:lvl1pPr>
          </a:lstStyle>
          <a:p>
            <a:r>
              <a:rPr lang="en-US" dirty="0"/>
              <a:t>Section title</a:t>
            </a:r>
          </a:p>
        </p:txBody>
      </p:sp>
    </p:spTree>
    <p:extLst>
      <p:ext uri="{BB962C8B-B14F-4D97-AF65-F5344CB8AC3E}">
        <p14:creationId xmlns:p14="http://schemas.microsoft.com/office/powerpoint/2010/main" val="5750429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dpi="0" rotWithShape="1">
            <a:blip r:embed="rId2"/>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5036033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7271332"/>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38627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Blank Accent Color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90225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08405020"/>
      </p:ext>
    </p:extLst>
  </p:cSld>
  <p:clrMapOvr>
    <a:masterClrMapping/>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rgbClr val="505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4665001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25015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684259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type="title" preserve="1">
  <p:cSld name="제목 슬라이드">
    <p:spTree>
      <p:nvGrpSpPr>
        <p:cNvPr id="1" name=""/>
        <p:cNvGrpSpPr/>
        <p:nvPr/>
      </p:nvGrpSpPr>
      <p:grpSpPr>
        <a:xfrm>
          <a:off x="0" y="0"/>
          <a:ext cx="0" cy="0"/>
          <a:chOff x="0" y="0"/>
          <a:chExt cx="0" cy="0"/>
        </a:xfrm>
      </p:grpSpPr>
      <p:sp>
        <p:nvSpPr>
          <p:cNvPr id="2" name="제목 1"/>
          <p:cNvSpPr>
            <a:spLocks noGrp="1"/>
          </p:cNvSpPr>
          <p:nvPr>
            <p:ph type="ctrTitle"/>
          </p:nvPr>
        </p:nvSpPr>
        <p:spPr>
          <a:xfrm>
            <a:off x="1524000" y="1122363"/>
            <a:ext cx="9144000" cy="2387600"/>
          </a:xfrm>
        </p:spPr>
        <p:txBody>
          <a:bodyPr anchor="b"/>
          <a:lstStyle>
            <a:lvl1pPr algn="ctr">
              <a:defRPr sz="5998"/>
            </a:lvl1pPr>
          </a:lstStyle>
          <a:p>
            <a:r>
              <a:rPr kumimoji="1" lang="ko-KR" altLang="en-US"/>
              <a:t>마스터 제목 스타일 편집</a:t>
            </a:r>
          </a:p>
        </p:txBody>
      </p:sp>
      <p:sp>
        <p:nvSpPr>
          <p:cNvPr id="3" name="부제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kumimoji="1" lang="ko-KR" altLang="en-US"/>
              <a:t>마스터 부제목 스타일 편집</a:t>
            </a:r>
          </a:p>
        </p:txBody>
      </p:sp>
      <p:sp>
        <p:nvSpPr>
          <p:cNvPr id="4" name="날짜 개체 틀 3"/>
          <p:cNvSpPr>
            <a:spLocks noGrp="1"/>
          </p:cNvSpPr>
          <p:nvPr>
            <p:ph type="dt" sz="half" idx="10"/>
          </p:nvPr>
        </p:nvSpPr>
        <p:spPr/>
        <p:txBody>
          <a:bodyPr/>
          <a:lstStyle/>
          <a:p>
            <a:fld id="{D735A38F-BD23-1340-95E9-C29C2C204A54}" type="datetimeFigureOut">
              <a:rPr kumimoji="1" lang="ko-KR" altLang="en-US" smtClean="0">
                <a:solidFill>
                  <a:prstClr val="black">
                    <a:tint val="75000"/>
                  </a:prstClr>
                </a:solidFill>
              </a:rPr>
              <a:pPr/>
              <a:t>2016-09-20</a:t>
            </a:fld>
            <a:endParaRPr kumimoji="1" lang="ko-KR" altLang="en-US">
              <a:solidFill>
                <a:prstClr val="black">
                  <a:tint val="75000"/>
                </a:prstClr>
              </a:solidFill>
            </a:endParaRPr>
          </a:p>
        </p:txBody>
      </p:sp>
      <p:sp>
        <p:nvSpPr>
          <p:cNvPr id="5" name="바닥글 개체 틀 4"/>
          <p:cNvSpPr>
            <a:spLocks noGrp="1"/>
          </p:cNvSpPr>
          <p:nvPr>
            <p:ph type="ftr" sz="quarter" idx="11"/>
          </p:nvPr>
        </p:nvSpPr>
        <p:spPr/>
        <p:txBody>
          <a:bodyPr/>
          <a:lstStyle/>
          <a:p>
            <a:endParaRPr kumimoji="1" lang="ko-KR" altLang="en-US">
              <a:solidFill>
                <a:prstClr val="black">
                  <a:tint val="75000"/>
                </a:prstClr>
              </a:solidFill>
            </a:endParaRPr>
          </a:p>
        </p:txBody>
      </p:sp>
      <p:sp>
        <p:nvSpPr>
          <p:cNvPr id="6" name="슬라이드 번호 개체 틀 5"/>
          <p:cNvSpPr>
            <a:spLocks noGrp="1"/>
          </p:cNvSpPr>
          <p:nvPr>
            <p:ph type="sldNum" sz="quarter" idx="12"/>
          </p:nvPr>
        </p:nvSpPr>
        <p:spPr/>
        <p:txBody>
          <a:bodyPr/>
          <a:lstStyle/>
          <a:p>
            <a:fld id="{855879BB-F311-F04F-9F9C-BD345EDA3B84}" type="slidenum">
              <a:rPr kumimoji="1" lang="ko-KR" altLang="en-US" smtClean="0">
                <a:solidFill>
                  <a:prstClr val="black">
                    <a:tint val="75000"/>
                  </a:prstClr>
                </a:solidFill>
              </a:rPr>
              <a:pPr/>
              <a:t>‹#›</a:t>
            </a:fld>
            <a:endParaRPr kumimoji="1" lang="ko-KR" altLang="en-US">
              <a:solidFill>
                <a:prstClr val="black">
                  <a:tint val="75000"/>
                </a:prstClr>
              </a:solidFill>
            </a:endParaRPr>
          </a:p>
        </p:txBody>
      </p:sp>
    </p:spTree>
    <p:extLst>
      <p:ext uri="{BB962C8B-B14F-4D97-AF65-F5344CB8AC3E}">
        <p14:creationId xmlns:p14="http://schemas.microsoft.com/office/powerpoint/2010/main" val="3277285912"/>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type="obj" preserve="1">
  <p:cSld name="제목 및 내용">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kumimoji="1" lang="ko-KR" altLang="en-US"/>
              <a:t>마스터 제목 스타일 편집</a:t>
            </a:r>
          </a:p>
        </p:txBody>
      </p:sp>
      <p:sp>
        <p:nvSpPr>
          <p:cNvPr id="3" name="내용 개체 틀 2"/>
          <p:cNvSpPr>
            <a:spLocks noGrp="1"/>
          </p:cNvSpPr>
          <p:nvPr>
            <p:ph idx="1"/>
          </p:nvPr>
        </p:nvSpPr>
        <p:spPr/>
        <p:txBody>
          <a:bodyPr/>
          <a:lstStyle/>
          <a:p>
            <a:pPr lvl="0"/>
            <a:r>
              <a:rPr kumimoji="1" lang="ko-KR" altLang="en-US"/>
              <a:t>마스터 텍스트 스타일을 편집하려면 클릭</a:t>
            </a:r>
          </a:p>
          <a:p>
            <a:pPr lvl="1"/>
            <a:r>
              <a:rPr kumimoji="1" lang="ko-KR" altLang="en-US"/>
              <a:t>두 번째 수준</a:t>
            </a:r>
          </a:p>
          <a:p>
            <a:pPr lvl="2"/>
            <a:r>
              <a:rPr kumimoji="1" lang="ko-KR" altLang="en-US"/>
              <a:t>세 번째 수준</a:t>
            </a:r>
          </a:p>
          <a:p>
            <a:pPr lvl="3"/>
            <a:r>
              <a:rPr kumimoji="1" lang="ko-KR" altLang="en-US"/>
              <a:t>네 번째 수준</a:t>
            </a:r>
          </a:p>
          <a:p>
            <a:pPr lvl="4"/>
            <a:r>
              <a:rPr kumimoji="1" lang="ko-KR" altLang="en-US"/>
              <a:t>다섯 번째 수준</a:t>
            </a:r>
          </a:p>
        </p:txBody>
      </p:sp>
      <p:sp>
        <p:nvSpPr>
          <p:cNvPr id="4" name="날짜 개체 틀 3"/>
          <p:cNvSpPr>
            <a:spLocks noGrp="1"/>
          </p:cNvSpPr>
          <p:nvPr>
            <p:ph type="dt" sz="half" idx="10"/>
          </p:nvPr>
        </p:nvSpPr>
        <p:spPr/>
        <p:txBody>
          <a:bodyPr/>
          <a:lstStyle/>
          <a:p>
            <a:fld id="{D735A38F-BD23-1340-95E9-C29C2C204A54}" type="datetimeFigureOut">
              <a:rPr kumimoji="1" lang="ko-KR" altLang="en-US" smtClean="0">
                <a:solidFill>
                  <a:prstClr val="black">
                    <a:tint val="75000"/>
                  </a:prstClr>
                </a:solidFill>
              </a:rPr>
              <a:pPr/>
              <a:t>2016-09-20</a:t>
            </a:fld>
            <a:endParaRPr kumimoji="1" lang="ko-KR" altLang="en-US">
              <a:solidFill>
                <a:prstClr val="black">
                  <a:tint val="75000"/>
                </a:prstClr>
              </a:solidFill>
            </a:endParaRPr>
          </a:p>
        </p:txBody>
      </p:sp>
      <p:sp>
        <p:nvSpPr>
          <p:cNvPr id="5" name="바닥글 개체 틀 4"/>
          <p:cNvSpPr>
            <a:spLocks noGrp="1"/>
          </p:cNvSpPr>
          <p:nvPr>
            <p:ph type="ftr" sz="quarter" idx="11"/>
          </p:nvPr>
        </p:nvSpPr>
        <p:spPr/>
        <p:txBody>
          <a:bodyPr/>
          <a:lstStyle/>
          <a:p>
            <a:endParaRPr kumimoji="1" lang="ko-KR" altLang="en-US">
              <a:solidFill>
                <a:prstClr val="black">
                  <a:tint val="75000"/>
                </a:prstClr>
              </a:solidFill>
            </a:endParaRPr>
          </a:p>
        </p:txBody>
      </p:sp>
      <p:sp>
        <p:nvSpPr>
          <p:cNvPr id="6" name="슬라이드 번호 개체 틀 5"/>
          <p:cNvSpPr>
            <a:spLocks noGrp="1"/>
          </p:cNvSpPr>
          <p:nvPr>
            <p:ph type="sldNum" sz="quarter" idx="12"/>
          </p:nvPr>
        </p:nvSpPr>
        <p:spPr/>
        <p:txBody>
          <a:bodyPr/>
          <a:lstStyle/>
          <a:p>
            <a:fld id="{855879BB-F311-F04F-9F9C-BD345EDA3B84}" type="slidenum">
              <a:rPr kumimoji="1" lang="ko-KR" altLang="en-US" smtClean="0">
                <a:solidFill>
                  <a:prstClr val="black">
                    <a:tint val="75000"/>
                  </a:prstClr>
                </a:solidFill>
              </a:rPr>
              <a:pPr/>
              <a:t>‹#›</a:t>
            </a:fld>
            <a:endParaRPr kumimoji="1" lang="ko-KR" altLang="en-US">
              <a:solidFill>
                <a:prstClr val="black">
                  <a:tint val="75000"/>
                </a:prstClr>
              </a:solidFill>
            </a:endParaRPr>
          </a:p>
        </p:txBody>
      </p:sp>
    </p:spTree>
    <p:extLst>
      <p:ext uri="{BB962C8B-B14F-4D97-AF65-F5344CB8AC3E}">
        <p14:creationId xmlns:p14="http://schemas.microsoft.com/office/powerpoint/2010/main" val="2454607830"/>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type="secHead" preserve="1">
  <p:cSld name="구역 머리글">
    <p:spTree>
      <p:nvGrpSpPr>
        <p:cNvPr id="1" name=""/>
        <p:cNvGrpSpPr/>
        <p:nvPr/>
      </p:nvGrpSpPr>
      <p:grpSpPr>
        <a:xfrm>
          <a:off x="0" y="0"/>
          <a:ext cx="0" cy="0"/>
          <a:chOff x="0" y="0"/>
          <a:chExt cx="0" cy="0"/>
        </a:xfrm>
      </p:grpSpPr>
      <p:sp>
        <p:nvSpPr>
          <p:cNvPr id="2" name="제목 1"/>
          <p:cNvSpPr>
            <a:spLocks noGrp="1"/>
          </p:cNvSpPr>
          <p:nvPr>
            <p:ph type="title"/>
          </p:nvPr>
        </p:nvSpPr>
        <p:spPr>
          <a:xfrm>
            <a:off x="831850" y="1709739"/>
            <a:ext cx="10515600" cy="2852737"/>
          </a:xfrm>
        </p:spPr>
        <p:txBody>
          <a:bodyPr anchor="b"/>
          <a:lstStyle>
            <a:lvl1pPr>
              <a:defRPr sz="5998"/>
            </a:lvl1pPr>
          </a:lstStyle>
          <a:p>
            <a:r>
              <a:rPr kumimoji="1" lang="ko-KR" altLang="en-US"/>
              <a:t>마스터 제목 스타일 편집</a:t>
            </a:r>
          </a:p>
        </p:txBody>
      </p:sp>
      <p:sp>
        <p:nvSpPr>
          <p:cNvPr id="3" name="텍스트 개체 틀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kumimoji="1" lang="ko-KR" altLang="en-US"/>
              <a:t>마스터 텍스트 스타일을 편집하려면 클릭</a:t>
            </a:r>
          </a:p>
        </p:txBody>
      </p:sp>
      <p:sp>
        <p:nvSpPr>
          <p:cNvPr id="4" name="날짜 개체 틀 3"/>
          <p:cNvSpPr>
            <a:spLocks noGrp="1"/>
          </p:cNvSpPr>
          <p:nvPr>
            <p:ph type="dt" sz="half" idx="10"/>
          </p:nvPr>
        </p:nvSpPr>
        <p:spPr/>
        <p:txBody>
          <a:bodyPr/>
          <a:lstStyle/>
          <a:p>
            <a:fld id="{D735A38F-BD23-1340-95E9-C29C2C204A54}" type="datetimeFigureOut">
              <a:rPr kumimoji="1" lang="ko-KR" altLang="en-US" smtClean="0">
                <a:solidFill>
                  <a:prstClr val="black">
                    <a:tint val="75000"/>
                  </a:prstClr>
                </a:solidFill>
              </a:rPr>
              <a:pPr/>
              <a:t>2016-09-20</a:t>
            </a:fld>
            <a:endParaRPr kumimoji="1" lang="ko-KR" altLang="en-US">
              <a:solidFill>
                <a:prstClr val="black">
                  <a:tint val="75000"/>
                </a:prstClr>
              </a:solidFill>
            </a:endParaRPr>
          </a:p>
        </p:txBody>
      </p:sp>
      <p:sp>
        <p:nvSpPr>
          <p:cNvPr id="5" name="바닥글 개체 틀 4"/>
          <p:cNvSpPr>
            <a:spLocks noGrp="1"/>
          </p:cNvSpPr>
          <p:nvPr>
            <p:ph type="ftr" sz="quarter" idx="11"/>
          </p:nvPr>
        </p:nvSpPr>
        <p:spPr/>
        <p:txBody>
          <a:bodyPr/>
          <a:lstStyle/>
          <a:p>
            <a:endParaRPr kumimoji="1" lang="ko-KR" altLang="en-US">
              <a:solidFill>
                <a:prstClr val="black">
                  <a:tint val="75000"/>
                </a:prstClr>
              </a:solidFill>
            </a:endParaRPr>
          </a:p>
        </p:txBody>
      </p:sp>
      <p:sp>
        <p:nvSpPr>
          <p:cNvPr id="6" name="슬라이드 번호 개체 틀 5"/>
          <p:cNvSpPr>
            <a:spLocks noGrp="1"/>
          </p:cNvSpPr>
          <p:nvPr>
            <p:ph type="sldNum" sz="quarter" idx="12"/>
          </p:nvPr>
        </p:nvSpPr>
        <p:spPr/>
        <p:txBody>
          <a:bodyPr/>
          <a:lstStyle/>
          <a:p>
            <a:fld id="{855879BB-F311-F04F-9F9C-BD345EDA3B84}" type="slidenum">
              <a:rPr kumimoji="1" lang="ko-KR" altLang="en-US" smtClean="0">
                <a:solidFill>
                  <a:prstClr val="black">
                    <a:tint val="75000"/>
                  </a:prstClr>
                </a:solidFill>
              </a:rPr>
              <a:pPr/>
              <a:t>‹#›</a:t>
            </a:fld>
            <a:endParaRPr kumimoji="1" lang="ko-KR" altLang="en-US">
              <a:solidFill>
                <a:prstClr val="black">
                  <a:tint val="75000"/>
                </a:prstClr>
              </a:solidFill>
            </a:endParaRPr>
          </a:p>
        </p:txBody>
      </p:sp>
    </p:spTree>
    <p:extLst>
      <p:ext uri="{BB962C8B-B14F-4D97-AF65-F5344CB8AC3E}">
        <p14:creationId xmlns:p14="http://schemas.microsoft.com/office/powerpoint/2010/main" val="2492208569"/>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type="twoObj" preserve="1">
  <p:cSld name="콘텐츠 2개">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kumimoji="1" lang="ko-KR" altLang="en-US"/>
              <a:t>마스터 제목 스타일 편집</a:t>
            </a:r>
          </a:p>
        </p:txBody>
      </p:sp>
      <p:sp>
        <p:nvSpPr>
          <p:cNvPr id="3" name="내용 개체 틀 2"/>
          <p:cNvSpPr>
            <a:spLocks noGrp="1"/>
          </p:cNvSpPr>
          <p:nvPr>
            <p:ph sz="half" idx="1"/>
          </p:nvPr>
        </p:nvSpPr>
        <p:spPr>
          <a:xfrm>
            <a:off x="838200" y="1825625"/>
            <a:ext cx="5181600" cy="4351338"/>
          </a:xfrm>
        </p:spPr>
        <p:txBody>
          <a:bodyPr/>
          <a:lstStyle/>
          <a:p>
            <a:pPr lvl="0"/>
            <a:r>
              <a:rPr kumimoji="1" lang="ko-KR" altLang="en-US"/>
              <a:t>마스터 텍스트 스타일을 편집하려면 클릭</a:t>
            </a:r>
          </a:p>
          <a:p>
            <a:pPr lvl="1"/>
            <a:r>
              <a:rPr kumimoji="1" lang="ko-KR" altLang="en-US"/>
              <a:t>두 번째 수준</a:t>
            </a:r>
          </a:p>
          <a:p>
            <a:pPr lvl="2"/>
            <a:r>
              <a:rPr kumimoji="1" lang="ko-KR" altLang="en-US"/>
              <a:t>세 번째 수준</a:t>
            </a:r>
          </a:p>
          <a:p>
            <a:pPr lvl="3"/>
            <a:r>
              <a:rPr kumimoji="1" lang="ko-KR" altLang="en-US"/>
              <a:t>네 번째 수준</a:t>
            </a:r>
          </a:p>
          <a:p>
            <a:pPr lvl="4"/>
            <a:r>
              <a:rPr kumimoji="1" lang="ko-KR" altLang="en-US"/>
              <a:t>다섯 번째 수준</a:t>
            </a:r>
          </a:p>
        </p:txBody>
      </p:sp>
      <p:sp>
        <p:nvSpPr>
          <p:cNvPr id="4" name="내용 개체 틀 3"/>
          <p:cNvSpPr>
            <a:spLocks noGrp="1"/>
          </p:cNvSpPr>
          <p:nvPr>
            <p:ph sz="half" idx="2"/>
          </p:nvPr>
        </p:nvSpPr>
        <p:spPr>
          <a:xfrm>
            <a:off x="6172200" y="1825625"/>
            <a:ext cx="5181600" cy="4351338"/>
          </a:xfrm>
        </p:spPr>
        <p:txBody>
          <a:bodyPr/>
          <a:lstStyle/>
          <a:p>
            <a:pPr lvl="0"/>
            <a:r>
              <a:rPr kumimoji="1" lang="ko-KR" altLang="en-US"/>
              <a:t>마스터 텍스트 스타일을 편집하려면 클릭</a:t>
            </a:r>
          </a:p>
          <a:p>
            <a:pPr lvl="1"/>
            <a:r>
              <a:rPr kumimoji="1" lang="ko-KR" altLang="en-US"/>
              <a:t>두 번째 수준</a:t>
            </a:r>
          </a:p>
          <a:p>
            <a:pPr lvl="2"/>
            <a:r>
              <a:rPr kumimoji="1" lang="ko-KR" altLang="en-US"/>
              <a:t>세 번째 수준</a:t>
            </a:r>
          </a:p>
          <a:p>
            <a:pPr lvl="3"/>
            <a:r>
              <a:rPr kumimoji="1" lang="ko-KR" altLang="en-US"/>
              <a:t>네 번째 수준</a:t>
            </a:r>
          </a:p>
          <a:p>
            <a:pPr lvl="4"/>
            <a:r>
              <a:rPr kumimoji="1" lang="ko-KR" altLang="en-US"/>
              <a:t>다섯 번째 수준</a:t>
            </a:r>
          </a:p>
        </p:txBody>
      </p:sp>
      <p:sp>
        <p:nvSpPr>
          <p:cNvPr id="5" name="날짜 개체 틀 4"/>
          <p:cNvSpPr>
            <a:spLocks noGrp="1"/>
          </p:cNvSpPr>
          <p:nvPr>
            <p:ph type="dt" sz="half" idx="10"/>
          </p:nvPr>
        </p:nvSpPr>
        <p:spPr/>
        <p:txBody>
          <a:bodyPr/>
          <a:lstStyle/>
          <a:p>
            <a:fld id="{D735A38F-BD23-1340-95E9-C29C2C204A54}" type="datetimeFigureOut">
              <a:rPr kumimoji="1" lang="ko-KR" altLang="en-US" smtClean="0">
                <a:solidFill>
                  <a:prstClr val="black">
                    <a:tint val="75000"/>
                  </a:prstClr>
                </a:solidFill>
              </a:rPr>
              <a:pPr/>
              <a:t>2016-09-20</a:t>
            </a:fld>
            <a:endParaRPr kumimoji="1" lang="ko-KR" altLang="en-US">
              <a:solidFill>
                <a:prstClr val="black">
                  <a:tint val="75000"/>
                </a:prstClr>
              </a:solidFill>
            </a:endParaRPr>
          </a:p>
        </p:txBody>
      </p:sp>
      <p:sp>
        <p:nvSpPr>
          <p:cNvPr id="6" name="바닥글 개체 틀 5"/>
          <p:cNvSpPr>
            <a:spLocks noGrp="1"/>
          </p:cNvSpPr>
          <p:nvPr>
            <p:ph type="ftr" sz="quarter" idx="11"/>
          </p:nvPr>
        </p:nvSpPr>
        <p:spPr/>
        <p:txBody>
          <a:bodyPr/>
          <a:lstStyle/>
          <a:p>
            <a:endParaRPr kumimoji="1" lang="ko-KR" altLang="en-US">
              <a:solidFill>
                <a:prstClr val="black">
                  <a:tint val="75000"/>
                </a:prstClr>
              </a:solidFill>
            </a:endParaRPr>
          </a:p>
        </p:txBody>
      </p:sp>
      <p:sp>
        <p:nvSpPr>
          <p:cNvPr id="7" name="슬라이드 번호 개체 틀 6"/>
          <p:cNvSpPr>
            <a:spLocks noGrp="1"/>
          </p:cNvSpPr>
          <p:nvPr>
            <p:ph type="sldNum" sz="quarter" idx="12"/>
          </p:nvPr>
        </p:nvSpPr>
        <p:spPr/>
        <p:txBody>
          <a:bodyPr/>
          <a:lstStyle/>
          <a:p>
            <a:fld id="{855879BB-F311-F04F-9F9C-BD345EDA3B84}" type="slidenum">
              <a:rPr kumimoji="1" lang="ko-KR" altLang="en-US" smtClean="0">
                <a:solidFill>
                  <a:prstClr val="black">
                    <a:tint val="75000"/>
                  </a:prstClr>
                </a:solidFill>
              </a:rPr>
              <a:pPr/>
              <a:t>‹#›</a:t>
            </a:fld>
            <a:endParaRPr kumimoji="1" lang="ko-KR" altLang="en-US">
              <a:solidFill>
                <a:prstClr val="black">
                  <a:tint val="75000"/>
                </a:prstClr>
              </a:solidFill>
            </a:endParaRPr>
          </a:p>
        </p:txBody>
      </p:sp>
    </p:spTree>
    <p:extLst>
      <p:ext uri="{BB962C8B-B14F-4D97-AF65-F5344CB8AC3E}">
        <p14:creationId xmlns:p14="http://schemas.microsoft.com/office/powerpoint/2010/main" val="25281291"/>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type="twoTxTwoObj" preserve="1">
  <p:cSld name="비교">
    <p:spTree>
      <p:nvGrpSpPr>
        <p:cNvPr id="1" name=""/>
        <p:cNvGrpSpPr/>
        <p:nvPr/>
      </p:nvGrpSpPr>
      <p:grpSpPr>
        <a:xfrm>
          <a:off x="0" y="0"/>
          <a:ext cx="0" cy="0"/>
          <a:chOff x="0" y="0"/>
          <a:chExt cx="0" cy="0"/>
        </a:xfrm>
      </p:grpSpPr>
      <p:sp>
        <p:nvSpPr>
          <p:cNvPr id="2" name="제목 1"/>
          <p:cNvSpPr>
            <a:spLocks noGrp="1"/>
          </p:cNvSpPr>
          <p:nvPr>
            <p:ph type="title"/>
          </p:nvPr>
        </p:nvSpPr>
        <p:spPr>
          <a:xfrm>
            <a:off x="839788" y="365126"/>
            <a:ext cx="10515600" cy="1325563"/>
          </a:xfrm>
        </p:spPr>
        <p:txBody>
          <a:bodyPr/>
          <a:lstStyle/>
          <a:p>
            <a:r>
              <a:rPr kumimoji="1" lang="ko-KR" altLang="en-US"/>
              <a:t>마스터 제목 스타일 편집</a:t>
            </a:r>
          </a:p>
        </p:txBody>
      </p:sp>
      <p:sp>
        <p:nvSpPr>
          <p:cNvPr id="3" name="텍스트 개체 틀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kumimoji="1" lang="ko-KR" altLang="en-US"/>
              <a:t>마스터 텍스트 스타일을 편집하려면 클릭</a:t>
            </a:r>
          </a:p>
        </p:txBody>
      </p:sp>
      <p:sp>
        <p:nvSpPr>
          <p:cNvPr id="4" name="내용 개체 틀 3"/>
          <p:cNvSpPr>
            <a:spLocks noGrp="1"/>
          </p:cNvSpPr>
          <p:nvPr>
            <p:ph sz="half" idx="2"/>
          </p:nvPr>
        </p:nvSpPr>
        <p:spPr>
          <a:xfrm>
            <a:off x="839789" y="2505075"/>
            <a:ext cx="5157787" cy="3684588"/>
          </a:xfrm>
        </p:spPr>
        <p:txBody>
          <a:bodyPr/>
          <a:lstStyle/>
          <a:p>
            <a:pPr lvl="0"/>
            <a:r>
              <a:rPr kumimoji="1" lang="ko-KR" altLang="en-US"/>
              <a:t>마스터 텍스트 스타일을 편집하려면 클릭</a:t>
            </a:r>
          </a:p>
          <a:p>
            <a:pPr lvl="1"/>
            <a:r>
              <a:rPr kumimoji="1" lang="ko-KR" altLang="en-US"/>
              <a:t>두 번째 수준</a:t>
            </a:r>
          </a:p>
          <a:p>
            <a:pPr lvl="2"/>
            <a:r>
              <a:rPr kumimoji="1" lang="ko-KR" altLang="en-US"/>
              <a:t>세 번째 수준</a:t>
            </a:r>
          </a:p>
          <a:p>
            <a:pPr lvl="3"/>
            <a:r>
              <a:rPr kumimoji="1" lang="ko-KR" altLang="en-US"/>
              <a:t>네 번째 수준</a:t>
            </a:r>
          </a:p>
          <a:p>
            <a:pPr lvl="4"/>
            <a:r>
              <a:rPr kumimoji="1" lang="ko-KR" altLang="en-US"/>
              <a:t>다섯 번째 수준</a:t>
            </a:r>
          </a:p>
        </p:txBody>
      </p:sp>
      <p:sp>
        <p:nvSpPr>
          <p:cNvPr id="5" name="텍스트 개체 틀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kumimoji="1" lang="ko-KR" altLang="en-US"/>
              <a:t>마스터 텍스트 스타일을 편집하려면 클릭</a:t>
            </a:r>
          </a:p>
        </p:txBody>
      </p:sp>
      <p:sp>
        <p:nvSpPr>
          <p:cNvPr id="6" name="내용 개체 틀 5"/>
          <p:cNvSpPr>
            <a:spLocks noGrp="1"/>
          </p:cNvSpPr>
          <p:nvPr>
            <p:ph sz="quarter" idx="4"/>
          </p:nvPr>
        </p:nvSpPr>
        <p:spPr>
          <a:xfrm>
            <a:off x="6172200" y="2505075"/>
            <a:ext cx="5183188" cy="3684588"/>
          </a:xfrm>
        </p:spPr>
        <p:txBody>
          <a:bodyPr/>
          <a:lstStyle/>
          <a:p>
            <a:pPr lvl="0"/>
            <a:r>
              <a:rPr kumimoji="1" lang="ko-KR" altLang="en-US"/>
              <a:t>마스터 텍스트 스타일을 편집하려면 클릭</a:t>
            </a:r>
          </a:p>
          <a:p>
            <a:pPr lvl="1"/>
            <a:r>
              <a:rPr kumimoji="1" lang="ko-KR" altLang="en-US"/>
              <a:t>두 번째 수준</a:t>
            </a:r>
          </a:p>
          <a:p>
            <a:pPr lvl="2"/>
            <a:r>
              <a:rPr kumimoji="1" lang="ko-KR" altLang="en-US"/>
              <a:t>세 번째 수준</a:t>
            </a:r>
          </a:p>
          <a:p>
            <a:pPr lvl="3"/>
            <a:r>
              <a:rPr kumimoji="1" lang="ko-KR" altLang="en-US"/>
              <a:t>네 번째 수준</a:t>
            </a:r>
          </a:p>
          <a:p>
            <a:pPr lvl="4"/>
            <a:r>
              <a:rPr kumimoji="1" lang="ko-KR" altLang="en-US"/>
              <a:t>다섯 번째 수준</a:t>
            </a:r>
          </a:p>
        </p:txBody>
      </p:sp>
      <p:sp>
        <p:nvSpPr>
          <p:cNvPr id="7" name="날짜 개체 틀 6"/>
          <p:cNvSpPr>
            <a:spLocks noGrp="1"/>
          </p:cNvSpPr>
          <p:nvPr>
            <p:ph type="dt" sz="half" idx="10"/>
          </p:nvPr>
        </p:nvSpPr>
        <p:spPr/>
        <p:txBody>
          <a:bodyPr/>
          <a:lstStyle/>
          <a:p>
            <a:fld id="{D735A38F-BD23-1340-95E9-C29C2C204A54}" type="datetimeFigureOut">
              <a:rPr kumimoji="1" lang="ko-KR" altLang="en-US" smtClean="0">
                <a:solidFill>
                  <a:prstClr val="black">
                    <a:tint val="75000"/>
                  </a:prstClr>
                </a:solidFill>
              </a:rPr>
              <a:pPr/>
              <a:t>2016-09-20</a:t>
            </a:fld>
            <a:endParaRPr kumimoji="1" lang="ko-KR" altLang="en-US">
              <a:solidFill>
                <a:prstClr val="black">
                  <a:tint val="75000"/>
                </a:prstClr>
              </a:solidFill>
            </a:endParaRPr>
          </a:p>
        </p:txBody>
      </p:sp>
      <p:sp>
        <p:nvSpPr>
          <p:cNvPr id="8" name="바닥글 개체 틀 7"/>
          <p:cNvSpPr>
            <a:spLocks noGrp="1"/>
          </p:cNvSpPr>
          <p:nvPr>
            <p:ph type="ftr" sz="quarter" idx="11"/>
          </p:nvPr>
        </p:nvSpPr>
        <p:spPr/>
        <p:txBody>
          <a:bodyPr/>
          <a:lstStyle/>
          <a:p>
            <a:endParaRPr kumimoji="1" lang="ko-KR" altLang="en-US">
              <a:solidFill>
                <a:prstClr val="black">
                  <a:tint val="75000"/>
                </a:prstClr>
              </a:solidFill>
            </a:endParaRPr>
          </a:p>
        </p:txBody>
      </p:sp>
      <p:sp>
        <p:nvSpPr>
          <p:cNvPr id="9" name="슬라이드 번호 개체 틀 8"/>
          <p:cNvSpPr>
            <a:spLocks noGrp="1"/>
          </p:cNvSpPr>
          <p:nvPr>
            <p:ph type="sldNum" sz="quarter" idx="12"/>
          </p:nvPr>
        </p:nvSpPr>
        <p:spPr/>
        <p:txBody>
          <a:bodyPr/>
          <a:lstStyle/>
          <a:p>
            <a:fld id="{855879BB-F311-F04F-9F9C-BD345EDA3B84}" type="slidenum">
              <a:rPr kumimoji="1" lang="ko-KR" altLang="en-US" smtClean="0">
                <a:solidFill>
                  <a:prstClr val="black">
                    <a:tint val="75000"/>
                  </a:prstClr>
                </a:solidFill>
              </a:rPr>
              <a:pPr/>
              <a:t>‹#›</a:t>
            </a:fld>
            <a:endParaRPr kumimoji="1" lang="ko-KR" altLang="en-US">
              <a:solidFill>
                <a:prstClr val="black">
                  <a:tint val="75000"/>
                </a:prstClr>
              </a:solidFill>
            </a:endParaRPr>
          </a:p>
        </p:txBody>
      </p:sp>
    </p:spTree>
    <p:extLst>
      <p:ext uri="{BB962C8B-B14F-4D97-AF65-F5344CB8AC3E}">
        <p14:creationId xmlns:p14="http://schemas.microsoft.com/office/powerpoint/2010/main" val="2273447088"/>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type="titleOnly" preserve="1">
  <p:cSld name="제목만">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kumimoji="1" lang="ko-KR" altLang="en-US"/>
              <a:t>마스터 제목 스타일 편집</a:t>
            </a:r>
          </a:p>
        </p:txBody>
      </p:sp>
      <p:sp>
        <p:nvSpPr>
          <p:cNvPr id="3" name="날짜 개체 틀 2"/>
          <p:cNvSpPr>
            <a:spLocks noGrp="1"/>
          </p:cNvSpPr>
          <p:nvPr>
            <p:ph type="dt" sz="half" idx="10"/>
          </p:nvPr>
        </p:nvSpPr>
        <p:spPr/>
        <p:txBody>
          <a:bodyPr/>
          <a:lstStyle/>
          <a:p>
            <a:fld id="{D735A38F-BD23-1340-95E9-C29C2C204A54}" type="datetimeFigureOut">
              <a:rPr kumimoji="1" lang="ko-KR" altLang="en-US" smtClean="0">
                <a:solidFill>
                  <a:prstClr val="black">
                    <a:tint val="75000"/>
                  </a:prstClr>
                </a:solidFill>
              </a:rPr>
              <a:pPr/>
              <a:t>2016-09-20</a:t>
            </a:fld>
            <a:endParaRPr kumimoji="1" lang="ko-KR" altLang="en-US">
              <a:solidFill>
                <a:prstClr val="black">
                  <a:tint val="75000"/>
                </a:prstClr>
              </a:solidFill>
            </a:endParaRPr>
          </a:p>
        </p:txBody>
      </p:sp>
      <p:sp>
        <p:nvSpPr>
          <p:cNvPr id="4" name="바닥글 개체 틀 3"/>
          <p:cNvSpPr>
            <a:spLocks noGrp="1"/>
          </p:cNvSpPr>
          <p:nvPr>
            <p:ph type="ftr" sz="quarter" idx="11"/>
          </p:nvPr>
        </p:nvSpPr>
        <p:spPr/>
        <p:txBody>
          <a:bodyPr/>
          <a:lstStyle/>
          <a:p>
            <a:endParaRPr kumimoji="1" lang="ko-KR" altLang="en-US">
              <a:solidFill>
                <a:prstClr val="black">
                  <a:tint val="75000"/>
                </a:prstClr>
              </a:solidFill>
            </a:endParaRPr>
          </a:p>
        </p:txBody>
      </p:sp>
      <p:sp>
        <p:nvSpPr>
          <p:cNvPr id="5" name="슬라이드 번호 개체 틀 4"/>
          <p:cNvSpPr>
            <a:spLocks noGrp="1"/>
          </p:cNvSpPr>
          <p:nvPr>
            <p:ph type="sldNum" sz="quarter" idx="12"/>
          </p:nvPr>
        </p:nvSpPr>
        <p:spPr/>
        <p:txBody>
          <a:bodyPr/>
          <a:lstStyle/>
          <a:p>
            <a:fld id="{855879BB-F311-F04F-9F9C-BD345EDA3B84}" type="slidenum">
              <a:rPr kumimoji="1" lang="ko-KR" altLang="en-US" smtClean="0">
                <a:solidFill>
                  <a:prstClr val="black">
                    <a:tint val="75000"/>
                  </a:prstClr>
                </a:solidFill>
              </a:rPr>
              <a:pPr/>
              <a:t>‹#›</a:t>
            </a:fld>
            <a:endParaRPr kumimoji="1" lang="ko-KR" altLang="en-US">
              <a:solidFill>
                <a:prstClr val="black">
                  <a:tint val="75000"/>
                </a:prstClr>
              </a:solidFill>
            </a:endParaRPr>
          </a:p>
        </p:txBody>
      </p:sp>
    </p:spTree>
    <p:extLst>
      <p:ext uri="{BB962C8B-B14F-4D97-AF65-F5344CB8AC3E}">
        <p14:creationId xmlns:p14="http://schemas.microsoft.com/office/powerpoint/2010/main" val="2976055207"/>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type="blank" preserve="1">
  <p:cSld name="백지">
    <p:spTree>
      <p:nvGrpSpPr>
        <p:cNvPr id="1" name=""/>
        <p:cNvGrpSpPr/>
        <p:nvPr/>
      </p:nvGrpSpPr>
      <p:grpSpPr>
        <a:xfrm>
          <a:off x="0" y="0"/>
          <a:ext cx="0" cy="0"/>
          <a:chOff x="0" y="0"/>
          <a:chExt cx="0" cy="0"/>
        </a:xfrm>
      </p:grpSpPr>
      <p:sp>
        <p:nvSpPr>
          <p:cNvPr id="2" name="날짜 개체 틀 1"/>
          <p:cNvSpPr>
            <a:spLocks noGrp="1"/>
          </p:cNvSpPr>
          <p:nvPr>
            <p:ph type="dt" sz="half" idx="10"/>
          </p:nvPr>
        </p:nvSpPr>
        <p:spPr/>
        <p:txBody>
          <a:bodyPr/>
          <a:lstStyle/>
          <a:p>
            <a:fld id="{D735A38F-BD23-1340-95E9-C29C2C204A54}" type="datetimeFigureOut">
              <a:rPr kumimoji="1" lang="ko-KR" altLang="en-US" smtClean="0">
                <a:solidFill>
                  <a:prstClr val="black">
                    <a:tint val="75000"/>
                  </a:prstClr>
                </a:solidFill>
              </a:rPr>
              <a:pPr/>
              <a:t>2016-09-20</a:t>
            </a:fld>
            <a:endParaRPr kumimoji="1" lang="ko-KR" altLang="en-US">
              <a:solidFill>
                <a:prstClr val="black">
                  <a:tint val="75000"/>
                </a:prstClr>
              </a:solidFill>
            </a:endParaRPr>
          </a:p>
        </p:txBody>
      </p:sp>
      <p:sp>
        <p:nvSpPr>
          <p:cNvPr id="3" name="바닥글 개체 틀 2"/>
          <p:cNvSpPr>
            <a:spLocks noGrp="1"/>
          </p:cNvSpPr>
          <p:nvPr>
            <p:ph type="ftr" sz="quarter" idx="11"/>
          </p:nvPr>
        </p:nvSpPr>
        <p:spPr/>
        <p:txBody>
          <a:bodyPr/>
          <a:lstStyle/>
          <a:p>
            <a:endParaRPr kumimoji="1" lang="ko-KR" altLang="en-US">
              <a:solidFill>
                <a:prstClr val="black">
                  <a:tint val="75000"/>
                </a:prstClr>
              </a:solidFill>
            </a:endParaRPr>
          </a:p>
        </p:txBody>
      </p:sp>
      <p:sp>
        <p:nvSpPr>
          <p:cNvPr id="4" name="슬라이드 번호 개체 틀 3"/>
          <p:cNvSpPr>
            <a:spLocks noGrp="1"/>
          </p:cNvSpPr>
          <p:nvPr>
            <p:ph type="sldNum" sz="quarter" idx="12"/>
          </p:nvPr>
        </p:nvSpPr>
        <p:spPr/>
        <p:txBody>
          <a:bodyPr/>
          <a:lstStyle/>
          <a:p>
            <a:fld id="{855879BB-F311-F04F-9F9C-BD345EDA3B84}" type="slidenum">
              <a:rPr kumimoji="1" lang="ko-KR" altLang="en-US" smtClean="0">
                <a:solidFill>
                  <a:prstClr val="black">
                    <a:tint val="75000"/>
                  </a:prstClr>
                </a:solidFill>
              </a:rPr>
              <a:pPr/>
              <a:t>‹#›</a:t>
            </a:fld>
            <a:endParaRPr kumimoji="1" lang="ko-KR" altLang="en-US">
              <a:solidFill>
                <a:prstClr val="black">
                  <a:tint val="75000"/>
                </a:prstClr>
              </a:solidFill>
            </a:endParaRPr>
          </a:p>
        </p:txBody>
      </p:sp>
    </p:spTree>
    <p:extLst>
      <p:ext uri="{BB962C8B-B14F-4D97-AF65-F5344CB8AC3E}">
        <p14:creationId xmlns:p14="http://schemas.microsoft.com/office/powerpoint/2010/main" val="900910840"/>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type="objTx" preserve="1">
  <p:cSld name="캡션 있는 콘텐츠">
    <p:spTree>
      <p:nvGrpSpPr>
        <p:cNvPr id="1" name=""/>
        <p:cNvGrpSpPr/>
        <p:nvPr/>
      </p:nvGrpSpPr>
      <p:grpSpPr>
        <a:xfrm>
          <a:off x="0" y="0"/>
          <a:ext cx="0" cy="0"/>
          <a:chOff x="0" y="0"/>
          <a:chExt cx="0" cy="0"/>
        </a:xfrm>
      </p:grpSpPr>
      <p:sp>
        <p:nvSpPr>
          <p:cNvPr id="2" name="제목 1"/>
          <p:cNvSpPr>
            <a:spLocks noGrp="1"/>
          </p:cNvSpPr>
          <p:nvPr>
            <p:ph type="title"/>
          </p:nvPr>
        </p:nvSpPr>
        <p:spPr>
          <a:xfrm>
            <a:off x="839789" y="457200"/>
            <a:ext cx="3932237" cy="1600200"/>
          </a:xfrm>
        </p:spPr>
        <p:txBody>
          <a:bodyPr anchor="b"/>
          <a:lstStyle>
            <a:lvl1pPr>
              <a:defRPr sz="3200"/>
            </a:lvl1pPr>
          </a:lstStyle>
          <a:p>
            <a:r>
              <a:rPr kumimoji="1" lang="ko-KR" altLang="en-US"/>
              <a:t>마스터 제목 스타일 편집</a:t>
            </a:r>
          </a:p>
        </p:txBody>
      </p:sp>
      <p:sp>
        <p:nvSpPr>
          <p:cNvPr id="3" name="내용 개체 틀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ko-KR" altLang="en-US"/>
              <a:t>마스터 텍스트 스타일을 편집하려면 클릭</a:t>
            </a:r>
          </a:p>
          <a:p>
            <a:pPr lvl="1"/>
            <a:r>
              <a:rPr kumimoji="1" lang="ko-KR" altLang="en-US"/>
              <a:t>두 번째 수준</a:t>
            </a:r>
          </a:p>
          <a:p>
            <a:pPr lvl="2"/>
            <a:r>
              <a:rPr kumimoji="1" lang="ko-KR" altLang="en-US"/>
              <a:t>세 번째 수준</a:t>
            </a:r>
          </a:p>
          <a:p>
            <a:pPr lvl="3"/>
            <a:r>
              <a:rPr kumimoji="1" lang="ko-KR" altLang="en-US"/>
              <a:t>네 번째 수준</a:t>
            </a:r>
          </a:p>
          <a:p>
            <a:pPr lvl="4"/>
            <a:r>
              <a:rPr kumimoji="1" lang="ko-KR" altLang="en-US"/>
              <a:t>다섯 번째 수준</a:t>
            </a:r>
          </a:p>
        </p:txBody>
      </p:sp>
      <p:sp>
        <p:nvSpPr>
          <p:cNvPr id="4" name="텍스트 개체 틀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kumimoji="1" lang="ko-KR" altLang="en-US"/>
              <a:t>마스터 텍스트 스타일을 편집하려면 클릭</a:t>
            </a:r>
          </a:p>
        </p:txBody>
      </p:sp>
      <p:sp>
        <p:nvSpPr>
          <p:cNvPr id="5" name="날짜 개체 틀 4"/>
          <p:cNvSpPr>
            <a:spLocks noGrp="1"/>
          </p:cNvSpPr>
          <p:nvPr>
            <p:ph type="dt" sz="half" idx="10"/>
          </p:nvPr>
        </p:nvSpPr>
        <p:spPr/>
        <p:txBody>
          <a:bodyPr/>
          <a:lstStyle/>
          <a:p>
            <a:fld id="{D735A38F-BD23-1340-95E9-C29C2C204A54}" type="datetimeFigureOut">
              <a:rPr kumimoji="1" lang="ko-KR" altLang="en-US" smtClean="0">
                <a:solidFill>
                  <a:prstClr val="black">
                    <a:tint val="75000"/>
                  </a:prstClr>
                </a:solidFill>
              </a:rPr>
              <a:pPr/>
              <a:t>2016-09-20</a:t>
            </a:fld>
            <a:endParaRPr kumimoji="1" lang="ko-KR" altLang="en-US">
              <a:solidFill>
                <a:prstClr val="black">
                  <a:tint val="75000"/>
                </a:prstClr>
              </a:solidFill>
            </a:endParaRPr>
          </a:p>
        </p:txBody>
      </p:sp>
      <p:sp>
        <p:nvSpPr>
          <p:cNvPr id="6" name="바닥글 개체 틀 5"/>
          <p:cNvSpPr>
            <a:spLocks noGrp="1"/>
          </p:cNvSpPr>
          <p:nvPr>
            <p:ph type="ftr" sz="quarter" idx="11"/>
          </p:nvPr>
        </p:nvSpPr>
        <p:spPr/>
        <p:txBody>
          <a:bodyPr/>
          <a:lstStyle/>
          <a:p>
            <a:endParaRPr kumimoji="1" lang="ko-KR" altLang="en-US">
              <a:solidFill>
                <a:prstClr val="black">
                  <a:tint val="75000"/>
                </a:prstClr>
              </a:solidFill>
            </a:endParaRPr>
          </a:p>
        </p:txBody>
      </p:sp>
      <p:sp>
        <p:nvSpPr>
          <p:cNvPr id="7" name="슬라이드 번호 개체 틀 6"/>
          <p:cNvSpPr>
            <a:spLocks noGrp="1"/>
          </p:cNvSpPr>
          <p:nvPr>
            <p:ph type="sldNum" sz="quarter" idx="12"/>
          </p:nvPr>
        </p:nvSpPr>
        <p:spPr/>
        <p:txBody>
          <a:bodyPr/>
          <a:lstStyle/>
          <a:p>
            <a:fld id="{855879BB-F311-F04F-9F9C-BD345EDA3B84}" type="slidenum">
              <a:rPr kumimoji="1" lang="ko-KR" altLang="en-US" smtClean="0">
                <a:solidFill>
                  <a:prstClr val="black">
                    <a:tint val="75000"/>
                  </a:prstClr>
                </a:solidFill>
              </a:rPr>
              <a:pPr/>
              <a:t>‹#›</a:t>
            </a:fld>
            <a:endParaRPr kumimoji="1" lang="ko-KR" altLang="en-US">
              <a:solidFill>
                <a:prstClr val="black">
                  <a:tint val="75000"/>
                </a:prstClr>
              </a:solidFill>
            </a:endParaRPr>
          </a:p>
        </p:txBody>
      </p:sp>
    </p:spTree>
    <p:extLst>
      <p:ext uri="{BB962C8B-B14F-4D97-AF65-F5344CB8AC3E}">
        <p14:creationId xmlns:p14="http://schemas.microsoft.com/office/powerpoint/2010/main" val="3043460711"/>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type="picTx" preserve="1">
  <p:cSld name="캡션 있는 그림">
    <p:spTree>
      <p:nvGrpSpPr>
        <p:cNvPr id="1" name=""/>
        <p:cNvGrpSpPr/>
        <p:nvPr/>
      </p:nvGrpSpPr>
      <p:grpSpPr>
        <a:xfrm>
          <a:off x="0" y="0"/>
          <a:ext cx="0" cy="0"/>
          <a:chOff x="0" y="0"/>
          <a:chExt cx="0" cy="0"/>
        </a:xfrm>
      </p:grpSpPr>
      <p:sp>
        <p:nvSpPr>
          <p:cNvPr id="2" name="제목 1"/>
          <p:cNvSpPr>
            <a:spLocks noGrp="1"/>
          </p:cNvSpPr>
          <p:nvPr>
            <p:ph type="title"/>
          </p:nvPr>
        </p:nvSpPr>
        <p:spPr>
          <a:xfrm>
            <a:off x="839789" y="457200"/>
            <a:ext cx="3932237" cy="1600200"/>
          </a:xfrm>
        </p:spPr>
        <p:txBody>
          <a:bodyPr anchor="b"/>
          <a:lstStyle>
            <a:lvl1pPr>
              <a:defRPr sz="3200"/>
            </a:lvl1pPr>
          </a:lstStyle>
          <a:p>
            <a:r>
              <a:rPr kumimoji="1" lang="ko-KR" altLang="en-US"/>
              <a:t>마스터 제목 스타일 편집</a:t>
            </a:r>
          </a:p>
        </p:txBody>
      </p:sp>
      <p:sp>
        <p:nvSpPr>
          <p:cNvPr id="3" name="그림 개체 틀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kumimoji="1" lang="ko-KR" altLang="en-US"/>
          </a:p>
        </p:txBody>
      </p:sp>
      <p:sp>
        <p:nvSpPr>
          <p:cNvPr id="4" name="텍스트 개체 틀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kumimoji="1" lang="ko-KR" altLang="en-US"/>
              <a:t>마스터 텍스트 스타일을 편집하려면 클릭</a:t>
            </a:r>
          </a:p>
        </p:txBody>
      </p:sp>
      <p:sp>
        <p:nvSpPr>
          <p:cNvPr id="5" name="날짜 개체 틀 4"/>
          <p:cNvSpPr>
            <a:spLocks noGrp="1"/>
          </p:cNvSpPr>
          <p:nvPr>
            <p:ph type="dt" sz="half" idx="10"/>
          </p:nvPr>
        </p:nvSpPr>
        <p:spPr/>
        <p:txBody>
          <a:bodyPr/>
          <a:lstStyle/>
          <a:p>
            <a:fld id="{D735A38F-BD23-1340-95E9-C29C2C204A54}" type="datetimeFigureOut">
              <a:rPr kumimoji="1" lang="ko-KR" altLang="en-US" smtClean="0">
                <a:solidFill>
                  <a:prstClr val="black">
                    <a:tint val="75000"/>
                  </a:prstClr>
                </a:solidFill>
              </a:rPr>
              <a:pPr/>
              <a:t>2016-09-20</a:t>
            </a:fld>
            <a:endParaRPr kumimoji="1" lang="ko-KR" altLang="en-US">
              <a:solidFill>
                <a:prstClr val="black">
                  <a:tint val="75000"/>
                </a:prstClr>
              </a:solidFill>
            </a:endParaRPr>
          </a:p>
        </p:txBody>
      </p:sp>
      <p:sp>
        <p:nvSpPr>
          <p:cNvPr id="6" name="바닥글 개체 틀 5"/>
          <p:cNvSpPr>
            <a:spLocks noGrp="1"/>
          </p:cNvSpPr>
          <p:nvPr>
            <p:ph type="ftr" sz="quarter" idx="11"/>
          </p:nvPr>
        </p:nvSpPr>
        <p:spPr/>
        <p:txBody>
          <a:bodyPr/>
          <a:lstStyle/>
          <a:p>
            <a:endParaRPr kumimoji="1" lang="ko-KR" altLang="en-US">
              <a:solidFill>
                <a:prstClr val="black">
                  <a:tint val="75000"/>
                </a:prstClr>
              </a:solidFill>
            </a:endParaRPr>
          </a:p>
        </p:txBody>
      </p:sp>
      <p:sp>
        <p:nvSpPr>
          <p:cNvPr id="7" name="슬라이드 번호 개체 틀 6"/>
          <p:cNvSpPr>
            <a:spLocks noGrp="1"/>
          </p:cNvSpPr>
          <p:nvPr>
            <p:ph type="sldNum" sz="quarter" idx="12"/>
          </p:nvPr>
        </p:nvSpPr>
        <p:spPr/>
        <p:txBody>
          <a:bodyPr/>
          <a:lstStyle/>
          <a:p>
            <a:fld id="{855879BB-F311-F04F-9F9C-BD345EDA3B84}" type="slidenum">
              <a:rPr kumimoji="1" lang="ko-KR" altLang="en-US" smtClean="0">
                <a:solidFill>
                  <a:prstClr val="black">
                    <a:tint val="75000"/>
                  </a:prstClr>
                </a:solidFill>
              </a:rPr>
              <a:pPr/>
              <a:t>‹#›</a:t>
            </a:fld>
            <a:endParaRPr kumimoji="1" lang="ko-KR" altLang="en-US">
              <a:solidFill>
                <a:prstClr val="black">
                  <a:tint val="75000"/>
                </a:prstClr>
              </a:solidFill>
            </a:endParaRPr>
          </a:p>
        </p:txBody>
      </p:sp>
    </p:spTree>
    <p:extLst>
      <p:ext uri="{BB962C8B-B14F-4D97-AF65-F5344CB8AC3E}">
        <p14:creationId xmlns:p14="http://schemas.microsoft.com/office/powerpoint/2010/main" val="111153990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56900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type="vertTx" preserve="1">
  <p:cSld name="제목 및 세로 텍스트">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kumimoji="1" lang="ko-KR" altLang="en-US"/>
              <a:t>마스터 제목 스타일 편집</a:t>
            </a:r>
          </a:p>
        </p:txBody>
      </p:sp>
      <p:sp>
        <p:nvSpPr>
          <p:cNvPr id="3" name="세로 텍스트 개체 틀 2"/>
          <p:cNvSpPr>
            <a:spLocks noGrp="1"/>
          </p:cNvSpPr>
          <p:nvPr>
            <p:ph type="body" orient="vert" idx="1"/>
          </p:nvPr>
        </p:nvSpPr>
        <p:spPr/>
        <p:txBody>
          <a:bodyPr vert="eaVert"/>
          <a:lstStyle/>
          <a:p>
            <a:pPr lvl="0"/>
            <a:r>
              <a:rPr kumimoji="1" lang="ko-KR" altLang="en-US"/>
              <a:t>마스터 텍스트 스타일을 편집하려면 클릭</a:t>
            </a:r>
          </a:p>
          <a:p>
            <a:pPr lvl="1"/>
            <a:r>
              <a:rPr kumimoji="1" lang="ko-KR" altLang="en-US"/>
              <a:t>두 번째 수준</a:t>
            </a:r>
          </a:p>
          <a:p>
            <a:pPr lvl="2"/>
            <a:r>
              <a:rPr kumimoji="1" lang="ko-KR" altLang="en-US"/>
              <a:t>세 번째 수준</a:t>
            </a:r>
          </a:p>
          <a:p>
            <a:pPr lvl="3"/>
            <a:r>
              <a:rPr kumimoji="1" lang="ko-KR" altLang="en-US"/>
              <a:t>네 번째 수준</a:t>
            </a:r>
          </a:p>
          <a:p>
            <a:pPr lvl="4"/>
            <a:r>
              <a:rPr kumimoji="1" lang="ko-KR" altLang="en-US"/>
              <a:t>다섯 번째 수준</a:t>
            </a:r>
          </a:p>
        </p:txBody>
      </p:sp>
      <p:sp>
        <p:nvSpPr>
          <p:cNvPr id="4" name="날짜 개체 틀 3"/>
          <p:cNvSpPr>
            <a:spLocks noGrp="1"/>
          </p:cNvSpPr>
          <p:nvPr>
            <p:ph type="dt" sz="half" idx="10"/>
          </p:nvPr>
        </p:nvSpPr>
        <p:spPr/>
        <p:txBody>
          <a:bodyPr/>
          <a:lstStyle/>
          <a:p>
            <a:fld id="{D735A38F-BD23-1340-95E9-C29C2C204A54}" type="datetimeFigureOut">
              <a:rPr kumimoji="1" lang="ko-KR" altLang="en-US" smtClean="0">
                <a:solidFill>
                  <a:prstClr val="black">
                    <a:tint val="75000"/>
                  </a:prstClr>
                </a:solidFill>
              </a:rPr>
              <a:pPr/>
              <a:t>2016-09-20</a:t>
            </a:fld>
            <a:endParaRPr kumimoji="1" lang="ko-KR" altLang="en-US">
              <a:solidFill>
                <a:prstClr val="black">
                  <a:tint val="75000"/>
                </a:prstClr>
              </a:solidFill>
            </a:endParaRPr>
          </a:p>
        </p:txBody>
      </p:sp>
      <p:sp>
        <p:nvSpPr>
          <p:cNvPr id="5" name="바닥글 개체 틀 4"/>
          <p:cNvSpPr>
            <a:spLocks noGrp="1"/>
          </p:cNvSpPr>
          <p:nvPr>
            <p:ph type="ftr" sz="quarter" idx="11"/>
          </p:nvPr>
        </p:nvSpPr>
        <p:spPr/>
        <p:txBody>
          <a:bodyPr/>
          <a:lstStyle/>
          <a:p>
            <a:endParaRPr kumimoji="1" lang="ko-KR" altLang="en-US">
              <a:solidFill>
                <a:prstClr val="black">
                  <a:tint val="75000"/>
                </a:prstClr>
              </a:solidFill>
            </a:endParaRPr>
          </a:p>
        </p:txBody>
      </p:sp>
      <p:sp>
        <p:nvSpPr>
          <p:cNvPr id="6" name="슬라이드 번호 개체 틀 5"/>
          <p:cNvSpPr>
            <a:spLocks noGrp="1"/>
          </p:cNvSpPr>
          <p:nvPr>
            <p:ph type="sldNum" sz="quarter" idx="12"/>
          </p:nvPr>
        </p:nvSpPr>
        <p:spPr/>
        <p:txBody>
          <a:bodyPr/>
          <a:lstStyle/>
          <a:p>
            <a:fld id="{855879BB-F311-F04F-9F9C-BD345EDA3B84}" type="slidenum">
              <a:rPr kumimoji="1" lang="ko-KR" altLang="en-US" smtClean="0">
                <a:solidFill>
                  <a:prstClr val="black">
                    <a:tint val="75000"/>
                  </a:prstClr>
                </a:solidFill>
              </a:rPr>
              <a:pPr/>
              <a:t>‹#›</a:t>
            </a:fld>
            <a:endParaRPr kumimoji="1" lang="ko-KR" altLang="en-US">
              <a:solidFill>
                <a:prstClr val="black">
                  <a:tint val="75000"/>
                </a:prstClr>
              </a:solidFill>
            </a:endParaRPr>
          </a:p>
        </p:txBody>
      </p:sp>
    </p:spTree>
    <p:extLst>
      <p:ext uri="{BB962C8B-B14F-4D97-AF65-F5344CB8AC3E}">
        <p14:creationId xmlns:p14="http://schemas.microsoft.com/office/powerpoint/2010/main" val="1425290761"/>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type="vertTitleAndTx" preserve="1">
  <p:cSld name="세로 제목 및 텍스트">
    <p:spTree>
      <p:nvGrpSpPr>
        <p:cNvPr id="1" name=""/>
        <p:cNvGrpSpPr/>
        <p:nvPr/>
      </p:nvGrpSpPr>
      <p:grpSpPr>
        <a:xfrm>
          <a:off x="0" y="0"/>
          <a:ext cx="0" cy="0"/>
          <a:chOff x="0" y="0"/>
          <a:chExt cx="0" cy="0"/>
        </a:xfrm>
      </p:grpSpPr>
      <p:sp>
        <p:nvSpPr>
          <p:cNvPr id="2" name="세로 제목 1"/>
          <p:cNvSpPr>
            <a:spLocks noGrp="1"/>
          </p:cNvSpPr>
          <p:nvPr>
            <p:ph type="title" orient="vert"/>
          </p:nvPr>
        </p:nvSpPr>
        <p:spPr>
          <a:xfrm>
            <a:off x="8724900" y="365126"/>
            <a:ext cx="2628900" cy="5811838"/>
          </a:xfrm>
        </p:spPr>
        <p:txBody>
          <a:bodyPr vert="eaVert"/>
          <a:lstStyle/>
          <a:p>
            <a:r>
              <a:rPr kumimoji="1" lang="ko-KR" altLang="en-US"/>
              <a:t>마스터 제목 스타일 편집</a:t>
            </a:r>
          </a:p>
        </p:txBody>
      </p:sp>
      <p:sp>
        <p:nvSpPr>
          <p:cNvPr id="3" name="세로 텍스트 개체 틀 2"/>
          <p:cNvSpPr>
            <a:spLocks noGrp="1"/>
          </p:cNvSpPr>
          <p:nvPr>
            <p:ph type="body" orient="vert" idx="1"/>
          </p:nvPr>
        </p:nvSpPr>
        <p:spPr>
          <a:xfrm>
            <a:off x="838201" y="365126"/>
            <a:ext cx="7734300" cy="5811838"/>
          </a:xfrm>
        </p:spPr>
        <p:txBody>
          <a:bodyPr vert="eaVert"/>
          <a:lstStyle/>
          <a:p>
            <a:pPr lvl="0"/>
            <a:r>
              <a:rPr kumimoji="1" lang="ko-KR" altLang="en-US"/>
              <a:t>마스터 텍스트 스타일을 편집하려면 클릭</a:t>
            </a:r>
          </a:p>
          <a:p>
            <a:pPr lvl="1"/>
            <a:r>
              <a:rPr kumimoji="1" lang="ko-KR" altLang="en-US"/>
              <a:t>두 번째 수준</a:t>
            </a:r>
          </a:p>
          <a:p>
            <a:pPr lvl="2"/>
            <a:r>
              <a:rPr kumimoji="1" lang="ko-KR" altLang="en-US"/>
              <a:t>세 번째 수준</a:t>
            </a:r>
          </a:p>
          <a:p>
            <a:pPr lvl="3"/>
            <a:r>
              <a:rPr kumimoji="1" lang="ko-KR" altLang="en-US"/>
              <a:t>네 번째 수준</a:t>
            </a:r>
          </a:p>
          <a:p>
            <a:pPr lvl="4"/>
            <a:r>
              <a:rPr kumimoji="1" lang="ko-KR" altLang="en-US"/>
              <a:t>다섯 번째 수준</a:t>
            </a:r>
          </a:p>
        </p:txBody>
      </p:sp>
      <p:sp>
        <p:nvSpPr>
          <p:cNvPr id="4" name="날짜 개체 틀 3"/>
          <p:cNvSpPr>
            <a:spLocks noGrp="1"/>
          </p:cNvSpPr>
          <p:nvPr>
            <p:ph type="dt" sz="half" idx="10"/>
          </p:nvPr>
        </p:nvSpPr>
        <p:spPr/>
        <p:txBody>
          <a:bodyPr/>
          <a:lstStyle/>
          <a:p>
            <a:fld id="{D735A38F-BD23-1340-95E9-C29C2C204A54}" type="datetimeFigureOut">
              <a:rPr kumimoji="1" lang="ko-KR" altLang="en-US" smtClean="0">
                <a:solidFill>
                  <a:prstClr val="black">
                    <a:tint val="75000"/>
                  </a:prstClr>
                </a:solidFill>
              </a:rPr>
              <a:pPr/>
              <a:t>2016-09-20</a:t>
            </a:fld>
            <a:endParaRPr kumimoji="1" lang="ko-KR" altLang="en-US">
              <a:solidFill>
                <a:prstClr val="black">
                  <a:tint val="75000"/>
                </a:prstClr>
              </a:solidFill>
            </a:endParaRPr>
          </a:p>
        </p:txBody>
      </p:sp>
      <p:sp>
        <p:nvSpPr>
          <p:cNvPr id="5" name="바닥글 개체 틀 4"/>
          <p:cNvSpPr>
            <a:spLocks noGrp="1"/>
          </p:cNvSpPr>
          <p:nvPr>
            <p:ph type="ftr" sz="quarter" idx="11"/>
          </p:nvPr>
        </p:nvSpPr>
        <p:spPr/>
        <p:txBody>
          <a:bodyPr/>
          <a:lstStyle/>
          <a:p>
            <a:endParaRPr kumimoji="1" lang="ko-KR" altLang="en-US">
              <a:solidFill>
                <a:prstClr val="black">
                  <a:tint val="75000"/>
                </a:prstClr>
              </a:solidFill>
            </a:endParaRPr>
          </a:p>
        </p:txBody>
      </p:sp>
      <p:sp>
        <p:nvSpPr>
          <p:cNvPr id="6" name="슬라이드 번호 개체 틀 5"/>
          <p:cNvSpPr>
            <a:spLocks noGrp="1"/>
          </p:cNvSpPr>
          <p:nvPr>
            <p:ph type="sldNum" sz="quarter" idx="12"/>
          </p:nvPr>
        </p:nvSpPr>
        <p:spPr/>
        <p:txBody>
          <a:bodyPr/>
          <a:lstStyle/>
          <a:p>
            <a:fld id="{855879BB-F311-F04F-9F9C-BD345EDA3B84}" type="slidenum">
              <a:rPr kumimoji="1" lang="ko-KR" altLang="en-US" smtClean="0">
                <a:solidFill>
                  <a:prstClr val="black">
                    <a:tint val="75000"/>
                  </a:prstClr>
                </a:solidFill>
              </a:rPr>
              <a:pPr/>
              <a:t>‹#›</a:t>
            </a:fld>
            <a:endParaRPr kumimoji="1" lang="ko-KR" altLang="en-US">
              <a:solidFill>
                <a:prstClr val="black">
                  <a:tint val="75000"/>
                </a:prstClr>
              </a:solidFill>
            </a:endParaRPr>
          </a:p>
        </p:txBody>
      </p:sp>
    </p:spTree>
    <p:extLst>
      <p:ext uri="{BB962C8B-B14F-4D97-AF65-F5344CB8AC3E}">
        <p14:creationId xmlns:p14="http://schemas.microsoft.com/office/powerpoint/2010/main" val="4092576276"/>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type="title" preserve="1">
  <p:cSld name="제목 슬라이드">
    <p:spTree>
      <p:nvGrpSpPr>
        <p:cNvPr id="1" name=""/>
        <p:cNvGrpSpPr/>
        <p:nvPr/>
      </p:nvGrpSpPr>
      <p:grpSpPr>
        <a:xfrm>
          <a:off x="0" y="0"/>
          <a:ext cx="0" cy="0"/>
          <a:chOff x="0" y="0"/>
          <a:chExt cx="0" cy="0"/>
        </a:xfrm>
      </p:grpSpPr>
      <p:sp>
        <p:nvSpPr>
          <p:cNvPr id="2" name="제목 1"/>
          <p:cNvSpPr>
            <a:spLocks noGrp="1"/>
          </p:cNvSpPr>
          <p:nvPr>
            <p:ph type="ctrTitle"/>
          </p:nvPr>
        </p:nvSpPr>
        <p:spPr>
          <a:xfrm>
            <a:off x="1524000" y="1122363"/>
            <a:ext cx="9144000" cy="2387600"/>
          </a:xfrm>
        </p:spPr>
        <p:txBody>
          <a:bodyPr anchor="b"/>
          <a:lstStyle>
            <a:lvl1pPr algn="ctr">
              <a:defRPr sz="6000"/>
            </a:lvl1pPr>
          </a:lstStyle>
          <a:p>
            <a:r>
              <a:rPr lang="ko-KR" altLang="en-US"/>
              <a:t>마스터 제목 스타일 편집</a:t>
            </a:r>
          </a:p>
        </p:txBody>
      </p:sp>
      <p:sp>
        <p:nvSpPr>
          <p:cNvPr id="3" name="부제목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ko-KR" altLang="en-US"/>
              <a:t>마스터 부제목 스타일 편집</a:t>
            </a:r>
          </a:p>
        </p:txBody>
      </p:sp>
      <p:sp>
        <p:nvSpPr>
          <p:cNvPr id="4" name="날짜 개체 틀 3"/>
          <p:cNvSpPr>
            <a:spLocks noGrp="1"/>
          </p:cNvSpPr>
          <p:nvPr>
            <p:ph type="dt" sz="half" idx="10"/>
          </p:nvPr>
        </p:nvSpPr>
        <p:spPr/>
        <p:txBody>
          <a:bodyPr/>
          <a:lstStyle/>
          <a:p>
            <a:pPr marL="0" marR="0" lvl="0" indent="0" algn="l" defTabSz="914400" rtl="0" eaLnBrk="1" fontAlgn="auto" latinLnBrk="1" hangingPunct="1">
              <a:lnSpc>
                <a:spcPct val="100000"/>
              </a:lnSpc>
              <a:spcBef>
                <a:spcPts val="0"/>
              </a:spcBef>
              <a:spcAft>
                <a:spcPts val="0"/>
              </a:spcAft>
              <a:buClrTx/>
              <a:buSzTx/>
              <a:buFontTx/>
              <a:buNone/>
              <a:tabLst/>
              <a:defRPr/>
            </a:pPr>
            <a:fld id="{1F80ADC6-5EDD-452C-9C52-3619FED993FA}" type="datetimeFigureOut">
              <a:rPr kumimoji="0" lang="ko-KR" altLang="en-US" sz="1200" b="0" i="0" u="none" strike="noStrike" kern="1200" cap="none" spc="0" normalizeH="0" baseline="0" noProof="0" smtClean="0">
                <a:ln>
                  <a:noFill/>
                </a:ln>
                <a:solidFill>
                  <a:prstClr val="black">
                    <a:tint val="75000"/>
                  </a:prstClr>
                </a:solidFill>
                <a:effectLst/>
                <a:uLnTx/>
                <a:uFillTx/>
                <a:latin typeface="맑은 고딕" panose="020F0502020204030204"/>
                <a:ea typeface="맑은 고딕" panose="020B0503020000020004" pitchFamily="50" charset="-127"/>
                <a:cs typeface="+mn-cs"/>
              </a:rPr>
              <a:pPr marL="0" marR="0" lvl="0" indent="0" algn="l" defTabSz="914400" rtl="0" eaLnBrk="1" fontAlgn="auto" latinLnBrk="1" hangingPunct="1">
                <a:lnSpc>
                  <a:spcPct val="100000"/>
                </a:lnSpc>
                <a:spcBef>
                  <a:spcPts val="0"/>
                </a:spcBef>
                <a:spcAft>
                  <a:spcPts val="0"/>
                </a:spcAft>
                <a:buClrTx/>
                <a:buSzTx/>
                <a:buFontTx/>
                <a:buNone/>
                <a:tabLst/>
                <a:defRPr/>
              </a:pPr>
              <a:t>2016-09-20</a:t>
            </a:fld>
            <a:endParaRPr kumimoji="0" lang="ko-KR" altLang="en-US" sz="1200" b="0" i="0" u="none" strike="noStrike" kern="1200" cap="none" spc="0" normalizeH="0" baseline="0" noProof="0">
              <a:ln>
                <a:noFill/>
              </a:ln>
              <a:solidFill>
                <a:prstClr val="black">
                  <a:tint val="75000"/>
                </a:prstClr>
              </a:solidFill>
              <a:effectLst/>
              <a:uLnTx/>
              <a:uFillTx/>
              <a:latin typeface="맑은 고딕" panose="020F0502020204030204"/>
              <a:ea typeface="맑은 고딕" panose="020B0503020000020004" pitchFamily="50" charset="-127"/>
              <a:cs typeface="+mn-cs"/>
            </a:endParaRPr>
          </a:p>
        </p:txBody>
      </p:sp>
      <p:sp>
        <p:nvSpPr>
          <p:cNvPr id="5" name="바닥글 개체 틀 4"/>
          <p:cNvSpPr>
            <a:spLocks noGrp="1"/>
          </p:cNvSpPr>
          <p:nvPr>
            <p:ph type="ftr" sz="quarter" idx="11"/>
          </p:nvPr>
        </p:nvSpPr>
        <p:spPr/>
        <p: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200" b="0" i="0" u="none" strike="noStrike" kern="1200" cap="none" spc="0" normalizeH="0" baseline="0" noProof="0">
              <a:ln>
                <a:noFill/>
              </a:ln>
              <a:solidFill>
                <a:prstClr val="black">
                  <a:tint val="75000"/>
                </a:prstClr>
              </a:solidFill>
              <a:effectLst/>
              <a:uLnTx/>
              <a:uFillTx/>
              <a:latin typeface="맑은 고딕" panose="020F0502020204030204"/>
              <a:ea typeface="맑은 고딕" panose="020B0503020000020004" pitchFamily="50" charset="-127"/>
              <a:cs typeface="+mn-cs"/>
            </a:endParaRPr>
          </a:p>
        </p:txBody>
      </p:sp>
      <p:sp>
        <p:nvSpPr>
          <p:cNvPr id="6" name="슬라이드 번호 개체 틀 5"/>
          <p:cNvSpPr>
            <a:spLocks noGrp="1"/>
          </p:cNvSpPr>
          <p:nvPr>
            <p:ph type="sldNum" sz="quarter" idx="12"/>
          </p:nvPr>
        </p:nvSpPr>
        <p:spPr/>
        <p:txBody>
          <a:bodyPr/>
          <a:lstStyle/>
          <a:p>
            <a:pPr marL="0" marR="0" lvl="0" indent="0" algn="r" defTabSz="914400" rtl="0" eaLnBrk="1" fontAlgn="auto" latinLnBrk="1" hangingPunct="1">
              <a:lnSpc>
                <a:spcPct val="100000"/>
              </a:lnSpc>
              <a:spcBef>
                <a:spcPts val="0"/>
              </a:spcBef>
              <a:spcAft>
                <a:spcPts val="0"/>
              </a:spcAft>
              <a:buClrTx/>
              <a:buSzTx/>
              <a:buFontTx/>
              <a:buNone/>
              <a:tabLst/>
              <a:defRPr/>
            </a:pPr>
            <a:fld id="{93A32577-4FD0-4182-8956-ECCF49E5E615}" type="slidenum">
              <a:rPr kumimoji="0" lang="ko-KR" altLang="en-US" sz="1200" b="0" i="0" u="none" strike="noStrike" kern="1200" cap="none" spc="0" normalizeH="0" baseline="0" noProof="0" smtClean="0">
                <a:ln>
                  <a:noFill/>
                </a:ln>
                <a:solidFill>
                  <a:prstClr val="black">
                    <a:tint val="75000"/>
                  </a:prstClr>
                </a:solidFill>
                <a:effectLst/>
                <a:uLnTx/>
                <a:uFillTx/>
                <a:latin typeface="맑은 고딕" panose="020F0502020204030204"/>
                <a:ea typeface="맑은 고딕" panose="020B0503020000020004" pitchFamily="50" charset="-127"/>
                <a:cs typeface="+mn-cs"/>
              </a:rPr>
              <a:pPr marL="0" marR="0" lvl="0" indent="0" algn="r" defTabSz="914400" rtl="0" eaLnBrk="1" fontAlgn="auto" latinLnBrk="1" hangingPunct="1">
                <a:lnSpc>
                  <a:spcPct val="100000"/>
                </a:lnSpc>
                <a:spcBef>
                  <a:spcPts val="0"/>
                </a:spcBef>
                <a:spcAft>
                  <a:spcPts val="0"/>
                </a:spcAft>
                <a:buClrTx/>
                <a:buSzTx/>
                <a:buFontTx/>
                <a:buNone/>
                <a:tabLst/>
                <a:defRPr/>
              </a:pPr>
              <a:t>‹#›</a:t>
            </a:fld>
            <a:endParaRPr kumimoji="0" lang="ko-KR" altLang="en-US" sz="1200" b="0" i="0" u="none" strike="noStrike" kern="1200" cap="none" spc="0" normalizeH="0" baseline="0" noProof="0">
              <a:ln>
                <a:noFill/>
              </a:ln>
              <a:solidFill>
                <a:prstClr val="black">
                  <a:tint val="75000"/>
                </a:prstClr>
              </a:solidFill>
              <a:effectLst/>
              <a:uLnTx/>
              <a:uFillTx/>
              <a:latin typeface="맑은 고딕" panose="020F0502020204030204"/>
              <a:ea typeface="맑은 고딕" panose="020B0503020000020004" pitchFamily="50" charset="-127"/>
              <a:cs typeface="+mn-cs"/>
            </a:endParaRPr>
          </a:p>
        </p:txBody>
      </p:sp>
    </p:spTree>
    <p:extLst>
      <p:ext uri="{BB962C8B-B14F-4D97-AF65-F5344CB8AC3E}">
        <p14:creationId xmlns:p14="http://schemas.microsoft.com/office/powerpoint/2010/main" val="2470479650"/>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type="titleOnly" preserve="1">
  <p:cSld name="제목만">
    <p:spTree>
      <p:nvGrpSpPr>
        <p:cNvPr id="1" name=""/>
        <p:cNvGrpSpPr/>
        <p:nvPr/>
      </p:nvGrpSpPr>
      <p:grpSpPr>
        <a:xfrm>
          <a:off x="0" y="0"/>
          <a:ext cx="0" cy="0"/>
          <a:chOff x="0" y="0"/>
          <a:chExt cx="0" cy="0"/>
        </a:xfrm>
      </p:grpSpPr>
      <p:sp>
        <p:nvSpPr>
          <p:cNvPr id="2" name="제목 1"/>
          <p:cNvSpPr>
            <a:spLocks noGrp="1"/>
          </p:cNvSpPr>
          <p:nvPr>
            <p:ph type="title"/>
          </p:nvPr>
        </p:nvSpPr>
        <p:spPr>
          <a:xfrm>
            <a:off x="353292" y="159786"/>
            <a:ext cx="9538982" cy="381496"/>
          </a:xfrm>
        </p:spPr>
        <p:txBody>
          <a:bodyPr>
            <a:normAutofit/>
          </a:bodyPr>
          <a:lstStyle>
            <a:lvl1pPr>
              <a:defRPr sz="2800">
                <a:solidFill>
                  <a:schemeClr val="tx1">
                    <a:lumMod val="65000"/>
                    <a:lumOff val="35000"/>
                  </a:schemeClr>
                </a:solidFill>
                <a:effectLst>
                  <a:outerShdw blurRad="38100" dist="38100" dir="2700000" algn="tl">
                    <a:srgbClr val="000000">
                      <a:alpha val="43137"/>
                    </a:srgbClr>
                  </a:outerShdw>
                </a:effectLst>
              </a:defRPr>
            </a:lvl1pPr>
          </a:lstStyle>
          <a:p>
            <a:r>
              <a:rPr lang="ko-KR" altLang="en-US"/>
              <a:t>마스터 제목 스타일 편집</a:t>
            </a:r>
            <a:endParaRPr lang="ko-KR" altLang="en-US" dirty="0"/>
          </a:p>
        </p:txBody>
      </p:sp>
      <p:sp>
        <p:nvSpPr>
          <p:cNvPr id="3" name="날짜 개체 틀 2"/>
          <p:cNvSpPr>
            <a:spLocks noGrp="1"/>
          </p:cNvSpPr>
          <p:nvPr>
            <p:ph type="dt" sz="half" idx="10"/>
          </p:nvPr>
        </p:nvSpPr>
        <p:spPr/>
        <p:txBody>
          <a:bodyPr/>
          <a:lstStyle/>
          <a:p>
            <a:pPr marL="0" marR="0" lvl="0" indent="0" algn="l" defTabSz="914400" rtl="0" eaLnBrk="1" fontAlgn="auto" latinLnBrk="1" hangingPunct="1">
              <a:lnSpc>
                <a:spcPct val="100000"/>
              </a:lnSpc>
              <a:spcBef>
                <a:spcPts val="0"/>
              </a:spcBef>
              <a:spcAft>
                <a:spcPts val="0"/>
              </a:spcAft>
              <a:buClrTx/>
              <a:buSzTx/>
              <a:buFontTx/>
              <a:buNone/>
              <a:tabLst/>
              <a:defRPr/>
            </a:pPr>
            <a:fld id="{1F80ADC6-5EDD-452C-9C52-3619FED993FA}" type="datetimeFigureOut">
              <a:rPr kumimoji="0" lang="ko-KR" altLang="en-US" sz="1200" b="0" i="0" u="none" strike="noStrike" kern="1200" cap="none" spc="0" normalizeH="0" baseline="0" noProof="0" smtClean="0">
                <a:ln>
                  <a:noFill/>
                </a:ln>
                <a:solidFill>
                  <a:prstClr val="black">
                    <a:tint val="75000"/>
                  </a:prstClr>
                </a:solidFill>
                <a:effectLst/>
                <a:uLnTx/>
                <a:uFillTx/>
                <a:latin typeface="맑은 고딕" panose="020F0502020204030204"/>
                <a:ea typeface="맑은 고딕" panose="020B0503020000020004" pitchFamily="50" charset="-127"/>
                <a:cs typeface="+mn-cs"/>
              </a:rPr>
              <a:pPr marL="0" marR="0" lvl="0" indent="0" algn="l" defTabSz="914400" rtl="0" eaLnBrk="1" fontAlgn="auto" latinLnBrk="1" hangingPunct="1">
                <a:lnSpc>
                  <a:spcPct val="100000"/>
                </a:lnSpc>
                <a:spcBef>
                  <a:spcPts val="0"/>
                </a:spcBef>
                <a:spcAft>
                  <a:spcPts val="0"/>
                </a:spcAft>
                <a:buClrTx/>
                <a:buSzTx/>
                <a:buFontTx/>
                <a:buNone/>
                <a:tabLst/>
                <a:defRPr/>
              </a:pPr>
              <a:t>2016-09-20</a:t>
            </a:fld>
            <a:endParaRPr kumimoji="0" lang="ko-KR" altLang="en-US" sz="1200" b="0" i="0" u="none" strike="noStrike" kern="1200" cap="none" spc="0" normalizeH="0" baseline="0" noProof="0">
              <a:ln>
                <a:noFill/>
              </a:ln>
              <a:solidFill>
                <a:prstClr val="black">
                  <a:tint val="75000"/>
                </a:prstClr>
              </a:solidFill>
              <a:effectLst/>
              <a:uLnTx/>
              <a:uFillTx/>
              <a:latin typeface="맑은 고딕" panose="020F0502020204030204"/>
              <a:ea typeface="맑은 고딕" panose="020B0503020000020004" pitchFamily="50" charset="-127"/>
              <a:cs typeface="+mn-cs"/>
            </a:endParaRPr>
          </a:p>
        </p:txBody>
      </p:sp>
      <p:sp>
        <p:nvSpPr>
          <p:cNvPr id="4" name="바닥글 개체 틀 3"/>
          <p:cNvSpPr>
            <a:spLocks noGrp="1"/>
          </p:cNvSpPr>
          <p:nvPr>
            <p:ph type="ftr" sz="quarter" idx="11"/>
          </p:nvPr>
        </p:nvSpPr>
        <p:spPr/>
        <p: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200" b="0" i="0" u="none" strike="noStrike" kern="1200" cap="none" spc="0" normalizeH="0" baseline="0" noProof="0">
              <a:ln>
                <a:noFill/>
              </a:ln>
              <a:solidFill>
                <a:prstClr val="black">
                  <a:tint val="75000"/>
                </a:prstClr>
              </a:solidFill>
              <a:effectLst/>
              <a:uLnTx/>
              <a:uFillTx/>
              <a:latin typeface="맑은 고딕" panose="020F0502020204030204"/>
              <a:ea typeface="맑은 고딕" panose="020B0503020000020004" pitchFamily="50" charset="-127"/>
              <a:cs typeface="+mn-cs"/>
            </a:endParaRPr>
          </a:p>
        </p:txBody>
      </p:sp>
      <p:sp>
        <p:nvSpPr>
          <p:cNvPr id="5" name="슬라이드 번호 개체 틀 4"/>
          <p:cNvSpPr>
            <a:spLocks noGrp="1"/>
          </p:cNvSpPr>
          <p:nvPr>
            <p:ph type="sldNum" sz="quarter" idx="12"/>
          </p:nvPr>
        </p:nvSpPr>
        <p:spPr/>
        <p:txBody>
          <a:bodyPr/>
          <a:lstStyle/>
          <a:p>
            <a:pPr marL="0" marR="0" lvl="0" indent="0" algn="r" defTabSz="914400" rtl="0" eaLnBrk="1" fontAlgn="auto" latinLnBrk="1" hangingPunct="1">
              <a:lnSpc>
                <a:spcPct val="100000"/>
              </a:lnSpc>
              <a:spcBef>
                <a:spcPts val="0"/>
              </a:spcBef>
              <a:spcAft>
                <a:spcPts val="0"/>
              </a:spcAft>
              <a:buClrTx/>
              <a:buSzTx/>
              <a:buFontTx/>
              <a:buNone/>
              <a:tabLst/>
              <a:defRPr/>
            </a:pPr>
            <a:fld id="{93A32577-4FD0-4182-8956-ECCF49E5E615}" type="slidenum">
              <a:rPr kumimoji="0" lang="ko-KR" altLang="en-US" sz="1200" b="0" i="0" u="none" strike="noStrike" kern="1200" cap="none" spc="0" normalizeH="0" baseline="0" noProof="0" smtClean="0">
                <a:ln>
                  <a:noFill/>
                </a:ln>
                <a:solidFill>
                  <a:prstClr val="black">
                    <a:tint val="75000"/>
                  </a:prstClr>
                </a:solidFill>
                <a:effectLst/>
                <a:uLnTx/>
                <a:uFillTx/>
                <a:latin typeface="맑은 고딕" panose="020F0502020204030204"/>
                <a:ea typeface="맑은 고딕" panose="020B0503020000020004" pitchFamily="50" charset="-127"/>
                <a:cs typeface="+mn-cs"/>
              </a:rPr>
              <a:pPr marL="0" marR="0" lvl="0" indent="0" algn="r" defTabSz="914400" rtl="0" eaLnBrk="1" fontAlgn="auto" latinLnBrk="1" hangingPunct="1">
                <a:lnSpc>
                  <a:spcPct val="100000"/>
                </a:lnSpc>
                <a:spcBef>
                  <a:spcPts val="0"/>
                </a:spcBef>
                <a:spcAft>
                  <a:spcPts val="0"/>
                </a:spcAft>
                <a:buClrTx/>
                <a:buSzTx/>
                <a:buFontTx/>
                <a:buNone/>
                <a:tabLst/>
                <a:defRPr/>
              </a:pPr>
              <a:t>‹#›</a:t>
            </a:fld>
            <a:endParaRPr kumimoji="0" lang="ko-KR" altLang="en-US" sz="1200" b="0" i="0" u="none" strike="noStrike" kern="1200" cap="none" spc="0" normalizeH="0" baseline="0" noProof="0">
              <a:ln>
                <a:noFill/>
              </a:ln>
              <a:solidFill>
                <a:prstClr val="black">
                  <a:tint val="75000"/>
                </a:prstClr>
              </a:solidFill>
              <a:effectLst/>
              <a:uLnTx/>
              <a:uFillTx/>
              <a:latin typeface="맑은 고딕" panose="020F0502020204030204"/>
              <a:ea typeface="맑은 고딕" panose="020B0503020000020004" pitchFamily="50" charset="-127"/>
              <a:cs typeface="+mn-cs"/>
            </a:endParaRPr>
          </a:p>
        </p:txBody>
      </p:sp>
      <p:sp>
        <p:nvSpPr>
          <p:cNvPr id="6" name="직사각형 5"/>
          <p:cNvSpPr/>
          <p:nvPr userDrawn="1"/>
        </p:nvSpPr>
        <p:spPr>
          <a:xfrm>
            <a:off x="0" y="660206"/>
            <a:ext cx="12192000" cy="775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맑은 고딕" panose="020F0502020204030204"/>
              <a:ea typeface="맑은 고딕" panose="020B0503020000020004" pitchFamily="50" charset="-127"/>
              <a:cs typeface="+mn-cs"/>
            </a:endParaRPr>
          </a:p>
        </p:txBody>
      </p:sp>
      <p:sp>
        <p:nvSpPr>
          <p:cNvPr id="7" name="TextBox 6"/>
          <p:cNvSpPr txBox="1"/>
          <p:nvPr userDrawn="1"/>
        </p:nvSpPr>
        <p:spPr>
          <a:xfrm>
            <a:off x="0" y="6582975"/>
            <a:ext cx="1063112" cy="276999"/>
          </a:xfrm>
          <a:prstGeom prst="rect">
            <a:avLst/>
          </a:prstGeom>
          <a:noFill/>
        </p:spPr>
        <p:txBody>
          <a:bodyPr wrap="none" rtlCol="0">
            <a:spAutoFit/>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en-US" altLang="ko-KR" sz="1200" b="0" i="0" u="none" strike="noStrike" kern="1200" cap="none" spc="0" normalizeH="0" baseline="0" noProof="0" dirty="0">
                <a:ln>
                  <a:noFill/>
                </a:ln>
                <a:solidFill>
                  <a:prstClr val="black">
                    <a:lumMod val="50000"/>
                    <a:lumOff val="50000"/>
                  </a:prstClr>
                </a:solidFill>
                <a:effectLst/>
                <a:uLnTx/>
                <a:uFillTx/>
                <a:latin typeface="맑은 고딕" panose="020F0502020204030204"/>
                <a:ea typeface="맑은 고딕" panose="020B0503020000020004" pitchFamily="50" charset="-127"/>
                <a:cs typeface="+mn-cs"/>
              </a:rPr>
              <a:t>Internal only</a:t>
            </a:r>
            <a:endParaRPr kumimoji="0" lang="ko-KR" altLang="en-US" sz="1200" b="0" i="0" u="none" strike="noStrike" kern="1200" cap="none" spc="0" normalizeH="0" baseline="0" noProof="0" dirty="0">
              <a:ln>
                <a:noFill/>
              </a:ln>
              <a:solidFill>
                <a:prstClr val="black">
                  <a:lumMod val="50000"/>
                  <a:lumOff val="50000"/>
                </a:prstClr>
              </a:solidFill>
              <a:effectLst/>
              <a:uLnTx/>
              <a:uFillTx/>
              <a:latin typeface="맑은 고딕" panose="020F0502020204030204"/>
              <a:ea typeface="맑은 고딕" panose="020B0503020000020004" pitchFamily="50" charset="-127"/>
              <a:cs typeface="+mn-cs"/>
            </a:endParaRPr>
          </a:p>
        </p:txBody>
      </p:sp>
    </p:spTree>
    <p:extLst>
      <p:ext uri="{BB962C8B-B14F-4D97-AF65-F5344CB8AC3E}">
        <p14:creationId xmlns:p14="http://schemas.microsoft.com/office/powerpoint/2010/main" val="9752007"/>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type="blank" preserve="1">
  <p:cSld name="빈 화면">
    <p:spTree>
      <p:nvGrpSpPr>
        <p:cNvPr id="1" name=""/>
        <p:cNvGrpSpPr/>
        <p:nvPr/>
      </p:nvGrpSpPr>
      <p:grpSpPr>
        <a:xfrm>
          <a:off x="0" y="0"/>
          <a:ext cx="0" cy="0"/>
          <a:chOff x="0" y="0"/>
          <a:chExt cx="0" cy="0"/>
        </a:xfrm>
      </p:grpSpPr>
      <p:sp>
        <p:nvSpPr>
          <p:cNvPr id="2" name="날짜 개체 틀 1"/>
          <p:cNvSpPr>
            <a:spLocks noGrp="1"/>
          </p:cNvSpPr>
          <p:nvPr>
            <p:ph type="dt" sz="half" idx="10"/>
          </p:nvPr>
        </p:nvSpPr>
        <p:spPr/>
        <p:txBody>
          <a:bodyPr/>
          <a:lstStyle/>
          <a:p>
            <a:pPr marL="0" marR="0" lvl="0" indent="0" algn="l" defTabSz="914400" rtl="0" eaLnBrk="1" fontAlgn="auto" latinLnBrk="1" hangingPunct="1">
              <a:lnSpc>
                <a:spcPct val="100000"/>
              </a:lnSpc>
              <a:spcBef>
                <a:spcPts val="0"/>
              </a:spcBef>
              <a:spcAft>
                <a:spcPts val="0"/>
              </a:spcAft>
              <a:buClrTx/>
              <a:buSzTx/>
              <a:buFontTx/>
              <a:buNone/>
              <a:tabLst/>
              <a:defRPr/>
            </a:pPr>
            <a:fld id="{1F80ADC6-5EDD-452C-9C52-3619FED993FA}" type="datetimeFigureOut">
              <a:rPr kumimoji="0" lang="ko-KR" altLang="en-US" sz="1200" b="0" i="0" u="none" strike="noStrike" kern="1200" cap="none" spc="0" normalizeH="0" baseline="0" noProof="0" smtClean="0">
                <a:ln>
                  <a:noFill/>
                </a:ln>
                <a:solidFill>
                  <a:prstClr val="black">
                    <a:tint val="75000"/>
                  </a:prstClr>
                </a:solidFill>
                <a:effectLst/>
                <a:uLnTx/>
                <a:uFillTx/>
                <a:latin typeface="맑은 고딕" panose="020F0502020204030204"/>
                <a:ea typeface="맑은 고딕" panose="020B0503020000020004" pitchFamily="50" charset="-127"/>
                <a:cs typeface="+mn-cs"/>
              </a:rPr>
              <a:pPr marL="0" marR="0" lvl="0" indent="0" algn="l" defTabSz="914400" rtl="0" eaLnBrk="1" fontAlgn="auto" latinLnBrk="1" hangingPunct="1">
                <a:lnSpc>
                  <a:spcPct val="100000"/>
                </a:lnSpc>
                <a:spcBef>
                  <a:spcPts val="0"/>
                </a:spcBef>
                <a:spcAft>
                  <a:spcPts val="0"/>
                </a:spcAft>
                <a:buClrTx/>
                <a:buSzTx/>
                <a:buFontTx/>
                <a:buNone/>
                <a:tabLst/>
                <a:defRPr/>
              </a:pPr>
              <a:t>2016-09-20</a:t>
            </a:fld>
            <a:endParaRPr kumimoji="0" lang="ko-KR" altLang="en-US" sz="1200" b="0" i="0" u="none" strike="noStrike" kern="1200" cap="none" spc="0" normalizeH="0" baseline="0" noProof="0">
              <a:ln>
                <a:noFill/>
              </a:ln>
              <a:solidFill>
                <a:prstClr val="black">
                  <a:tint val="75000"/>
                </a:prstClr>
              </a:solidFill>
              <a:effectLst/>
              <a:uLnTx/>
              <a:uFillTx/>
              <a:latin typeface="맑은 고딕" panose="020F0502020204030204"/>
              <a:ea typeface="맑은 고딕" panose="020B0503020000020004" pitchFamily="50" charset="-127"/>
              <a:cs typeface="+mn-cs"/>
            </a:endParaRPr>
          </a:p>
        </p:txBody>
      </p:sp>
      <p:sp>
        <p:nvSpPr>
          <p:cNvPr id="3" name="바닥글 개체 틀 2"/>
          <p:cNvSpPr>
            <a:spLocks noGrp="1"/>
          </p:cNvSpPr>
          <p:nvPr>
            <p:ph type="ftr" sz="quarter" idx="11"/>
          </p:nvPr>
        </p:nvSpPr>
        <p:spPr/>
        <p: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200" b="0" i="0" u="none" strike="noStrike" kern="1200" cap="none" spc="0" normalizeH="0" baseline="0" noProof="0">
              <a:ln>
                <a:noFill/>
              </a:ln>
              <a:solidFill>
                <a:prstClr val="black">
                  <a:tint val="75000"/>
                </a:prstClr>
              </a:solidFill>
              <a:effectLst/>
              <a:uLnTx/>
              <a:uFillTx/>
              <a:latin typeface="맑은 고딕" panose="020F0502020204030204"/>
              <a:ea typeface="맑은 고딕" panose="020B0503020000020004" pitchFamily="50" charset="-127"/>
              <a:cs typeface="+mn-cs"/>
            </a:endParaRPr>
          </a:p>
        </p:txBody>
      </p:sp>
      <p:sp>
        <p:nvSpPr>
          <p:cNvPr id="4" name="슬라이드 번호 개체 틀 3"/>
          <p:cNvSpPr>
            <a:spLocks noGrp="1"/>
          </p:cNvSpPr>
          <p:nvPr>
            <p:ph type="sldNum" sz="quarter" idx="12"/>
          </p:nvPr>
        </p:nvSpPr>
        <p:spPr/>
        <p:txBody>
          <a:bodyPr/>
          <a:lstStyle/>
          <a:p>
            <a:pPr marL="0" marR="0" lvl="0" indent="0" algn="r" defTabSz="914400" rtl="0" eaLnBrk="1" fontAlgn="auto" latinLnBrk="1" hangingPunct="1">
              <a:lnSpc>
                <a:spcPct val="100000"/>
              </a:lnSpc>
              <a:spcBef>
                <a:spcPts val="0"/>
              </a:spcBef>
              <a:spcAft>
                <a:spcPts val="0"/>
              </a:spcAft>
              <a:buClrTx/>
              <a:buSzTx/>
              <a:buFontTx/>
              <a:buNone/>
              <a:tabLst/>
              <a:defRPr/>
            </a:pPr>
            <a:fld id="{93A32577-4FD0-4182-8956-ECCF49E5E615}" type="slidenum">
              <a:rPr kumimoji="0" lang="ko-KR" altLang="en-US" sz="1200" b="0" i="0" u="none" strike="noStrike" kern="1200" cap="none" spc="0" normalizeH="0" baseline="0" noProof="0" smtClean="0">
                <a:ln>
                  <a:noFill/>
                </a:ln>
                <a:solidFill>
                  <a:prstClr val="black">
                    <a:tint val="75000"/>
                  </a:prstClr>
                </a:solidFill>
                <a:effectLst/>
                <a:uLnTx/>
                <a:uFillTx/>
                <a:latin typeface="맑은 고딕" panose="020F0502020204030204"/>
                <a:ea typeface="맑은 고딕" panose="020B0503020000020004" pitchFamily="50" charset="-127"/>
                <a:cs typeface="+mn-cs"/>
              </a:rPr>
              <a:pPr marL="0" marR="0" lvl="0" indent="0" algn="r" defTabSz="914400" rtl="0" eaLnBrk="1" fontAlgn="auto" latinLnBrk="1" hangingPunct="1">
                <a:lnSpc>
                  <a:spcPct val="100000"/>
                </a:lnSpc>
                <a:spcBef>
                  <a:spcPts val="0"/>
                </a:spcBef>
                <a:spcAft>
                  <a:spcPts val="0"/>
                </a:spcAft>
                <a:buClrTx/>
                <a:buSzTx/>
                <a:buFontTx/>
                <a:buNone/>
                <a:tabLst/>
                <a:defRPr/>
              </a:pPr>
              <a:t>‹#›</a:t>
            </a:fld>
            <a:endParaRPr kumimoji="0" lang="ko-KR" altLang="en-US" sz="1200" b="0" i="0" u="none" strike="noStrike" kern="1200" cap="none" spc="0" normalizeH="0" baseline="0" noProof="0">
              <a:ln>
                <a:noFill/>
              </a:ln>
              <a:solidFill>
                <a:prstClr val="black">
                  <a:tint val="75000"/>
                </a:prstClr>
              </a:solidFill>
              <a:effectLst/>
              <a:uLnTx/>
              <a:uFillTx/>
              <a:latin typeface="맑은 고딕" panose="020F0502020204030204"/>
              <a:ea typeface="맑은 고딕" panose="020B0503020000020004" pitchFamily="50" charset="-127"/>
              <a:cs typeface="+mn-cs"/>
            </a:endParaRPr>
          </a:p>
        </p:txBody>
      </p:sp>
    </p:spTree>
    <p:extLst>
      <p:ext uri="{BB962C8B-B14F-4D97-AF65-F5344CB8AC3E}">
        <p14:creationId xmlns:p14="http://schemas.microsoft.com/office/powerpoint/2010/main" val="2517882349"/>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ltLang="ko-KR"/>
              <a:t>Click to edit Master title style</a:t>
            </a:r>
            <a:endParaRPr lang="ko-KR" alt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ltLang="ko-KR"/>
              <a:t>Click to edit Master subtitle style</a:t>
            </a:r>
            <a:endParaRPr lang="ko-KR" altLang="en-US"/>
          </a:p>
        </p:txBody>
      </p:sp>
      <p:sp>
        <p:nvSpPr>
          <p:cNvPr id="4" name="Date Placeholder 3"/>
          <p:cNvSpPr>
            <a:spLocks noGrp="1"/>
          </p:cNvSpPr>
          <p:nvPr>
            <p:ph type="dt" sz="half" idx="10"/>
          </p:nvPr>
        </p:nvSpPr>
        <p:spPr/>
        <p:txBody>
          <a:bodyPr/>
          <a:lstStyle/>
          <a:p>
            <a:fld id="{8DC95F81-F393-48E0-8BA5-6FFB924FDFF2}" type="datetimeFigureOut">
              <a:rPr lang="ko-KR" altLang="en-US" smtClean="0"/>
              <a:t>2016-09-20</a:t>
            </a:fld>
            <a:endParaRPr lang="ko-KR" altLang="en-US"/>
          </a:p>
        </p:txBody>
      </p:sp>
      <p:sp>
        <p:nvSpPr>
          <p:cNvPr id="5" name="Footer Placeholder 4"/>
          <p:cNvSpPr>
            <a:spLocks noGrp="1"/>
          </p:cNvSpPr>
          <p:nvPr>
            <p:ph type="ftr" sz="quarter" idx="11"/>
          </p:nvPr>
        </p:nvSpPr>
        <p:spPr/>
        <p:txBody>
          <a:bodyPr/>
          <a:lstStyle/>
          <a:p>
            <a:endParaRPr lang="ko-KR" altLang="en-US"/>
          </a:p>
        </p:txBody>
      </p:sp>
      <p:sp>
        <p:nvSpPr>
          <p:cNvPr id="6" name="Slide Number Placeholder 5"/>
          <p:cNvSpPr>
            <a:spLocks noGrp="1"/>
          </p:cNvSpPr>
          <p:nvPr>
            <p:ph type="sldNum" sz="quarter" idx="12"/>
          </p:nvPr>
        </p:nvSpPr>
        <p:spPr/>
        <p:txBody>
          <a:bodyPr/>
          <a:lstStyle/>
          <a:p>
            <a:fld id="{96E4091F-EC69-4E40-9D9D-52129A5C3CF4}" type="slidenum">
              <a:rPr lang="ko-KR" altLang="en-US" smtClean="0"/>
              <a:t>‹#›</a:t>
            </a:fld>
            <a:endParaRPr lang="ko-KR" altLang="en-US"/>
          </a:p>
        </p:txBody>
      </p:sp>
    </p:spTree>
    <p:extLst>
      <p:ext uri="{BB962C8B-B14F-4D97-AF65-F5344CB8AC3E}">
        <p14:creationId xmlns:p14="http://schemas.microsoft.com/office/powerpoint/2010/main" val="2679251700"/>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a:t>Click to edit Master title style</a:t>
            </a:r>
            <a:endParaRPr lang="ko-KR" altLang="en-US"/>
          </a:p>
        </p:txBody>
      </p:sp>
      <p:sp>
        <p:nvSpPr>
          <p:cNvPr id="3" name="Content Placeholder 2"/>
          <p:cNvSpPr>
            <a:spLocks noGrp="1"/>
          </p:cNvSpPr>
          <p:nvPr>
            <p:ph idx="1"/>
          </p:nvPr>
        </p:nvSpPr>
        <p:spPr/>
        <p:txBody>
          <a:bodyPr/>
          <a:lstStyle/>
          <a:p>
            <a:pPr lvl="0"/>
            <a:r>
              <a:rPr lang="en-US" altLang="ko-KR"/>
              <a:t>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ko-KR" altLang="en-US"/>
          </a:p>
        </p:txBody>
      </p:sp>
      <p:sp>
        <p:nvSpPr>
          <p:cNvPr id="4" name="Date Placeholder 3"/>
          <p:cNvSpPr>
            <a:spLocks noGrp="1"/>
          </p:cNvSpPr>
          <p:nvPr>
            <p:ph type="dt" sz="half" idx="10"/>
          </p:nvPr>
        </p:nvSpPr>
        <p:spPr/>
        <p:txBody>
          <a:bodyPr/>
          <a:lstStyle/>
          <a:p>
            <a:fld id="{8DC95F81-F393-48E0-8BA5-6FFB924FDFF2}" type="datetimeFigureOut">
              <a:rPr lang="ko-KR" altLang="en-US" smtClean="0"/>
              <a:t>2016-09-20</a:t>
            </a:fld>
            <a:endParaRPr lang="ko-KR" altLang="en-US"/>
          </a:p>
        </p:txBody>
      </p:sp>
      <p:sp>
        <p:nvSpPr>
          <p:cNvPr id="5" name="Footer Placeholder 4"/>
          <p:cNvSpPr>
            <a:spLocks noGrp="1"/>
          </p:cNvSpPr>
          <p:nvPr>
            <p:ph type="ftr" sz="quarter" idx="11"/>
          </p:nvPr>
        </p:nvSpPr>
        <p:spPr/>
        <p:txBody>
          <a:bodyPr/>
          <a:lstStyle/>
          <a:p>
            <a:endParaRPr lang="ko-KR" altLang="en-US"/>
          </a:p>
        </p:txBody>
      </p:sp>
      <p:sp>
        <p:nvSpPr>
          <p:cNvPr id="6" name="Slide Number Placeholder 5"/>
          <p:cNvSpPr>
            <a:spLocks noGrp="1"/>
          </p:cNvSpPr>
          <p:nvPr>
            <p:ph type="sldNum" sz="quarter" idx="12"/>
          </p:nvPr>
        </p:nvSpPr>
        <p:spPr/>
        <p:txBody>
          <a:bodyPr/>
          <a:lstStyle/>
          <a:p>
            <a:fld id="{96E4091F-EC69-4E40-9D9D-52129A5C3CF4}" type="slidenum">
              <a:rPr lang="ko-KR" altLang="en-US" smtClean="0"/>
              <a:t>‹#›</a:t>
            </a:fld>
            <a:endParaRPr lang="ko-KR" altLang="en-US"/>
          </a:p>
        </p:txBody>
      </p:sp>
    </p:spTree>
    <p:extLst>
      <p:ext uri="{BB962C8B-B14F-4D97-AF65-F5344CB8AC3E}">
        <p14:creationId xmlns:p14="http://schemas.microsoft.com/office/powerpoint/2010/main" val="4100246457"/>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ltLang="ko-KR"/>
              <a:t>Click to edit Master title style</a:t>
            </a:r>
            <a:endParaRPr lang="ko-KR" alt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ltLang="ko-KR"/>
              <a:t>Edit Master text styles</a:t>
            </a:r>
          </a:p>
        </p:txBody>
      </p:sp>
      <p:sp>
        <p:nvSpPr>
          <p:cNvPr id="4" name="Date Placeholder 3"/>
          <p:cNvSpPr>
            <a:spLocks noGrp="1"/>
          </p:cNvSpPr>
          <p:nvPr>
            <p:ph type="dt" sz="half" idx="10"/>
          </p:nvPr>
        </p:nvSpPr>
        <p:spPr/>
        <p:txBody>
          <a:bodyPr/>
          <a:lstStyle/>
          <a:p>
            <a:fld id="{8DC95F81-F393-48E0-8BA5-6FFB924FDFF2}" type="datetimeFigureOut">
              <a:rPr lang="ko-KR" altLang="en-US" smtClean="0"/>
              <a:t>2016-09-20</a:t>
            </a:fld>
            <a:endParaRPr lang="ko-KR" altLang="en-US"/>
          </a:p>
        </p:txBody>
      </p:sp>
      <p:sp>
        <p:nvSpPr>
          <p:cNvPr id="5" name="Footer Placeholder 4"/>
          <p:cNvSpPr>
            <a:spLocks noGrp="1"/>
          </p:cNvSpPr>
          <p:nvPr>
            <p:ph type="ftr" sz="quarter" idx="11"/>
          </p:nvPr>
        </p:nvSpPr>
        <p:spPr/>
        <p:txBody>
          <a:bodyPr/>
          <a:lstStyle/>
          <a:p>
            <a:endParaRPr lang="ko-KR" altLang="en-US"/>
          </a:p>
        </p:txBody>
      </p:sp>
      <p:sp>
        <p:nvSpPr>
          <p:cNvPr id="6" name="Slide Number Placeholder 5"/>
          <p:cNvSpPr>
            <a:spLocks noGrp="1"/>
          </p:cNvSpPr>
          <p:nvPr>
            <p:ph type="sldNum" sz="quarter" idx="12"/>
          </p:nvPr>
        </p:nvSpPr>
        <p:spPr/>
        <p:txBody>
          <a:bodyPr/>
          <a:lstStyle/>
          <a:p>
            <a:fld id="{96E4091F-EC69-4E40-9D9D-52129A5C3CF4}" type="slidenum">
              <a:rPr lang="ko-KR" altLang="en-US" smtClean="0"/>
              <a:t>‹#›</a:t>
            </a:fld>
            <a:endParaRPr lang="ko-KR" altLang="en-US"/>
          </a:p>
        </p:txBody>
      </p:sp>
    </p:spTree>
    <p:extLst>
      <p:ext uri="{BB962C8B-B14F-4D97-AF65-F5344CB8AC3E}">
        <p14:creationId xmlns:p14="http://schemas.microsoft.com/office/powerpoint/2010/main" val="477854276"/>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a:t>Click to edit Master title style</a:t>
            </a:r>
            <a:endParaRPr lang="ko-KR" altLang="en-US"/>
          </a:p>
        </p:txBody>
      </p:sp>
      <p:sp>
        <p:nvSpPr>
          <p:cNvPr id="3" name="Content Placeholder 2"/>
          <p:cNvSpPr>
            <a:spLocks noGrp="1"/>
          </p:cNvSpPr>
          <p:nvPr>
            <p:ph sz="half" idx="1"/>
          </p:nvPr>
        </p:nvSpPr>
        <p:spPr>
          <a:xfrm>
            <a:off x="838200" y="1825625"/>
            <a:ext cx="5181600" cy="4351338"/>
          </a:xfrm>
        </p:spPr>
        <p:txBody>
          <a:bodyPr/>
          <a:lstStyle/>
          <a:p>
            <a:pPr lvl="0"/>
            <a:r>
              <a:rPr lang="en-US" altLang="ko-KR"/>
              <a:t>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ko-KR" altLang="en-US"/>
          </a:p>
        </p:txBody>
      </p:sp>
      <p:sp>
        <p:nvSpPr>
          <p:cNvPr id="4" name="Content Placeholder 3"/>
          <p:cNvSpPr>
            <a:spLocks noGrp="1"/>
          </p:cNvSpPr>
          <p:nvPr>
            <p:ph sz="half" idx="2"/>
          </p:nvPr>
        </p:nvSpPr>
        <p:spPr>
          <a:xfrm>
            <a:off x="6172200" y="1825625"/>
            <a:ext cx="5181600" cy="4351338"/>
          </a:xfrm>
        </p:spPr>
        <p:txBody>
          <a:bodyPr/>
          <a:lstStyle/>
          <a:p>
            <a:pPr lvl="0"/>
            <a:r>
              <a:rPr lang="en-US" altLang="ko-KR"/>
              <a:t>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ko-KR" altLang="en-US"/>
          </a:p>
        </p:txBody>
      </p:sp>
      <p:sp>
        <p:nvSpPr>
          <p:cNvPr id="5" name="Date Placeholder 4"/>
          <p:cNvSpPr>
            <a:spLocks noGrp="1"/>
          </p:cNvSpPr>
          <p:nvPr>
            <p:ph type="dt" sz="half" idx="10"/>
          </p:nvPr>
        </p:nvSpPr>
        <p:spPr/>
        <p:txBody>
          <a:bodyPr/>
          <a:lstStyle/>
          <a:p>
            <a:fld id="{8DC95F81-F393-48E0-8BA5-6FFB924FDFF2}" type="datetimeFigureOut">
              <a:rPr lang="ko-KR" altLang="en-US" smtClean="0"/>
              <a:t>2016-09-20</a:t>
            </a:fld>
            <a:endParaRPr lang="ko-KR" altLang="en-US"/>
          </a:p>
        </p:txBody>
      </p:sp>
      <p:sp>
        <p:nvSpPr>
          <p:cNvPr id="6" name="Footer Placeholder 5"/>
          <p:cNvSpPr>
            <a:spLocks noGrp="1"/>
          </p:cNvSpPr>
          <p:nvPr>
            <p:ph type="ftr" sz="quarter" idx="11"/>
          </p:nvPr>
        </p:nvSpPr>
        <p:spPr/>
        <p:txBody>
          <a:bodyPr/>
          <a:lstStyle/>
          <a:p>
            <a:endParaRPr lang="ko-KR" altLang="en-US"/>
          </a:p>
        </p:txBody>
      </p:sp>
      <p:sp>
        <p:nvSpPr>
          <p:cNvPr id="7" name="Slide Number Placeholder 6"/>
          <p:cNvSpPr>
            <a:spLocks noGrp="1"/>
          </p:cNvSpPr>
          <p:nvPr>
            <p:ph type="sldNum" sz="quarter" idx="12"/>
          </p:nvPr>
        </p:nvSpPr>
        <p:spPr/>
        <p:txBody>
          <a:bodyPr/>
          <a:lstStyle/>
          <a:p>
            <a:fld id="{96E4091F-EC69-4E40-9D9D-52129A5C3CF4}" type="slidenum">
              <a:rPr lang="ko-KR" altLang="en-US" smtClean="0"/>
              <a:t>‹#›</a:t>
            </a:fld>
            <a:endParaRPr lang="ko-KR" altLang="en-US"/>
          </a:p>
        </p:txBody>
      </p:sp>
    </p:spTree>
    <p:extLst>
      <p:ext uri="{BB962C8B-B14F-4D97-AF65-F5344CB8AC3E}">
        <p14:creationId xmlns:p14="http://schemas.microsoft.com/office/powerpoint/2010/main" val="2112048477"/>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ltLang="ko-KR"/>
              <a:t>Click to edit Master title style</a:t>
            </a:r>
            <a:endParaRPr lang="ko-KR" alt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ko-KR"/>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ltLang="ko-KR"/>
              <a:t>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ko-KR" alt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ko-KR"/>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ltLang="ko-KR"/>
              <a:t>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ko-KR" altLang="en-US"/>
          </a:p>
        </p:txBody>
      </p:sp>
      <p:sp>
        <p:nvSpPr>
          <p:cNvPr id="7" name="Date Placeholder 6"/>
          <p:cNvSpPr>
            <a:spLocks noGrp="1"/>
          </p:cNvSpPr>
          <p:nvPr>
            <p:ph type="dt" sz="half" idx="10"/>
          </p:nvPr>
        </p:nvSpPr>
        <p:spPr/>
        <p:txBody>
          <a:bodyPr/>
          <a:lstStyle/>
          <a:p>
            <a:fld id="{8DC95F81-F393-48E0-8BA5-6FFB924FDFF2}" type="datetimeFigureOut">
              <a:rPr lang="ko-KR" altLang="en-US" smtClean="0"/>
              <a:t>2016-09-20</a:t>
            </a:fld>
            <a:endParaRPr lang="ko-KR" altLang="en-US"/>
          </a:p>
        </p:txBody>
      </p:sp>
      <p:sp>
        <p:nvSpPr>
          <p:cNvPr id="8" name="Footer Placeholder 7"/>
          <p:cNvSpPr>
            <a:spLocks noGrp="1"/>
          </p:cNvSpPr>
          <p:nvPr>
            <p:ph type="ftr" sz="quarter" idx="11"/>
          </p:nvPr>
        </p:nvSpPr>
        <p:spPr/>
        <p:txBody>
          <a:bodyPr/>
          <a:lstStyle/>
          <a:p>
            <a:endParaRPr lang="ko-KR" altLang="en-US"/>
          </a:p>
        </p:txBody>
      </p:sp>
      <p:sp>
        <p:nvSpPr>
          <p:cNvPr id="9" name="Slide Number Placeholder 8"/>
          <p:cNvSpPr>
            <a:spLocks noGrp="1"/>
          </p:cNvSpPr>
          <p:nvPr>
            <p:ph type="sldNum" sz="quarter" idx="12"/>
          </p:nvPr>
        </p:nvSpPr>
        <p:spPr/>
        <p:txBody>
          <a:bodyPr/>
          <a:lstStyle/>
          <a:p>
            <a:fld id="{96E4091F-EC69-4E40-9D9D-52129A5C3CF4}" type="slidenum">
              <a:rPr lang="ko-KR" altLang="en-US" smtClean="0"/>
              <a:t>‹#›</a:t>
            </a:fld>
            <a:endParaRPr lang="ko-KR" altLang="en-US"/>
          </a:p>
        </p:txBody>
      </p:sp>
    </p:spTree>
    <p:extLst>
      <p:ext uri="{BB962C8B-B14F-4D97-AF65-F5344CB8AC3E}">
        <p14:creationId xmlns:p14="http://schemas.microsoft.com/office/powerpoint/2010/main" val="100659510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54" y="228603"/>
            <a:ext cx="11151919" cy="914360"/>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54" y="1447803"/>
            <a:ext cx="11151919" cy="25590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35486526"/>
      </p:ext>
    </p:extLst>
  </p:cSld>
  <p:clrMapOvr>
    <a:masterClrMapping/>
  </p:clrMapOvr>
  <p:transition>
    <p:wipe dir="r"/>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a:t>Click to edit Master title style</a:t>
            </a:r>
            <a:endParaRPr lang="ko-KR" altLang="en-US"/>
          </a:p>
        </p:txBody>
      </p:sp>
      <p:sp>
        <p:nvSpPr>
          <p:cNvPr id="3" name="Date Placeholder 2"/>
          <p:cNvSpPr>
            <a:spLocks noGrp="1"/>
          </p:cNvSpPr>
          <p:nvPr>
            <p:ph type="dt" sz="half" idx="10"/>
          </p:nvPr>
        </p:nvSpPr>
        <p:spPr/>
        <p:txBody>
          <a:bodyPr/>
          <a:lstStyle/>
          <a:p>
            <a:fld id="{8DC95F81-F393-48E0-8BA5-6FFB924FDFF2}" type="datetimeFigureOut">
              <a:rPr lang="ko-KR" altLang="en-US" smtClean="0"/>
              <a:t>2016-09-20</a:t>
            </a:fld>
            <a:endParaRPr lang="ko-KR" altLang="en-US"/>
          </a:p>
        </p:txBody>
      </p:sp>
      <p:sp>
        <p:nvSpPr>
          <p:cNvPr id="4" name="Footer Placeholder 3"/>
          <p:cNvSpPr>
            <a:spLocks noGrp="1"/>
          </p:cNvSpPr>
          <p:nvPr>
            <p:ph type="ftr" sz="quarter" idx="11"/>
          </p:nvPr>
        </p:nvSpPr>
        <p:spPr/>
        <p:txBody>
          <a:bodyPr/>
          <a:lstStyle/>
          <a:p>
            <a:endParaRPr lang="ko-KR" altLang="en-US"/>
          </a:p>
        </p:txBody>
      </p:sp>
      <p:sp>
        <p:nvSpPr>
          <p:cNvPr id="5" name="Slide Number Placeholder 4"/>
          <p:cNvSpPr>
            <a:spLocks noGrp="1"/>
          </p:cNvSpPr>
          <p:nvPr>
            <p:ph type="sldNum" sz="quarter" idx="12"/>
          </p:nvPr>
        </p:nvSpPr>
        <p:spPr/>
        <p:txBody>
          <a:bodyPr/>
          <a:lstStyle/>
          <a:p>
            <a:fld id="{96E4091F-EC69-4E40-9D9D-52129A5C3CF4}" type="slidenum">
              <a:rPr lang="ko-KR" altLang="en-US" smtClean="0"/>
              <a:t>‹#›</a:t>
            </a:fld>
            <a:endParaRPr lang="ko-KR" altLang="en-US"/>
          </a:p>
        </p:txBody>
      </p:sp>
    </p:spTree>
    <p:extLst>
      <p:ext uri="{BB962C8B-B14F-4D97-AF65-F5344CB8AC3E}">
        <p14:creationId xmlns:p14="http://schemas.microsoft.com/office/powerpoint/2010/main" val="3705198934"/>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DC95F81-F393-48E0-8BA5-6FFB924FDFF2}" type="datetimeFigureOut">
              <a:rPr lang="ko-KR" altLang="en-US" smtClean="0"/>
              <a:t>2016-09-20</a:t>
            </a:fld>
            <a:endParaRPr lang="ko-KR" altLang="en-US"/>
          </a:p>
        </p:txBody>
      </p:sp>
      <p:sp>
        <p:nvSpPr>
          <p:cNvPr id="3" name="Footer Placeholder 2"/>
          <p:cNvSpPr>
            <a:spLocks noGrp="1"/>
          </p:cNvSpPr>
          <p:nvPr>
            <p:ph type="ftr" sz="quarter" idx="11"/>
          </p:nvPr>
        </p:nvSpPr>
        <p:spPr/>
        <p:txBody>
          <a:bodyPr/>
          <a:lstStyle/>
          <a:p>
            <a:endParaRPr lang="ko-KR" altLang="en-US"/>
          </a:p>
        </p:txBody>
      </p:sp>
      <p:sp>
        <p:nvSpPr>
          <p:cNvPr id="4" name="Slide Number Placeholder 3"/>
          <p:cNvSpPr>
            <a:spLocks noGrp="1"/>
          </p:cNvSpPr>
          <p:nvPr>
            <p:ph type="sldNum" sz="quarter" idx="12"/>
          </p:nvPr>
        </p:nvSpPr>
        <p:spPr/>
        <p:txBody>
          <a:bodyPr/>
          <a:lstStyle/>
          <a:p>
            <a:fld id="{96E4091F-EC69-4E40-9D9D-52129A5C3CF4}" type="slidenum">
              <a:rPr lang="ko-KR" altLang="en-US" smtClean="0"/>
              <a:t>‹#›</a:t>
            </a:fld>
            <a:endParaRPr lang="ko-KR" altLang="en-US"/>
          </a:p>
        </p:txBody>
      </p:sp>
    </p:spTree>
    <p:extLst>
      <p:ext uri="{BB962C8B-B14F-4D97-AF65-F5344CB8AC3E}">
        <p14:creationId xmlns:p14="http://schemas.microsoft.com/office/powerpoint/2010/main" val="1240673784"/>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ltLang="ko-KR"/>
              <a:t>Click to edit Master title style</a:t>
            </a:r>
            <a:endParaRPr lang="ko-KR" alt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ltLang="ko-KR"/>
              <a:t>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ko-KR" alt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ltLang="ko-KR"/>
              <a:t>Edit Master text styles</a:t>
            </a:r>
          </a:p>
        </p:txBody>
      </p:sp>
      <p:sp>
        <p:nvSpPr>
          <p:cNvPr id="5" name="Date Placeholder 4"/>
          <p:cNvSpPr>
            <a:spLocks noGrp="1"/>
          </p:cNvSpPr>
          <p:nvPr>
            <p:ph type="dt" sz="half" idx="10"/>
          </p:nvPr>
        </p:nvSpPr>
        <p:spPr/>
        <p:txBody>
          <a:bodyPr/>
          <a:lstStyle/>
          <a:p>
            <a:fld id="{8DC95F81-F393-48E0-8BA5-6FFB924FDFF2}" type="datetimeFigureOut">
              <a:rPr lang="ko-KR" altLang="en-US" smtClean="0"/>
              <a:t>2016-09-20</a:t>
            </a:fld>
            <a:endParaRPr lang="ko-KR" altLang="en-US"/>
          </a:p>
        </p:txBody>
      </p:sp>
      <p:sp>
        <p:nvSpPr>
          <p:cNvPr id="6" name="Footer Placeholder 5"/>
          <p:cNvSpPr>
            <a:spLocks noGrp="1"/>
          </p:cNvSpPr>
          <p:nvPr>
            <p:ph type="ftr" sz="quarter" idx="11"/>
          </p:nvPr>
        </p:nvSpPr>
        <p:spPr/>
        <p:txBody>
          <a:bodyPr/>
          <a:lstStyle/>
          <a:p>
            <a:endParaRPr lang="ko-KR" altLang="en-US"/>
          </a:p>
        </p:txBody>
      </p:sp>
      <p:sp>
        <p:nvSpPr>
          <p:cNvPr id="7" name="Slide Number Placeholder 6"/>
          <p:cNvSpPr>
            <a:spLocks noGrp="1"/>
          </p:cNvSpPr>
          <p:nvPr>
            <p:ph type="sldNum" sz="quarter" idx="12"/>
          </p:nvPr>
        </p:nvSpPr>
        <p:spPr/>
        <p:txBody>
          <a:bodyPr/>
          <a:lstStyle/>
          <a:p>
            <a:fld id="{96E4091F-EC69-4E40-9D9D-52129A5C3CF4}" type="slidenum">
              <a:rPr lang="ko-KR" altLang="en-US" smtClean="0"/>
              <a:t>‹#›</a:t>
            </a:fld>
            <a:endParaRPr lang="ko-KR" altLang="en-US"/>
          </a:p>
        </p:txBody>
      </p:sp>
    </p:spTree>
    <p:extLst>
      <p:ext uri="{BB962C8B-B14F-4D97-AF65-F5344CB8AC3E}">
        <p14:creationId xmlns:p14="http://schemas.microsoft.com/office/powerpoint/2010/main" val="4088935315"/>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ltLang="ko-KR"/>
              <a:t>Click to edit Master title style</a:t>
            </a:r>
            <a:endParaRPr lang="ko-KR" alt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ko-KR" alt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ltLang="ko-KR"/>
              <a:t>Edit Master text styles</a:t>
            </a:r>
          </a:p>
        </p:txBody>
      </p:sp>
      <p:sp>
        <p:nvSpPr>
          <p:cNvPr id="5" name="Date Placeholder 4"/>
          <p:cNvSpPr>
            <a:spLocks noGrp="1"/>
          </p:cNvSpPr>
          <p:nvPr>
            <p:ph type="dt" sz="half" idx="10"/>
          </p:nvPr>
        </p:nvSpPr>
        <p:spPr/>
        <p:txBody>
          <a:bodyPr/>
          <a:lstStyle/>
          <a:p>
            <a:fld id="{8DC95F81-F393-48E0-8BA5-6FFB924FDFF2}" type="datetimeFigureOut">
              <a:rPr lang="ko-KR" altLang="en-US" smtClean="0"/>
              <a:t>2016-09-20</a:t>
            </a:fld>
            <a:endParaRPr lang="ko-KR" altLang="en-US"/>
          </a:p>
        </p:txBody>
      </p:sp>
      <p:sp>
        <p:nvSpPr>
          <p:cNvPr id="6" name="Footer Placeholder 5"/>
          <p:cNvSpPr>
            <a:spLocks noGrp="1"/>
          </p:cNvSpPr>
          <p:nvPr>
            <p:ph type="ftr" sz="quarter" idx="11"/>
          </p:nvPr>
        </p:nvSpPr>
        <p:spPr/>
        <p:txBody>
          <a:bodyPr/>
          <a:lstStyle/>
          <a:p>
            <a:endParaRPr lang="ko-KR" altLang="en-US"/>
          </a:p>
        </p:txBody>
      </p:sp>
      <p:sp>
        <p:nvSpPr>
          <p:cNvPr id="7" name="Slide Number Placeholder 6"/>
          <p:cNvSpPr>
            <a:spLocks noGrp="1"/>
          </p:cNvSpPr>
          <p:nvPr>
            <p:ph type="sldNum" sz="quarter" idx="12"/>
          </p:nvPr>
        </p:nvSpPr>
        <p:spPr/>
        <p:txBody>
          <a:bodyPr/>
          <a:lstStyle/>
          <a:p>
            <a:fld id="{96E4091F-EC69-4E40-9D9D-52129A5C3CF4}" type="slidenum">
              <a:rPr lang="ko-KR" altLang="en-US" smtClean="0"/>
              <a:t>‹#›</a:t>
            </a:fld>
            <a:endParaRPr lang="ko-KR" altLang="en-US"/>
          </a:p>
        </p:txBody>
      </p:sp>
    </p:spTree>
    <p:extLst>
      <p:ext uri="{BB962C8B-B14F-4D97-AF65-F5344CB8AC3E}">
        <p14:creationId xmlns:p14="http://schemas.microsoft.com/office/powerpoint/2010/main" val="833452952"/>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a:t>Click to edit Master title style</a:t>
            </a:r>
            <a:endParaRPr lang="ko-KR" altLang="en-US"/>
          </a:p>
        </p:txBody>
      </p:sp>
      <p:sp>
        <p:nvSpPr>
          <p:cNvPr id="3" name="Vertical Text Placeholder 2"/>
          <p:cNvSpPr>
            <a:spLocks noGrp="1"/>
          </p:cNvSpPr>
          <p:nvPr>
            <p:ph type="body" orient="vert" idx="1"/>
          </p:nvPr>
        </p:nvSpPr>
        <p:spPr/>
        <p:txBody>
          <a:bodyPr vert="eaVert"/>
          <a:lstStyle/>
          <a:p>
            <a:pPr lvl="0"/>
            <a:r>
              <a:rPr lang="en-US" altLang="ko-KR"/>
              <a:t>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ko-KR" altLang="en-US"/>
          </a:p>
        </p:txBody>
      </p:sp>
      <p:sp>
        <p:nvSpPr>
          <p:cNvPr id="4" name="Date Placeholder 3"/>
          <p:cNvSpPr>
            <a:spLocks noGrp="1"/>
          </p:cNvSpPr>
          <p:nvPr>
            <p:ph type="dt" sz="half" idx="10"/>
          </p:nvPr>
        </p:nvSpPr>
        <p:spPr/>
        <p:txBody>
          <a:bodyPr/>
          <a:lstStyle/>
          <a:p>
            <a:fld id="{8DC95F81-F393-48E0-8BA5-6FFB924FDFF2}" type="datetimeFigureOut">
              <a:rPr lang="ko-KR" altLang="en-US" smtClean="0"/>
              <a:t>2016-09-20</a:t>
            </a:fld>
            <a:endParaRPr lang="ko-KR" altLang="en-US"/>
          </a:p>
        </p:txBody>
      </p:sp>
      <p:sp>
        <p:nvSpPr>
          <p:cNvPr id="5" name="Footer Placeholder 4"/>
          <p:cNvSpPr>
            <a:spLocks noGrp="1"/>
          </p:cNvSpPr>
          <p:nvPr>
            <p:ph type="ftr" sz="quarter" idx="11"/>
          </p:nvPr>
        </p:nvSpPr>
        <p:spPr/>
        <p:txBody>
          <a:bodyPr/>
          <a:lstStyle/>
          <a:p>
            <a:endParaRPr lang="ko-KR" altLang="en-US"/>
          </a:p>
        </p:txBody>
      </p:sp>
      <p:sp>
        <p:nvSpPr>
          <p:cNvPr id="6" name="Slide Number Placeholder 5"/>
          <p:cNvSpPr>
            <a:spLocks noGrp="1"/>
          </p:cNvSpPr>
          <p:nvPr>
            <p:ph type="sldNum" sz="quarter" idx="12"/>
          </p:nvPr>
        </p:nvSpPr>
        <p:spPr/>
        <p:txBody>
          <a:bodyPr/>
          <a:lstStyle/>
          <a:p>
            <a:fld id="{96E4091F-EC69-4E40-9D9D-52129A5C3CF4}" type="slidenum">
              <a:rPr lang="ko-KR" altLang="en-US" smtClean="0"/>
              <a:t>‹#›</a:t>
            </a:fld>
            <a:endParaRPr lang="ko-KR" altLang="en-US"/>
          </a:p>
        </p:txBody>
      </p:sp>
    </p:spTree>
    <p:extLst>
      <p:ext uri="{BB962C8B-B14F-4D97-AF65-F5344CB8AC3E}">
        <p14:creationId xmlns:p14="http://schemas.microsoft.com/office/powerpoint/2010/main" val="1095579000"/>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ltLang="ko-KR"/>
              <a:t>Click to edit Master title style</a:t>
            </a:r>
            <a:endParaRPr lang="ko-KR" alt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ltLang="ko-KR"/>
              <a:t>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ko-KR" altLang="en-US"/>
          </a:p>
        </p:txBody>
      </p:sp>
      <p:sp>
        <p:nvSpPr>
          <p:cNvPr id="4" name="Date Placeholder 3"/>
          <p:cNvSpPr>
            <a:spLocks noGrp="1"/>
          </p:cNvSpPr>
          <p:nvPr>
            <p:ph type="dt" sz="half" idx="10"/>
          </p:nvPr>
        </p:nvSpPr>
        <p:spPr/>
        <p:txBody>
          <a:bodyPr/>
          <a:lstStyle/>
          <a:p>
            <a:fld id="{8DC95F81-F393-48E0-8BA5-6FFB924FDFF2}" type="datetimeFigureOut">
              <a:rPr lang="ko-KR" altLang="en-US" smtClean="0"/>
              <a:t>2016-09-20</a:t>
            </a:fld>
            <a:endParaRPr lang="ko-KR" altLang="en-US"/>
          </a:p>
        </p:txBody>
      </p:sp>
      <p:sp>
        <p:nvSpPr>
          <p:cNvPr id="5" name="Footer Placeholder 4"/>
          <p:cNvSpPr>
            <a:spLocks noGrp="1"/>
          </p:cNvSpPr>
          <p:nvPr>
            <p:ph type="ftr" sz="quarter" idx="11"/>
          </p:nvPr>
        </p:nvSpPr>
        <p:spPr/>
        <p:txBody>
          <a:bodyPr/>
          <a:lstStyle/>
          <a:p>
            <a:endParaRPr lang="ko-KR" altLang="en-US"/>
          </a:p>
        </p:txBody>
      </p:sp>
      <p:sp>
        <p:nvSpPr>
          <p:cNvPr id="6" name="Slide Number Placeholder 5"/>
          <p:cNvSpPr>
            <a:spLocks noGrp="1"/>
          </p:cNvSpPr>
          <p:nvPr>
            <p:ph type="sldNum" sz="quarter" idx="12"/>
          </p:nvPr>
        </p:nvSpPr>
        <p:spPr/>
        <p:txBody>
          <a:bodyPr/>
          <a:lstStyle/>
          <a:p>
            <a:fld id="{96E4091F-EC69-4E40-9D9D-52129A5C3CF4}" type="slidenum">
              <a:rPr lang="ko-KR" altLang="en-US" smtClean="0"/>
              <a:t>‹#›</a:t>
            </a:fld>
            <a:endParaRPr lang="ko-KR" altLang="en-US"/>
          </a:p>
        </p:txBody>
      </p:sp>
    </p:spTree>
    <p:extLst>
      <p:ext uri="{BB962C8B-B14F-4D97-AF65-F5344CB8AC3E}">
        <p14:creationId xmlns:p14="http://schemas.microsoft.com/office/powerpoint/2010/main" val="4184217604"/>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Consumer Walk-in 1">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1" y="2240757"/>
            <a:ext cx="12191377" cy="4617243"/>
          </a:xfrm>
          <a:prstGeom prst="rect">
            <a:avLst/>
          </a:prstGeom>
        </p:spPr>
      </p:pic>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2241380"/>
          </a:xfrm>
          <a:prstGeom prst="rect">
            <a:avLst/>
          </a:prstGeom>
        </p:spPr>
      </p:pic>
      <p:pic>
        <p:nvPicPr>
          <p:cNvPr id="10" name="Picture 9"/>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062089" y="712004"/>
            <a:ext cx="5307617" cy="1129164"/>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 name="Picture 1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488092" y="477196"/>
            <a:ext cx="1254995" cy="267546"/>
          </a:xfrm>
          <a:prstGeom prst="rect">
            <a:avLst/>
          </a:prstGeom>
        </p:spPr>
      </p:pic>
    </p:spTree>
    <p:extLst>
      <p:ext uri="{BB962C8B-B14F-4D97-AF65-F5344CB8AC3E}">
        <p14:creationId xmlns:p14="http://schemas.microsoft.com/office/powerpoint/2010/main" val="2015614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itle Slide">
    <p:bg bwMode="black">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white">
          <a:xfrm>
            <a:off x="269239" y="2084186"/>
            <a:ext cx="10757098"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white">
          <a:xfrm>
            <a:off x="269219" y="3878573"/>
            <a:ext cx="10757173"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88092" y="6122170"/>
            <a:ext cx="1254995" cy="267546"/>
          </a:xfrm>
          <a:prstGeom prst="rect">
            <a:avLst/>
          </a:prstGeom>
        </p:spPr>
      </p:pic>
      <p:sp>
        <p:nvSpPr>
          <p:cNvPr id="6" name="Text Placeholder 3"/>
          <p:cNvSpPr>
            <a:spLocks noGrp="1"/>
          </p:cNvSpPr>
          <p:nvPr>
            <p:ph type="body" sz="quarter" idx="13" hasCustomPrompt="1"/>
          </p:nvPr>
        </p:nvSpPr>
        <p:spPr>
          <a:xfrm>
            <a:off x="269239" y="291069"/>
            <a:ext cx="3585699" cy="672414"/>
          </a:xfrm>
        </p:spPr>
        <p:txBody>
          <a:bodyPr lIns="182880" tIns="146304" rIns="182880" bIns="146304">
            <a:noAutofit/>
          </a:bodyPr>
          <a:lstStyle>
            <a:lvl1pPr marL="0" indent="0">
              <a:buNone/>
              <a:defRPr sz="1961">
                <a:latin typeface="+mn-lt"/>
              </a:defRPr>
            </a:lvl1pPr>
            <a:lvl2pPr marL="336145" indent="0">
              <a:buNone/>
              <a:defRPr sz="2353">
                <a:latin typeface="+mn-lt"/>
              </a:defRPr>
            </a:lvl2pPr>
            <a:lvl3pPr marL="560241" indent="0">
              <a:buNone/>
              <a:defRPr sz="2353">
                <a:latin typeface="+mn-lt"/>
              </a:defRPr>
            </a:lvl3pPr>
            <a:lvl4pPr marL="784338" indent="0">
              <a:buNone/>
              <a:defRPr sz="2353">
                <a:latin typeface="+mn-lt"/>
              </a:defRPr>
            </a:lvl4pPr>
            <a:lvl5pPr marL="1008435" indent="0">
              <a:buNone/>
              <a:defRPr sz="2353">
                <a:latin typeface="+mn-lt"/>
              </a:defRPr>
            </a:lvl5pPr>
          </a:lstStyle>
          <a:p>
            <a:pPr lvl="0"/>
            <a:r>
              <a:rPr lang="en-US" dirty="0"/>
              <a:t>Session Code</a:t>
            </a:r>
          </a:p>
        </p:txBody>
      </p:sp>
    </p:spTree>
    <p:extLst>
      <p:ext uri="{BB962C8B-B14F-4D97-AF65-F5344CB8AC3E}">
        <p14:creationId xmlns:p14="http://schemas.microsoft.com/office/powerpoint/2010/main" val="42799841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92026"/>
      </p:ext>
    </p:extLst>
  </p:cSld>
  <p:clrMapOvr>
    <a:masterClrMapping/>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2676561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94161">
                      <a:schemeClr val="bg1"/>
                    </a:gs>
                    <a:gs pos="0">
                      <a:schemeClr val="bg1"/>
                    </a:gs>
                  </a:gsLst>
                  <a:lin ang="5400000" scaled="0"/>
                </a:gradFill>
              </a:defRPr>
            </a:lvl1pPr>
          </a:lstStyle>
          <a:p>
            <a:r>
              <a:rPr lang="en-US" dirty="0"/>
              <a:t>Video title</a:t>
            </a:r>
          </a:p>
        </p:txBody>
      </p:sp>
    </p:spTree>
    <p:extLst>
      <p:ext uri="{BB962C8B-B14F-4D97-AF65-F5344CB8AC3E}">
        <p14:creationId xmlns:p14="http://schemas.microsoft.com/office/powerpoint/2010/main" val="4427222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Windows Azure Layou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8084" y="223511"/>
            <a:ext cx="5046120" cy="908431"/>
          </a:xfrm>
          <a:prstGeom prst="rect">
            <a:avLst/>
          </a:prstGeom>
        </p:spPr>
      </p:pic>
    </p:spTree>
    <p:extLst>
      <p:ext uri="{BB962C8B-B14F-4D97-AF65-F5344CB8AC3E}">
        <p14:creationId xmlns:p14="http://schemas.microsoft.com/office/powerpoint/2010/main" val="1431689169"/>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7480752"/>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33222707"/>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43563407"/>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5089447"/>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9129050"/>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98986575"/>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3974484"/>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5" y="1187621"/>
            <a:ext cx="9860672"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165665" y="3878541"/>
            <a:ext cx="9860672"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138514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3" y="2084173"/>
            <a:ext cx="9860674" cy="1158793"/>
          </a:xfrm>
          <a:noFill/>
        </p:spPr>
        <p:txBody>
          <a:bodyPr wrap="square"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292911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5922105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email">
            <a:extLst>
              <a:ext uri="{28A0092B-C50C-407E-A947-70E740481C1C}">
                <a14:useLocalDpi xmlns:a14="http://schemas.microsoft.com/office/drawing/2010/main"/>
              </a:ext>
            </a:extLst>
          </a:blip>
          <a:srcRect t="7813" b="7813"/>
          <a:stretch/>
        </p:blipFill>
        <p:spPr bwMode="ltGray">
          <a:xfrm>
            <a:off x="0" y="1"/>
            <a:ext cx="12192000" cy="6858973"/>
          </a:xfrm>
          <a:prstGeom prst="rect">
            <a:avLst/>
          </a:prstGeom>
        </p:spPr>
      </p:pic>
      <p:sp>
        <p:nvSpPr>
          <p:cNvPr id="2" name="Rectangle 1"/>
          <p:cNvSpPr/>
          <p:nvPr userDrawn="1"/>
        </p:nvSpPr>
        <p:spPr bwMode="auto">
          <a:xfrm>
            <a:off x="266063" y="2084186"/>
            <a:ext cx="6278150" cy="3586194"/>
          </a:xfrm>
          <a:prstGeom prst="rect">
            <a:avLst/>
          </a:prstGeom>
          <a:solidFill>
            <a:schemeClr val="accent1">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3"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2"/>
            <a:ext cx="6276530" cy="1789991"/>
          </a:xfrm>
        </p:spPr>
        <p:txBody>
          <a:bodyPr tIns="109728" bIns="109728">
            <a:noAutofit/>
          </a:bodyPr>
          <a:lstStyle>
            <a:lvl1pPr marL="0" indent="0">
              <a:spcBef>
                <a:spcPts val="0"/>
              </a:spcBef>
              <a:buNone/>
              <a:defRPr sz="3136">
                <a:gradFill>
                  <a:gsLst>
                    <a:gs pos="76768">
                      <a:srgbClr val="FFFFFF"/>
                    </a:gs>
                    <a:gs pos="53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213" y="6041824"/>
            <a:ext cx="1613876" cy="345764"/>
          </a:xfrm>
          <a:prstGeom prst="rect">
            <a:avLst/>
          </a:prstGeom>
        </p:spPr>
      </p:pic>
    </p:spTree>
    <p:extLst>
      <p:ext uri="{BB962C8B-B14F-4D97-AF65-F5344CB8AC3E}">
        <p14:creationId xmlns:p14="http://schemas.microsoft.com/office/powerpoint/2010/main" val="60449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564105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283185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838376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817573577"/>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4028305"/>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7553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30351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86121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63159904"/>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3"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5 Microsoft Corporation. All rights reserved. </a:t>
            </a:r>
          </a:p>
        </p:txBody>
      </p:sp>
    </p:spTree>
    <p:extLst>
      <p:ext uri="{BB962C8B-B14F-4D97-AF65-F5344CB8AC3E}">
        <p14:creationId xmlns:p14="http://schemas.microsoft.com/office/powerpoint/2010/main" val="337493809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dirty="0"/>
              <a:t>Presentation titl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85" y="476319"/>
            <a:ext cx="1792850" cy="384107"/>
          </a:xfrm>
          <a:prstGeom prst="rect">
            <a:avLst/>
          </a:prstGeom>
        </p:spPr>
      </p:pic>
    </p:spTree>
    <p:extLst>
      <p:ext uri="{BB962C8B-B14F-4D97-AF65-F5344CB8AC3E}">
        <p14:creationId xmlns:p14="http://schemas.microsoft.com/office/powerpoint/2010/main" val="4153927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0551580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type="titleOnly">
  <p:cSld name="20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443074133"/>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48212" y="470069"/>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rgbClr val="FFFFFF"/>
                    </a:gs>
                    <a:gs pos="43000">
                      <a:srgbClr val="FFFFFF"/>
                    </a:gs>
                  </a:gsLst>
                  <a:lin ang="5400000" scaled="1"/>
                </a:gradFill>
                <a:effectLst/>
                <a:uLnTx/>
                <a:uFillTx/>
                <a:latin typeface="Segoe UI"/>
                <a:ea typeface="Segoe UI" pitchFamily="34" charset="0"/>
                <a:cs typeface="Segoe UI" pitchFamily="34" charset="0"/>
              </a:rPr>
              <a:t>Product logo</a:t>
            </a:r>
          </a:p>
        </p:txBody>
      </p:sp>
      <p:sp>
        <p:nvSpPr>
          <p:cNvPr id="10" name="Rectangle 9"/>
          <p:cNvSpPr/>
          <p:nvPr userDrawn="1"/>
        </p:nvSpPr>
        <p:spPr bwMode="auto">
          <a:xfrm>
            <a:off x="448212" y="863773"/>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371" b="0" i="0" u="none" strike="noStrike" kern="1200" cap="none" spc="0" normalizeH="0" baseline="0" noProof="0" dirty="0">
                <a:ln>
                  <a:noFill/>
                </a:ln>
                <a:gradFill>
                  <a:gsLst>
                    <a:gs pos="51515">
                      <a:srgbClr val="FFFFFF"/>
                    </a:gs>
                    <a:gs pos="43000">
                      <a:srgbClr val="FFFFFF"/>
                    </a:gs>
                  </a:gsLst>
                  <a:lin ang="5400000" scaled="1"/>
                </a:gradFill>
                <a:effectLst/>
                <a:uLnTx/>
                <a:uFillTx/>
                <a:latin typeface="Segoe UI"/>
                <a:ea typeface="Segoe UI" pitchFamily="34" charset="0"/>
                <a:cs typeface="Segoe UI" pitchFamily="34" charset="0"/>
              </a:rPr>
              <a:t>Update on slide master</a:t>
            </a:r>
          </a:p>
        </p:txBody>
      </p:sp>
    </p:spTree>
    <p:extLst>
      <p:ext uri="{BB962C8B-B14F-4D97-AF65-F5344CB8AC3E}">
        <p14:creationId xmlns:p14="http://schemas.microsoft.com/office/powerpoint/2010/main" val="21863417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7"/>
            <a:ext cx="11653523" cy="1858018"/>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135797"/>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69240" y="1189178"/>
            <a:ext cx="11653523" cy="1890133"/>
          </a:xfrm>
        </p:spPr>
        <p:txBody>
          <a:bodyPr/>
          <a:lstStyle>
            <a:lvl1pPr marL="0" indent="0">
              <a:buNone/>
              <a:defRPr sz="3600">
                <a:solidFill>
                  <a:schemeClr val="bg1"/>
                </a:solidFill>
              </a:defRPr>
            </a:lvl1pPr>
            <a:lvl2pPr marL="0" indent="0">
              <a:buFontTx/>
              <a:buNone/>
              <a:defRPr sz="1800">
                <a:solidFill>
                  <a:schemeClr val="bg1"/>
                </a:solidFill>
              </a:defRPr>
            </a:lvl2pPr>
            <a:lvl3pPr marL="224054" indent="0">
              <a:buNone/>
              <a:defRPr sz="1800">
                <a:solidFill>
                  <a:schemeClr val="bg1"/>
                </a:solidFill>
              </a:defRPr>
            </a:lvl3pPr>
            <a:lvl4pPr marL="448107" indent="0">
              <a:buNone/>
              <a:defRPr sz="1600">
                <a:solidFill>
                  <a:schemeClr val="bg1"/>
                </a:solidFill>
              </a:defRPr>
            </a:lvl4pPr>
            <a:lvl5pPr marL="672161" indent="0">
              <a:buNone/>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2166351"/>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664997683"/>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854686"/>
          </a:xfrm>
        </p:spPr>
        <p:txBody>
          <a:bodyPr>
            <a:spAutoFit/>
          </a:bodyPr>
          <a:lstStyle>
            <a:lvl1pPr>
              <a:defRPr sz="352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311355879"/>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96272960"/>
      </p:ext>
    </p:extLst>
  </p:cSld>
  <p:clrMapOvr>
    <a:masterClrMapping/>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4493039"/>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63847763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27363345"/>
      </p:ext>
    </p:extLst>
  </p:cSld>
  <p:clrMapOvr>
    <a:masterClrMapping/>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69241" y="964751"/>
            <a:ext cx="11655840" cy="683264"/>
          </a:xfrm>
        </p:spPr>
        <p:txBody>
          <a:bodyPr/>
          <a:lstStyle>
            <a:lvl1pPr marL="0" indent="0" algn="l" defTabSz="914192" rtl="0" eaLnBrk="1" latinLnBrk="0" hangingPunct="1">
              <a:lnSpc>
                <a:spcPct val="90000"/>
              </a:lnSpc>
              <a:spcBef>
                <a:spcPct val="0"/>
              </a:spcBef>
              <a:buNone/>
              <a:defRPr kumimoji="0" lang="en-US" sz="3600"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1053731535"/>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69241" y="1625151"/>
            <a:ext cx="11655840" cy="683264"/>
          </a:xfrm>
        </p:spPr>
        <p:txBody>
          <a:bodyPr/>
          <a:lstStyle>
            <a:lvl1pPr marL="0" indent="0" algn="l" defTabSz="914192" rtl="0" eaLnBrk="1" latinLnBrk="0" hangingPunct="1">
              <a:lnSpc>
                <a:spcPct val="90000"/>
              </a:lnSpc>
              <a:spcBef>
                <a:spcPct val="0"/>
              </a:spcBef>
              <a:buNone/>
              <a:defRPr kumimoji="0" lang="en-US" sz="3600"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3759947922"/>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4" cy="778565"/>
          </a:xfrm>
          <a:noFill/>
        </p:spPr>
        <p:txBody>
          <a:bodyPr lIns="182880" tIns="146304" rIns="182880" bIns="146304">
            <a:sp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4968795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9821598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28562764"/>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33993622"/>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94435917"/>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05366743"/>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1045969"/>
      </p:ext>
    </p:extLst>
  </p:cSld>
  <p:clrMapOvr>
    <a:masterClrMapping/>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1667059"/>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26112514"/>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4150575"/>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813947"/>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74875205"/>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5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111741081"/>
      </p:ext>
    </p:extLst>
  </p:cSld>
  <p:clrMapOvr>
    <a:masterClrMapping/>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65009941"/>
      </p:ext>
    </p:extLst>
  </p:cSld>
  <p:clrMapOvr>
    <a:masterClrMapping/>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6" name="Rectangle 35"/>
          <p:cNvSpPr/>
          <p:nvPr userDrawn="1"/>
        </p:nvSpPr>
        <p:spPr bwMode="auto">
          <a:xfrm>
            <a:off x="0" y="6325187"/>
            <a:ext cx="12192000" cy="532814"/>
          </a:xfrm>
          <a:prstGeom prst="rect">
            <a:avLst/>
          </a:prstGeom>
          <a:solidFill>
            <a:srgbClr val="409AE1"/>
          </a:solidFill>
          <a:ln w="28575">
            <a:noFill/>
          </a:ln>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333333"/>
              </a:solidFill>
              <a:effectLst/>
              <a:uLnTx/>
              <a:uFillTx/>
              <a:latin typeface="Segoe UI"/>
              <a:ea typeface="+mn-ea"/>
              <a:cs typeface="+mn-cs"/>
            </a:endParaRPr>
          </a:p>
        </p:txBody>
      </p:sp>
      <p:sp>
        <p:nvSpPr>
          <p:cNvPr id="6" name="Freeform 539"/>
          <p:cNvSpPr>
            <a:spLocks noChangeAspect="1"/>
          </p:cNvSpPr>
          <p:nvPr userDrawn="1"/>
        </p:nvSpPr>
        <p:spPr bwMode="auto">
          <a:xfrm>
            <a:off x="9303796" y="5959092"/>
            <a:ext cx="1968055" cy="108201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333333"/>
              </a:solidFill>
              <a:effectLst/>
              <a:uLnTx/>
              <a:uFillTx/>
              <a:latin typeface="Segoe UI"/>
              <a:ea typeface="+mn-ea"/>
              <a:cs typeface="+mn-cs"/>
            </a:endParaRPr>
          </a:p>
        </p:txBody>
      </p:sp>
      <p:grpSp>
        <p:nvGrpSpPr>
          <p:cNvPr id="9" name="Group 8"/>
          <p:cNvGrpSpPr/>
          <p:nvPr userDrawn="1"/>
        </p:nvGrpSpPr>
        <p:grpSpPr>
          <a:xfrm>
            <a:off x="9338575" y="6216162"/>
            <a:ext cx="1824626" cy="773723"/>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686558" y="3784724"/>
            <a:ext cx="182438" cy="5555552"/>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9" name="Bent Arrow 28"/>
          <p:cNvSpPr/>
          <p:nvPr userDrawn="1"/>
        </p:nvSpPr>
        <p:spPr bwMode="auto">
          <a:xfrm>
            <a:off x="5686283" y="6687742"/>
            <a:ext cx="3820134" cy="163512"/>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Bent Arrow 39"/>
          <p:cNvSpPr/>
          <p:nvPr userDrawn="1"/>
        </p:nvSpPr>
        <p:spPr bwMode="auto">
          <a:xfrm rot="10800000" flipH="1">
            <a:off x="2049681" y="5710544"/>
            <a:ext cx="7843864" cy="757825"/>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Bent Arrow 43"/>
          <p:cNvSpPr/>
          <p:nvPr userDrawn="1"/>
        </p:nvSpPr>
        <p:spPr bwMode="auto">
          <a:xfrm rot="10800000">
            <a:off x="11224378" y="6302645"/>
            <a:ext cx="709317" cy="266055"/>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Rectangle 42"/>
          <p:cNvSpPr/>
          <p:nvPr userDrawn="1"/>
        </p:nvSpPr>
        <p:spPr bwMode="auto">
          <a:xfrm>
            <a:off x="0" y="5375935"/>
            <a:ext cx="12192000" cy="95735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5" name="Bent Arrow 44"/>
          <p:cNvSpPr/>
          <p:nvPr userDrawn="1"/>
        </p:nvSpPr>
        <p:spPr bwMode="auto">
          <a:xfrm rot="16200000">
            <a:off x="11536785" y="6610171"/>
            <a:ext cx="325590" cy="266055"/>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Freeform 15"/>
          <p:cNvSpPr>
            <a:spLocks noEditPoints="1"/>
          </p:cNvSpPr>
          <p:nvPr userDrawn="1"/>
        </p:nvSpPr>
        <p:spPr bwMode="auto">
          <a:xfrm>
            <a:off x="4389232" y="6600371"/>
            <a:ext cx="121561" cy="12156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7" name="Freeform 18"/>
          <p:cNvSpPr>
            <a:spLocks/>
          </p:cNvSpPr>
          <p:nvPr userDrawn="1"/>
        </p:nvSpPr>
        <p:spPr bwMode="auto">
          <a:xfrm>
            <a:off x="4431637" y="6462555"/>
            <a:ext cx="37458" cy="124388"/>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9" name="Rectangle 48"/>
          <p:cNvSpPr/>
          <p:nvPr userDrawn="1"/>
        </p:nvSpPr>
        <p:spPr bwMode="auto">
          <a:xfrm>
            <a:off x="-217599" y="6858000"/>
            <a:ext cx="125330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2" name="Rectangle 51"/>
          <p:cNvSpPr/>
          <p:nvPr userDrawn="1"/>
        </p:nvSpPr>
        <p:spPr bwMode="auto">
          <a:xfrm>
            <a:off x="-391886" y="6074230"/>
            <a:ext cx="3918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3" name="Rectangle 52"/>
          <p:cNvSpPr/>
          <p:nvPr userDrawn="1"/>
        </p:nvSpPr>
        <p:spPr bwMode="auto">
          <a:xfrm>
            <a:off x="0" y="6344998"/>
            <a:ext cx="12192000" cy="513003"/>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41" name="Picture 40"/>
          <p:cNvPicPr>
            <a:picLocks noChangeAspect="1"/>
          </p:cNvPicPr>
          <p:nvPr userDrawn="1"/>
        </p:nvPicPr>
        <p:blipFill>
          <a:blip r:embed="rId2" cstate="email">
            <a:biLevel thresh="25000"/>
            <a:extLst>
              <a:ext uri="{28A0092B-C50C-407E-A947-70E740481C1C}">
                <a14:useLocalDpi xmlns:a14="http://schemas.microsoft.com/office/drawing/2010/main"/>
              </a:ext>
            </a:extLst>
          </a:blip>
          <a:stretch>
            <a:fillRect/>
          </a:stretch>
        </p:blipFill>
        <p:spPr>
          <a:xfrm>
            <a:off x="171511" y="6491045"/>
            <a:ext cx="936609" cy="206372"/>
          </a:xfrm>
          <a:prstGeom prst="rect">
            <a:avLst/>
          </a:prstGeom>
        </p:spPr>
      </p:pic>
    </p:spTree>
    <p:extLst>
      <p:ext uri="{BB962C8B-B14F-4D97-AF65-F5344CB8AC3E}">
        <p14:creationId xmlns:p14="http://schemas.microsoft.com/office/powerpoint/2010/main" val="1984596763"/>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type="title" preserve="1">
  <p:cSld name="제목 슬라이드">
    <p:spTree>
      <p:nvGrpSpPr>
        <p:cNvPr id="1" name=""/>
        <p:cNvGrpSpPr/>
        <p:nvPr/>
      </p:nvGrpSpPr>
      <p:grpSpPr>
        <a:xfrm>
          <a:off x="0" y="0"/>
          <a:ext cx="0" cy="0"/>
          <a:chOff x="0" y="0"/>
          <a:chExt cx="0" cy="0"/>
        </a:xfrm>
      </p:grpSpPr>
      <p:sp>
        <p:nvSpPr>
          <p:cNvPr id="2" name="제목 1"/>
          <p:cNvSpPr>
            <a:spLocks noGrp="1"/>
          </p:cNvSpPr>
          <p:nvPr>
            <p:ph type="ctrTitle"/>
          </p:nvPr>
        </p:nvSpPr>
        <p:spPr>
          <a:xfrm>
            <a:off x="1524000" y="1122363"/>
            <a:ext cx="9144000" cy="2387600"/>
          </a:xfrm>
        </p:spPr>
        <p:txBody>
          <a:bodyPr anchor="b"/>
          <a:lstStyle>
            <a:lvl1pPr algn="ctr">
              <a:defRPr sz="6000"/>
            </a:lvl1pPr>
          </a:lstStyle>
          <a:p>
            <a:r>
              <a:rPr kumimoji="1" lang="ko-KR" altLang="en-US"/>
              <a:t>마스터 제목 스타일 편집</a:t>
            </a:r>
          </a:p>
        </p:txBody>
      </p:sp>
      <p:sp>
        <p:nvSpPr>
          <p:cNvPr id="3" name="부제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ko-KR" altLang="en-US"/>
              <a:t>마스터 부제목 스타일 편집</a:t>
            </a:r>
          </a:p>
        </p:txBody>
      </p:sp>
      <p:sp>
        <p:nvSpPr>
          <p:cNvPr id="4" name="날짜 개체 틀 3"/>
          <p:cNvSpPr>
            <a:spLocks noGrp="1"/>
          </p:cNvSpPr>
          <p:nvPr>
            <p:ph type="dt" sz="half" idx="10"/>
          </p:nvPr>
        </p:nvSpPr>
        <p:spPr/>
        <p:txBody>
          <a:bodyPr/>
          <a:lstStyle/>
          <a:p>
            <a:fld id="{0011A2FE-F1D0-6942-97E6-46C86443E281}" type="datetimeFigureOut">
              <a:rPr kumimoji="1" lang="ko-KR" altLang="en-US" smtClean="0"/>
              <a:t>2016-09-20</a:t>
            </a:fld>
            <a:endParaRPr kumimoji="1" lang="ko-KR" altLang="en-US"/>
          </a:p>
        </p:txBody>
      </p:sp>
      <p:sp>
        <p:nvSpPr>
          <p:cNvPr id="5" name="바닥글 개체 틀 4"/>
          <p:cNvSpPr>
            <a:spLocks noGrp="1"/>
          </p:cNvSpPr>
          <p:nvPr>
            <p:ph type="ftr" sz="quarter" idx="11"/>
          </p:nvPr>
        </p:nvSpPr>
        <p:spPr/>
        <p:txBody>
          <a:bodyPr/>
          <a:lstStyle/>
          <a:p>
            <a:endParaRPr kumimoji="1" lang="ko-KR" altLang="en-US"/>
          </a:p>
        </p:txBody>
      </p:sp>
      <p:sp>
        <p:nvSpPr>
          <p:cNvPr id="6" name="슬라이드 번호 개체 틀 5"/>
          <p:cNvSpPr>
            <a:spLocks noGrp="1"/>
          </p:cNvSpPr>
          <p:nvPr>
            <p:ph type="sldNum" sz="quarter" idx="12"/>
          </p:nvPr>
        </p:nvSpPr>
        <p:spPr/>
        <p:txBody>
          <a:bodyPr/>
          <a:lstStyle/>
          <a:p>
            <a:fld id="{0BF28E89-B2A0-F14C-9AC6-A65A6CDAC602}" type="slidenum">
              <a:rPr kumimoji="1" lang="ko-KR" altLang="en-US" smtClean="0"/>
              <a:t>‹#›</a:t>
            </a:fld>
            <a:endParaRPr kumimoji="1" lang="ko-KR" altLang="en-US"/>
          </a:p>
        </p:txBody>
      </p:sp>
    </p:spTree>
    <p:extLst>
      <p:ext uri="{BB962C8B-B14F-4D97-AF65-F5344CB8AC3E}">
        <p14:creationId xmlns:p14="http://schemas.microsoft.com/office/powerpoint/2010/main" val="1312474433"/>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type="obj" preserve="1">
  <p:cSld name="제목 및 내용">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kumimoji="1" lang="ko-KR" altLang="en-US"/>
              <a:t>마스터 제목 스타일 편집</a:t>
            </a:r>
          </a:p>
        </p:txBody>
      </p:sp>
      <p:sp>
        <p:nvSpPr>
          <p:cNvPr id="3" name="내용 개체 틀 2"/>
          <p:cNvSpPr>
            <a:spLocks noGrp="1"/>
          </p:cNvSpPr>
          <p:nvPr>
            <p:ph idx="1"/>
          </p:nvPr>
        </p:nvSpPr>
        <p:spPr/>
        <p:txBody>
          <a:bodyPr/>
          <a:lstStyle/>
          <a:p>
            <a:pPr lvl="0"/>
            <a:r>
              <a:rPr kumimoji="1" lang="ko-KR" altLang="en-US"/>
              <a:t>마스터 텍스트 스타일을 편집하려면 클릭</a:t>
            </a:r>
          </a:p>
          <a:p>
            <a:pPr lvl="1"/>
            <a:r>
              <a:rPr kumimoji="1" lang="ko-KR" altLang="en-US"/>
              <a:t>두 번째 수준</a:t>
            </a:r>
          </a:p>
          <a:p>
            <a:pPr lvl="2"/>
            <a:r>
              <a:rPr kumimoji="1" lang="ko-KR" altLang="en-US"/>
              <a:t>세 번째 수준</a:t>
            </a:r>
          </a:p>
          <a:p>
            <a:pPr lvl="3"/>
            <a:r>
              <a:rPr kumimoji="1" lang="ko-KR" altLang="en-US"/>
              <a:t>네 번째 수준</a:t>
            </a:r>
          </a:p>
          <a:p>
            <a:pPr lvl="4"/>
            <a:r>
              <a:rPr kumimoji="1" lang="ko-KR" altLang="en-US"/>
              <a:t>다섯 번째 수준</a:t>
            </a:r>
          </a:p>
        </p:txBody>
      </p:sp>
      <p:sp>
        <p:nvSpPr>
          <p:cNvPr id="4" name="날짜 개체 틀 3"/>
          <p:cNvSpPr>
            <a:spLocks noGrp="1"/>
          </p:cNvSpPr>
          <p:nvPr>
            <p:ph type="dt" sz="half" idx="10"/>
          </p:nvPr>
        </p:nvSpPr>
        <p:spPr/>
        <p:txBody>
          <a:bodyPr/>
          <a:lstStyle/>
          <a:p>
            <a:fld id="{0011A2FE-F1D0-6942-97E6-46C86443E281}" type="datetimeFigureOut">
              <a:rPr kumimoji="1" lang="ko-KR" altLang="en-US" smtClean="0"/>
              <a:t>2016-09-20</a:t>
            </a:fld>
            <a:endParaRPr kumimoji="1" lang="ko-KR" altLang="en-US"/>
          </a:p>
        </p:txBody>
      </p:sp>
      <p:sp>
        <p:nvSpPr>
          <p:cNvPr id="5" name="바닥글 개체 틀 4"/>
          <p:cNvSpPr>
            <a:spLocks noGrp="1"/>
          </p:cNvSpPr>
          <p:nvPr>
            <p:ph type="ftr" sz="quarter" idx="11"/>
          </p:nvPr>
        </p:nvSpPr>
        <p:spPr/>
        <p:txBody>
          <a:bodyPr/>
          <a:lstStyle/>
          <a:p>
            <a:endParaRPr kumimoji="1" lang="ko-KR" altLang="en-US"/>
          </a:p>
        </p:txBody>
      </p:sp>
      <p:sp>
        <p:nvSpPr>
          <p:cNvPr id="6" name="슬라이드 번호 개체 틀 5"/>
          <p:cNvSpPr>
            <a:spLocks noGrp="1"/>
          </p:cNvSpPr>
          <p:nvPr>
            <p:ph type="sldNum" sz="quarter" idx="12"/>
          </p:nvPr>
        </p:nvSpPr>
        <p:spPr/>
        <p:txBody>
          <a:bodyPr/>
          <a:lstStyle/>
          <a:p>
            <a:fld id="{0BF28E89-B2A0-F14C-9AC6-A65A6CDAC602}" type="slidenum">
              <a:rPr kumimoji="1" lang="ko-KR" altLang="en-US" smtClean="0"/>
              <a:t>‹#›</a:t>
            </a:fld>
            <a:endParaRPr kumimoji="1" lang="ko-KR" altLang="en-US"/>
          </a:p>
        </p:txBody>
      </p:sp>
    </p:spTree>
    <p:extLst>
      <p:ext uri="{BB962C8B-B14F-4D97-AF65-F5344CB8AC3E}">
        <p14:creationId xmlns:p14="http://schemas.microsoft.com/office/powerpoint/2010/main" val="1512269082"/>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type="secHead" preserve="1">
  <p:cSld name="구역 머리글">
    <p:spTree>
      <p:nvGrpSpPr>
        <p:cNvPr id="1" name=""/>
        <p:cNvGrpSpPr/>
        <p:nvPr/>
      </p:nvGrpSpPr>
      <p:grpSpPr>
        <a:xfrm>
          <a:off x="0" y="0"/>
          <a:ext cx="0" cy="0"/>
          <a:chOff x="0" y="0"/>
          <a:chExt cx="0" cy="0"/>
        </a:xfrm>
      </p:grpSpPr>
      <p:sp>
        <p:nvSpPr>
          <p:cNvPr id="2" name="제목 1"/>
          <p:cNvSpPr>
            <a:spLocks noGrp="1"/>
          </p:cNvSpPr>
          <p:nvPr>
            <p:ph type="title"/>
          </p:nvPr>
        </p:nvSpPr>
        <p:spPr>
          <a:xfrm>
            <a:off x="831850" y="1709738"/>
            <a:ext cx="10515600" cy="2852737"/>
          </a:xfrm>
        </p:spPr>
        <p:txBody>
          <a:bodyPr anchor="b"/>
          <a:lstStyle>
            <a:lvl1pPr>
              <a:defRPr sz="6000"/>
            </a:lvl1pPr>
          </a:lstStyle>
          <a:p>
            <a:r>
              <a:rPr kumimoji="1" lang="ko-KR" altLang="en-US"/>
              <a:t>마스터 제목 스타일 편집</a:t>
            </a:r>
          </a:p>
        </p:txBody>
      </p:sp>
      <p:sp>
        <p:nvSpPr>
          <p:cNvPr id="3" name="텍스트 개체 틀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ko-KR" altLang="en-US"/>
              <a:t>마스터 텍스트 스타일을 편집하려면 클릭</a:t>
            </a:r>
          </a:p>
        </p:txBody>
      </p:sp>
      <p:sp>
        <p:nvSpPr>
          <p:cNvPr id="4" name="날짜 개체 틀 3"/>
          <p:cNvSpPr>
            <a:spLocks noGrp="1"/>
          </p:cNvSpPr>
          <p:nvPr>
            <p:ph type="dt" sz="half" idx="10"/>
          </p:nvPr>
        </p:nvSpPr>
        <p:spPr/>
        <p:txBody>
          <a:bodyPr/>
          <a:lstStyle/>
          <a:p>
            <a:fld id="{0011A2FE-F1D0-6942-97E6-46C86443E281}" type="datetimeFigureOut">
              <a:rPr kumimoji="1" lang="ko-KR" altLang="en-US" smtClean="0"/>
              <a:t>2016-09-20</a:t>
            </a:fld>
            <a:endParaRPr kumimoji="1" lang="ko-KR" altLang="en-US"/>
          </a:p>
        </p:txBody>
      </p:sp>
      <p:sp>
        <p:nvSpPr>
          <p:cNvPr id="5" name="바닥글 개체 틀 4"/>
          <p:cNvSpPr>
            <a:spLocks noGrp="1"/>
          </p:cNvSpPr>
          <p:nvPr>
            <p:ph type="ftr" sz="quarter" idx="11"/>
          </p:nvPr>
        </p:nvSpPr>
        <p:spPr/>
        <p:txBody>
          <a:bodyPr/>
          <a:lstStyle/>
          <a:p>
            <a:endParaRPr kumimoji="1" lang="ko-KR" altLang="en-US"/>
          </a:p>
        </p:txBody>
      </p:sp>
      <p:sp>
        <p:nvSpPr>
          <p:cNvPr id="6" name="슬라이드 번호 개체 틀 5"/>
          <p:cNvSpPr>
            <a:spLocks noGrp="1"/>
          </p:cNvSpPr>
          <p:nvPr>
            <p:ph type="sldNum" sz="quarter" idx="12"/>
          </p:nvPr>
        </p:nvSpPr>
        <p:spPr/>
        <p:txBody>
          <a:bodyPr/>
          <a:lstStyle/>
          <a:p>
            <a:fld id="{0BF28E89-B2A0-F14C-9AC6-A65A6CDAC602}" type="slidenum">
              <a:rPr kumimoji="1" lang="ko-KR" altLang="en-US" smtClean="0"/>
              <a:t>‹#›</a:t>
            </a:fld>
            <a:endParaRPr kumimoji="1" lang="ko-KR" altLang="en-US"/>
          </a:p>
        </p:txBody>
      </p:sp>
    </p:spTree>
    <p:extLst>
      <p:ext uri="{BB962C8B-B14F-4D97-AF65-F5344CB8AC3E}">
        <p14:creationId xmlns:p14="http://schemas.microsoft.com/office/powerpoint/2010/main" val="3904311756"/>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type="twoObj" preserve="1">
  <p:cSld name="콘텐츠 2개">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kumimoji="1" lang="ko-KR" altLang="en-US"/>
              <a:t>마스터 제목 스타일 편집</a:t>
            </a:r>
          </a:p>
        </p:txBody>
      </p:sp>
      <p:sp>
        <p:nvSpPr>
          <p:cNvPr id="3" name="내용 개체 틀 2"/>
          <p:cNvSpPr>
            <a:spLocks noGrp="1"/>
          </p:cNvSpPr>
          <p:nvPr>
            <p:ph sz="half" idx="1"/>
          </p:nvPr>
        </p:nvSpPr>
        <p:spPr>
          <a:xfrm>
            <a:off x="838200" y="1825625"/>
            <a:ext cx="5181600" cy="4351338"/>
          </a:xfrm>
        </p:spPr>
        <p:txBody>
          <a:bodyPr/>
          <a:lstStyle/>
          <a:p>
            <a:pPr lvl="0"/>
            <a:r>
              <a:rPr kumimoji="1" lang="ko-KR" altLang="en-US"/>
              <a:t>마스터 텍스트 스타일을 편집하려면 클릭</a:t>
            </a:r>
          </a:p>
          <a:p>
            <a:pPr lvl="1"/>
            <a:r>
              <a:rPr kumimoji="1" lang="ko-KR" altLang="en-US"/>
              <a:t>두 번째 수준</a:t>
            </a:r>
          </a:p>
          <a:p>
            <a:pPr lvl="2"/>
            <a:r>
              <a:rPr kumimoji="1" lang="ko-KR" altLang="en-US"/>
              <a:t>세 번째 수준</a:t>
            </a:r>
          </a:p>
          <a:p>
            <a:pPr lvl="3"/>
            <a:r>
              <a:rPr kumimoji="1" lang="ko-KR" altLang="en-US"/>
              <a:t>네 번째 수준</a:t>
            </a:r>
          </a:p>
          <a:p>
            <a:pPr lvl="4"/>
            <a:r>
              <a:rPr kumimoji="1" lang="ko-KR" altLang="en-US"/>
              <a:t>다섯 번째 수준</a:t>
            </a:r>
          </a:p>
        </p:txBody>
      </p:sp>
      <p:sp>
        <p:nvSpPr>
          <p:cNvPr id="4" name="내용 개체 틀 3"/>
          <p:cNvSpPr>
            <a:spLocks noGrp="1"/>
          </p:cNvSpPr>
          <p:nvPr>
            <p:ph sz="half" idx="2"/>
          </p:nvPr>
        </p:nvSpPr>
        <p:spPr>
          <a:xfrm>
            <a:off x="6172200" y="1825625"/>
            <a:ext cx="5181600" cy="4351338"/>
          </a:xfrm>
        </p:spPr>
        <p:txBody>
          <a:bodyPr/>
          <a:lstStyle/>
          <a:p>
            <a:pPr lvl="0"/>
            <a:r>
              <a:rPr kumimoji="1" lang="ko-KR" altLang="en-US"/>
              <a:t>마스터 텍스트 스타일을 편집하려면 클릭</a:t>
            </a:r>
          </a:p>
          <a:p>
            <a:pPr lvl="1"/>
            <a:r>
              <a:rPr kumimoji="1" lang="ko-KR" altLang="en-US"/>
              <a:t>두 번째 수준</a:t>
            </a:r>
          </a:p>
          <a:p>
            <a:pPr lvl="2"/>
            <a:r>
              <a:rPr kumimoji="1" lang="ko-KR" altLang="en-US"/>
              <a:t>세 번째 수준</a:t>
            </a:r>
          </a:p>
          <a:p>
            <a:pPr lvl="3"/>
            <a:r>
              <a:rPr kumimoji="1" lang="ko-KR" altLang="en-US"/>
              <a:t>네 번째 수준</a:t>
            </a:r>
          </a:p>
          <a:p>
            <a:pPr lvl="4"/>
            <a:r>
              <a:rPr kumimoji="1" lang="ko-KR" altLang="en-US"/>
              <a:t>다섯 번째 수준</a:t>
            </a:r>
          </a:p>
        </p:txBody>
      </p:sp>
      <p:sp>
        <p:nvSpPr>
          <p:cNvPr id="5" name="날짜 개체 틀 4"/>
          <p:cNvSpPr>
            <a:spLocks noGrp="1"/>
          </p:cNvSpPr>
          <p:nvPr>
            <p:ph type="dt" sz="half" idx="10"/>
          </p:nvPr>
        </p:nvSpPr>
        <p:spPr/>
        <p:txBody>
          <a:bodyPr/>
          <a:lstStyle/>
          <a:p>
            <a:fld id="{0011A2FE-F1D0-6942-97E6-46C86443E281}" type="datetimeFigureOut">
              <a:rPr kumimoji="1" lang="ko-KR" altLang="en-US" smtClean="0"/>
              <a:t>2016-09-20</a:t>
            </a:fld>
            <a:endParaRPr kumimoji="1" lang="ko-KR" altLang="en-US"/>
          </a:p>
        </p:txBody>
      </p:sp>
      <p:sp>
        <p:nvSpPr>
          <p:cNvPr id="6" name="바닥글 개체 틀 5"/>
          <p:cNvSpPr>
            <a:spLocks noGrp="1"/>
          </p:cNvSpPr>
          <p:nvPr>
            <p:ph type="ftr" sz="quarter" idx="11"/>
          </p:nvPr>
        </p:nvSpPr>
        <p:spPr/>
        <p:txBody>
          <a:bodyPr/>
          <a:lstStyle/>
          <a:p>
            <a:endParaRPr kumimoji="1" lang="ko-KR" altLang="en-US"/>
          </a:p>
        </p:txBody>
      </p:sp>
      <p:sp>
        <p:nvSpPr>
          <p:cNvPr id="7" name="슬라이드 번호 개체 틀 6"/>
          <p:cNvSpPr>
            <a:spLocks noGrp="1"/>
          </p:cNvSpPr>
          <p:nvPr>
            <p:ph type="sldNum" sz="quarter" idx="12"/>
          </p:nvPr>
        </p:nvSpPr>
        <p:spPr/>
        <p:txBody>
          <a:bodyPr/>
          <a:lstStyle/>
          <a:p>
            <a:fld id="{0BF28E89-B2A0-F14C-9AC6-A65A6CDAC602}" type="slidenum">
              <a:rPr kumimoji="1" lang="ko-KR" altLang="en-US" smtClean="0"/>
              <a:t>‹#›</a:t>
            </a:fld>
            <a:endParaRPr kumimoji="1" lang="ko-KR" altLang="en-US"/>
          </a:p>
        </p:txBody>
      </p:sp>
    </p:spTree>
    <p:extLst>
      <p:ext uri="{BB962C8B-B14F-4D97-AF65-F5344CB8AC3E}">
        <p14:creationId xmlns:p14="http://schemas.microsoft.com/office/powerpoint/2010/main" val="3813606094"/>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type="twoTxTwoObj" preserve="1">
  <p:cSld name="비교">
    <p:spTree>
      <p:nvGrpSpPr>
        <p:cNvPr id="1" name=""/>
        <p:cNvGrpSpPr/>
        <p:nvPr/>
      </p:nvGrpSpPr>
      <p:grpSpPr>
        <a:xfrm>
          <a:off x="0" y="0"/>
          <a:ext cx="0" cy="0"/>
          <a:chOff x="0" y="0"/>
          <a:chExt cx="0" cy="0"/>
        </a:xfrm>
      </p:grpSpPr>
      <p:sp>
        <p:nvSpPr>
          <p:cNvPr id="2" name="제목 1"/>
          <p:cNvSpPr>
            <a:spLocks noGrp="1"/>
          </p:cNvSpPr>
          <p:nvPr>
            <p:ph type="title"/>
          </p:nvPr>
        </p:nvSpPr>
        <p:spPr>
          <a:xfrm>
            <a:off x="839788" y="365125"/>
            <a:ext cx="10515600" cy="1325563"/>
          </a:xfrm>
        </p:spPr>
        <p:txBody>
          <a:bodyPr/>
          <a:lstStyle/>
          <a:p>
            <a:r>
              <a:rPr kumimoji="1" lang="ko-KR" altLang="en-US"/>
              <a:t>마스터 제목 스타일 편집</a:t>
            </a:r>
          </a:p>
        </p:txBody>
      </p:sp>
      <p:sp>
        <p:nvSpPr>
          <p:cNvPr id="3" name="텍스트 개체 틀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ko-KR" altLang="en-US"/>
              <a:t>마스터 텍스트 스타일을 편집하려면 클릭</a:t>
            </a:r>
          </a:p>
        </p:txBody>
      </p:sp>
      <p:sp>
        <p:nvSpPr>
          <p:cNvPr id="4" name="내용 개체 틀 3"/>
          <p:cNvSpPr>
            <a:spLocks noGrp="1"/>
          </p:cNvSpPr>
          <p:nvPr>
            <p:ph sz="half" idx="2"/>
          </p:nvPr>
        </p:nvSpPr>
        <p:spPr>
          <a:xfrm>
            <a:off x="839788" y="2505075"/>
            <a:ext cx="5157787" cy="3684588"/>
          </a:xfrm>
        </p:spPr>
        <p:txBody>
          <a:bodyPr/>
          <a:lstStyle/>
          <a:p>
            <a:pPr lvl="0"/>
            <a:r>
              <a:rPr kumimoji="1" lang="ko-KR" altLang="en-US"/>
              <a:t>마스터 텍스트 스타일을 편집하려면 클릭</a:t>
            </a:r>
          </a:p>
          <a:p>
            <a:pPr lvl="1"/>
            <a:r>
              <a:rPr kumimoji="1" lang="ko-KR" altLang="en-US"/>
              <a:t>두 번째 수준</a:t>
            </a:r>
          </a:p>
          <a:p>
            <a:pPr lvl="2"/>
            <a:r>
              <a:rPr kumimoji="1" lang="ko-KR" altLang="en-US"/>
              <a:t>세 번째 수준</a:t>
            </a:r>
          </a:p>
          <a:p>
            <a:pPr lvl="3"/>
            <a:r>
              <a:rPr kumimoji="1" lang="ko-KR" altLang="en-US"/>
              <a:t>네 번째 수준</a:t>
            </a:r>
          </a:p>
          <a:p>
            <a:pPr lvl="4"/>
            <a:r>
              <a:rPr kumimoji="1" lang="ko-KR" altLang="en-US"/>
              <a:t>다섯 번째 수준</a:t>
            </a:r>
          </a:p>
        </p:txBody>
      </p:sp>
      <p:sp>
        <p:nvSpPr>
          <p:cNvPr id="5" name="텍스트 개체 틀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ko-KR" altLang="en-US"/>
              <a:t>마스터 텍스트 스타일을 편집하려면 클릭</a:t>
            </a:r>
          </a:p>
        </p:txBody>
      </p:sp>
      <p:sp>
        <p:nvSpPr>
          <p:cNvPr id="6" name="내용 개체 틀 5"/>
          <p:cNvSpPr>
            <a:spLocks noGrp="1"/>
          </p:cNvSpPr>
          <p:nvPr>
            <p:ph sz="quarter" idx="4"/>
          </p:nvPr>
        </p:nvSpPr>
        <p:spPr>
          <a:xfrm>
            <a:off x="6172200" y="2505075"/>
            <a:ext cx="5183188" cy="3684588"/>
          </a:xfrm>
        </p:spPr>
        <p:txBody>
          <a:bodyPr/>
          <a:lstStyle/>
          <a:p>
            <a:pPr lvl="0"/>
            <a:r>
              <a:rPr kumimoji="1" lang="ko-KR" altLang="en-US"/>
              <a:t>마스터 텍스트 스타일을 편집하려면 클릭</a:t>
            </a:r>
          </a:p>
          <a:p>
            <a:pPr lvl="1"/>
            <a:r>
              <a:rPr kumimoji="1" lang="ko-KR" altLang="en-US"/>
              <a:t>두 번째 수준</a:t>
            </a:r>
          </a:p>
          <a:p>
            <a:pPr lvl="2"/>
            <a:r>
              <a:rPr kumimoji="1" lang="ko-KR" altLang="en-US"/>
              <a:t>세 번째 수준</a:t>
            </a:r>
          </a:p>
          <a:p>
            <a:pPr lvl="3"/>
            <a:r>
              <a:rPr kumimoji="1" lang="ko-KR" altLang="en-US"/>
              <a:t>네 번째 수준</a:t>
            </a:r>
          </a:p>
          <a:p>
            <a:pPr lvl="4"/>
            <a:r>
              <a:rPr kumimoji="1" lang="ko-KR" altLang="en-US"/>
              <a:t>다섯 번째 수준</a:t>
            </a:r>
          </a:p>
        </p:txBody>
      </p:sp>
      <p:sp>
        <p:nvSpPr>
          <p:cNvPr id="7" name="날짜 개체 틀 6"/>
          <p:cNvSpPr>
            <a:spLocks noGrp="1"/>
          </p:cNvSpPr>
          <p:nvPr>
            <p:ph type="dt" sz="half" idx="10"/>
          </p:nvPr>
        </p:nvSpPr>
        <p:spPr/>
        <p:txBody>
          <a:bodyPr/>
          <a:lstStyle/>
          <a:p>
            <a:fld id="{0011A2FE-F1D0-6942-97E6-46C86443E281}" type="datetimeFigureOut">
              <a:rPr kumimoji="1" lang="ko-KR" altLang="en-US" smtClean="0"/>
              <a:t>2016-09-20</a:t>
            </a:fld>
            <a:endParaRPr kumimoji="1" lang="ko-KR" altLang="en-US"/>
          </a:p>
        </p:txBody>
      </p:sp>
      <p:sp>
        <p:nvSpPr>
          <p:cNvPr id="8" name="바닥글 개체 틀 7"/>
          <p:cNvSpPr>
            <a:spLocks noGrp="1"/>
          </p:cNvSpPr>
          <p:nvPr>
            <p:ph type="ftr" sz="quarter" idx="11"/>
          </p:nvPr>
        </p:nvSpPr>
        <p:spPr/>
        <p:txBody>
          <a:bodyPr/>
          <a:lstStyle/>
          <a:p>
            <a:endParaRPr kumimoji="1" lang="ko-KR" altLang="en-US"/>
          </a:p>
        </p:txBody>
      </p:sp>
      <p:sp>
        <p:nvSpPr>
          <p:cNvPr id="9" name="슬라이드 번호 개체 틀 8"/>
          <p:cNvSpPr>
            <a:spLocks noGrp="1"/>
          </p:cNvSpPr>
          <p:nvPr>
            <p:ph type="sldNum" sz="quarter" idx="12"/>
          </p:nvPr>
        </p:nvSpPr>
        <p:spPr/>
        <p:txBody>
          <a:bodyPr/>
          <a:lstStyle/>
          <a:p>
            <a:fld id="{0BF28E89-B2A0-F14C-9AC6-A65A6CDAC602}" type="slidenum">
              <a:rPr kumimoji="1" lang="ko-KR" altLang="en-US" smtClean="0"/>
              <a:t>‹#›</a:t>
            </a:fld>
            <a:endParaRPr kumimoji="1" lang="ko-KR" altLang="en-US"/>
          </a:p>
        </p:txBody>
      </p:sp>
    </p:spTree>
    <p:extLst>
      <p:ext uri="{BB962C8B-B14F-4D97-AF65-F5344CB8AC3E}">
        <p14:creationId xmlns:p14="http://schemas.microsoft.com/office/powerpoint/2010/main" val="94527397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46134080"/>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type="titleOnly" preserve="1">
  <p:cSld name="제목만">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kumimoji="1" lang="ko-KR" altLang="en-US"/>
              <a:t>마스터 제목 스타일 편집</a:t>
            </a:r>
          </a:p>
        </p:txBody>
      </p:sp>
      <p:sp>
        <p:nvSpPr>
          <p:cNvPr id="3" name="날짜 개체 틀 2"/>
          <p:cNvSpPr>
            <a:spLocks noGrp="1"/>
          </p:cNvSpPr>
          <p:nvPr>
            <p:ph type="dt" sz="half" idx="10"/>
          </p:nvPr>
        </p:nvSpPr>
        <p:spPr/>
        <p:txBody>
          <a:bodyPr/>
          <a:lstStyle/>
          <a:p>
            <a:fld id="{0011A2FE-F1D0-6942-97E6-46C86443E281}" type="datetimeFigureOut">
              <a:rPr kumimoji="1" lang="ko-KR" altLang="en-US" smtClean="0"/>
              <a:t>2016-09-20</a:t>
            </a:fld>
            <a:endParaRPr kumimoji="1" lang="ko-KR" altLang="en-US"/>
          </a:p>
        </p:txBody>
      </p:sp>
      <p:sp>
        <p:nvSpPr>
          <p:cNvPr id="4" name="바닥글 개체 틀 3"/>
          <p:cNvSpPr>
            <a:spLocks noGrp="1"/>
          </p:cNvSpPr>
          <p:nvPr>
            <p:ph type="ftr" sz="quarter" idx="11"/>
          </p:nvPr>
        </p:nvSpPr>
        <p:spPr/>
        <p:txBody>
          <a:bodyPr/>
          <a:lstStyle/>
          <a:p>
            <a:endParaRPr kumimoji="1" lang="ko-KR" altLang="en-US"/>
          </a:p>
        </p:txBody>
      </p:sp>
      <p:sp>
        <p:nvSpPr>
          <p:cNvPr id="5" name="슬라이드 번호 개체 틀 4"/>
          <p:cNvSpPr>
            <a:spLocks noGrp="1"/>
          </p:cNvSpPr>
          <p:nvPr>
            <p:ph type="sldNum" sz="quarter" idx="12"/>
          </p:nvPr>
        </p:nvSpPr>
        <p:spPr/>
        <p:txBody>
          <a:bodyPr/>
          <a:lstStyle/>
          <a:p>
            <a:fld id="{0BF28E89-B2A0-F14C-9AC6-A65A6CDAC602}" type="slidenum">
              <a:rPr kumimoji="1" lang="ko-KR" altLang="en-US" smtClean="0"/>
              <a:t>‹#›</a:t>
            </a:fld>
            <a:endParaRPr kumimoji="1" lang="ko-KR" altLang="en-US"/>
          </a:p>
        </p:txBody>
      </p:sp>
    </p:spTree>
    <p:extLst>
      <p:ext uri="{BB962C8B-B14F-4D97-AF65-F5344CB8AC3E}">
        <p14:creationId xmlns:p14="http://schemas.microsoft.com/office/powerpoint/2010/main" val="466216519"/>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type="blank" preserve="1">
  <p:cSld name="백지">
    <p:spTree>
      <p:nvGrpSpPr>
        <p:cNvPr id="1" name=""/>
        <p:cNvGrpSpPr/>
        <p:nvPr/>
      </p:nvGrpSpPr>
      <p:grpSpPr>
        <a:xfrm>
          <a:off x="0" y="0"/>
          <a:ext cx="0" cy="0"/>
          <a:chOff x="0" y="0"/>
          <a:chExt cx="0" cy="0"/>
        </a:xfrm>
      </p:grpSpPr>
      <p:sp>
        <p:nvSpPr>
          <p:cNvPr id="2" name="날짜 개체 틀 1"/>
          <p:cNvSpPr>
            <a:spLocks noGrp="1"/>
          </p:cNvSpPr>
          <p:nvPr>
            <p:ph type="dt" sz="half" idx="10"/>
          </p:nvPr>
        </p:nvSpPr>
        <p:spPr/>
        <p:txBody>
          <a:bodyPr/>
          <a:lstStyle/>
          <a:p>
            <a:fld id="{0011A2FE-F1D0-6942-97E6-46C86443E281}" type="datetimeFigureOut">
              <a:rPr kumimoji="1" lang="ko-KR" altLang="en-US" smtClean="0"/>
              <a:t>2016-09-20</a:t>
            </a:fld>
            <a:endParaRPr kumimoji="1" lang="ko-KR" altLang="en-US"/>
          </a:p>
        </p:txBody>
      </p:sp>
      <p:sp>
        <p:nvSpPr>
          <p:cNvPr id="3" name="바닥글 개체 틀 2"/>
          <p:cNvSpPr>
            <a:spLocks noGrp="1"/>
          </p:cNvSpPr>
          <p:nvPr>
            <p:ph type="ftr" sz="quarter" idx="11"/>
          </p:nvPr>
        </p:nvSpPr>
        <p:spPr/>
        <p:txBody>
          <a:bodyPr/>
          <a:lstStyle/>
          <a:p>
            <a:endParaRPr kumimoji="1" lang="ko-KR" altLang="en-US"/>
          </a:p>
        </p:txBody>
      </p:sp>
      <p:sp>
        <p:nvSpPr>
          <p:cNvPr id="4" name="슬라이드 번호 개체 틀 3"/>
          <p:cNvSpPr>
            <a:spLocks noGrp="1"/>
          </p:cNvSpPr>
          <p:nvPr>
            <p:ph type="sldNum" sz="quarter" idx="12"/>
          </p:nvPr>
        </p:nvSpPr>
        <p:spPr/>
        <p:txBody>
          <a:bodyPr/>
          <a:lstStyle/>
          <a:p>
            <a:fld id="{0BF28E89-B2A0-F14C-9AC6-A65A6CDAC602}" type="slidenum">
              <a:rPr kumimoji="1" lang="ko-KR" altLang="en-US" smtClean="0"/>
              <a:t>‹#›</a:t>
            </a:fld>
            <a:endParaRPr kumimoji="1" lang="ko-KR" altLang="en-US"/>
          </a:p>
        </p:txBody>
      </p:sp>
    </p:spTree>
    <p:extLst>
      <p:ext uri="{BB962C8B-B14F-4D97-AF65-F5344CB8AC3E}">
        <p14:creationId xmlns:p14="http://schemas.microsoft.com/office/powerpoint/2010/main" val="67628089"/>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type="objTx" preserve="1">
  <p:cSld name="캡션 있는 콘텐츠">
    <p:spTree>
      <p:nvGrpSpPr>
        <p:cNvPr id="1" name=""/>
        <p:cNvGrpSpPr/>
        <p:nvPr/>
      </p:nvGrpSpPr>
      <p:grpSpPr>
        <a:xfrm>
          <a:off x="0" y="0"/>
          <a:ext cx="0" cy="0"/>
          <a:chOff x="0" y="0"/>
          <a:chExt cx="0" cy="0"/>
        </a:xfrm>
      </p:grpSpPr>
      <p:sp>
        <p:nvSpPr>
          <p:cNvPr id="2" name="제목 1"/>
          <p:cNvSpPr>
            <a:spLocks noGrp="1"/>
          </p:cNvSpPr>
          <p:nvPr>
            <p:ph type="title"/>
          </p:nvPr>
        </p:nvSpPr>
        <p:spPr>
          <a:xfrm>
            <a:off x="839788" y="457200"/>
            <a:ext cx="3932237" cy="1600200"/>
          </a:xfrm>
        </p:spPr>
        <p:txBody>
          <a:bodyPr anchor="b"/>
          <a:lstStyle>
            <a:lvl1pPr>
              <a:defRPr sz="3200"/>
            </a:lvl1pPr>
          </a:lstStyle>
          <a:p>
            <a:r>
              <a:rPr kumimoji="1" lang="ko-KR" altLang="en-US"/>
              <a:t>마스터 제목 스타일 편집</a:t>
            </a:r>
          </a:p>
        </p:txBody>
      </p:sp>
      <p:sp>
        <p:nvSpPr>
          <p:cNvPr id="3" name="내용 개체 틀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ko-KR" altLang="en-US"/>
              <a:t>마스터 텍스트 스타일을 편집하려면 클릭</a:t>
            </a:r>
          </a:p>
          <a:p>
            <a:pPr lvl="1"/>
            <a:r>
              <a:rPr kumimoji="1" lang="ko-KR" altLang="en-US"/>
              <a:t>두 번째 수준</a:t>
            </a:r>
          </a:p>
          <a:p>
            <a:pPr lvl="2"/>
            <a:r>
              <a:rPr kumimoji="1" lang="ko-KR" altLang="en-US"/>
              <a:t>세 번째 수준</a:t>
            </a:r>
          </a:p>
          <a:p>
            <a:pPr lvl="3"/>
            <a:r>
              <a:rPr kumimoji="1" lang="ko-KR" altLang="en-US"/>
              <a:t>네 번째 수준</a:t>
            </a:r>
          </a:p>
          <a:p>
            <a:pPr lvl="4"/>
            <a:r>
              <a:rPr kumimoji="1" lang="ko-KR" altLang="en-US"/>
              <a:t>다섯 번째 수준</a:t>
            </a:r>
          </a:p>
        </p:txBody>
      </p:sp>
      <p:sp>
        <p:nvSpPr>
          <p:cNvPr id="4" name="텍스트 개체 틀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ko-KR" altLang="en-US"/>
              <a:t>마스터 텍스트 스타일을 편집하려면 클릭</a:t>
            </a:r>
          </a:p>
        </p:txBody>
      </p:sp>
      <p:sp>
        <p:nvSpPr>
          <p:cNvPr id="5" name="날짜 개체 틀 4"/>
          <p:cNvSpPr>
            <a:spLocks noGrp="1"/>
          </p:cNvSpPr>
          <p:nvPr>
            <p:ph type="dt" sz="half" idx="10"/>
          </p:nvPr>
        </p:nvSpPr>
        <p:spPr/>
        <p:txBody>
          <a:bodyPr/>
          <a:lstStyle/>
          <a:p>
            <a:fld id="{0011A2FE-F1D0-6942-97E6-46C86443E281}" type="datetimeFigureOut">
              <a:rPr kumimoji="1" lang="ko-KR" altLang="en-US" smtClean="0"/>
              <a:t>2016-09-20</a:t>
            </a:fld>
            <a:endParaRPr kumimoji="1" lang="ko-KR" altLang="en-US"/>
          </a:p>
        </p:txBody>
      </p:sp>
      <p:sp>
        <p:nvSpPr>
          <p:cNvPr id="6" name="바닥글 개체 틀 5"/>
          <p:cNvSpPr>
            <a:spLocks noGrp="1"/>
          </p:cNvSpPr>
          <p:nvPr>
            <p:ph type="ftr" sz="quarter" idx="11"/>
          </p:nvPr>
        </p:nvSpPr>
        <p:spPr/>
        <p:txBody>
          <a:bodyPr/>
          <a:lstStyle/>
          <a:p>
            <a:endParaRPr kumimoji="1" lang="ko-KR" altLang="en-US"/>
          </a:p>
        </p:txBody>
      </p:sp>
      <p:sp>
        <p:nvSpPr>
          <p:cNvPr id="7" name="슬라이드 번호 개체 틀 6"/>
          <p:cNvSpPr>
            <a:spLocks noGrp="1"/>
          </p:cNvSpPr>
          <p:nvPr>
            <p:ph type="sldNum" sz="quarter" idx="12"/>
          </p:nvPr>
        </p:nvSpPr>
        <p:spPr/>
        <p:txBody>
          <a:bodyPr/>
          <a:lstStyle/>
          <a:p>
            <a:fld id="{0BF28E89-B2A0-F14C-9AC6-A65A6CDAC602}" type="slidenum">
              <a:rPr kumimoji="1" lang="ko-KR" altLang="en-US" smtClean="0"/>
              <a:t>‹#›</a:t>
            </a:fld>
            <a:endParaRPr kumimoji="1" lang="ko-KR" altLang="en-US"/>
          </a:p>
        </p:txBody>
      </p:sp>
    </p:spTree>
    <p:extLst>
      <p:ext uri="{BB962C8B-B14F-4D97-AF65-F5344CB8AC3E}">
        <p14:creationId xmlns:p14="http://schemas.microsoft.com/office/powerpoint/2010/main" val="1036579463"/>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type="picTx" preserve="1">
  <p:cSld name="캡션 있는 그림">
    <p:spTree>
      <p:nvGrpSpPr>
        <p:cNvPr id="1" name=""/>
        <p:cNvGrpSpPr/>
        <p:nvPr/>
      </p:nvGrpSpPr>
      <p:grpSpPr>
        <a:xfrm>
          <a:off x="0" y="0"/>
          <a:ext cx="0" cy="0"/>
          <a:chOff x="0" y="0"/>
          <a:chExt cx="0" cy="0"/>
        </a:xfrm>
      </p:grpSpPr>
      <p:sp>
        <p:nvSpPr>
          <p:cNvPr id="2" name="제목 1"/>
          <p:cNvSpPr>
            <a:spLocks noGrp="1"/>
          </p:cNvSpPr>
          <p:nvPr>
            <p:ph type="title"/>
          </p:nvPr>
        </p:nvSpPr>
        <p:spPr>
          <a:xfrm>
            <a:off x="839788" y="457200"/>
            <a:ext cx="3932237" cy="1600200"/>
          </a:xfrm>
        </p:spPr>
        <p:txBody>
          <a:bodyPr anchor="b"/>
          <a:lstStyle>
            <a:lvl1pPr>
              <a:defRPr sz="3200"/>
            </a:lvl1pPr>
          </a:lstStyle>
          <a:p>
            <a:r>
              <a:rPr kumimoji="1" lang="ko-KR" altLang="en-US"/>
              <a:t>마스터 제목 스타일 편집</a:t>
            </a:r>
          </a:p>
        </p:txBody>
      </p:sp>
      <p:sp>
        <p:nvSpPr>
          <p:cNvPr id="3" name="그림 개체 틀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ko-KR" altLang="en-US"/>
          </a:p>
        </p:txBody>
      </p:sp>
      <p:sp>
        <p:nvSpPr>
          <p:cNvPr id="4" name="텍스트 개체 틀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ko-KR" altLang="en-US"/>
              <a:t>마스터 텍스트 스타일을 편집하려면 클릭</a:t>
            </a:r>
          </a:p>
        </p:txBody>
      </p:sp>
      <p:sp>
        <p:nvSpPr>
          <p:cNvPr id="5" name="날짜 개체 틀 4"/>
          <p:cNvSpPr>
            <a:spLocks noGrp="1"/>
          </p:cNvSpPr>
          <p:nvPr>
            <p:ph type="dt" sz="half" idx="10"/>
          </p:nvPr>
        </p:nvSpPr>
        <p:spPr/>
        <p:txBody>
          <a:bodyPr/>
          <a:lstStyle/>
          <a:p>
            <a:fld id="{0011A2FE-F1D0-6942-97E6-46C86443E281}" type="datetimeFigureOut">
              <a:rPr kumimoji="1" lang="ko-KR" altLang="en-US" smtClean="0"/>
              <a:t>2016-09-20</a:t>
            </a:fld>
            <a:endParaRPr kumimoji="1" lang="ko-KR" altLang="en-US"/>
          </a:p>
        </p:txBody>
      </p:sp>
      <p:sp>
        <p:nvSpPr>
          <p:cNvPr id="6" name="바닥글 개체 틀 5"/>
          <p:cNvSpPr>
            <a:spLocks noGrp="1"/>
          </p:cNvSpPr>
          <p:nvPr>
            <p:ph type="ftr" sz="quarter" idx="11"/>
          </p:nvPr>
        </p:nvSpPr>
        <p:spPr/>
        <p:txBody>
          <a:bodyPr/>
          <a:lstStyle/>
          <a:p>
            <a:endParaRPr kumimoji="1" lang="ko-KR" altLang="en-US"/>
          </a:p>
        </p:txBody>
      </p:sp>
      <p:sp>
        <p:nvSpPr>
          <p:cNvPr id="7" name="슬라이드 번호 개체 틀 6"/>
          <p:cNvSpPr>
            <a:spLocks noGrp="1"/>
          </p:cNvSpPr>
          <p:nvPr>
            <p:ph type="sldNum" sz="quarter" idx="12"/>
          </p:nvPr>
        </p:nvSpPr>
        <p:spPr/>
        <p:txBody>
          <a:bodyPr/>
          <a:lstStyle/>
          <a:p>
            <a:fld id="{0BF28E89-B2A0-F14C-9AC6-A65A6CDAC602}" type="slidenum">
              <a:rPr kumimoji="1" lang="ko-KR" altLang="en-US" smtClean="0"/>
              <a:t>‹#›</a:t>
            </a:fld>
            <a:endParaRPr kumimoji="1" lang="ko-KR" altLang="en-US"/>
          </a:p>
        </p:txBody>
      </p:sp>
    </p:spTree>
    <p:extLst>
      <p:ext uri="{BB962C8B-B14F-4D97-AF65-F5344CB8AC3E}">
        <p14:creationId xmlns:p14="http://schemas.microsoft.com/office/powerpoint/2010/main" val="3675247980"/>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type="vertTx" preserve="1">
  <p:cSld name="제목 및 세로 텍스트">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kumimoji="1" lang="ko-KR" altLang="en-US"/>
              <a:t>마스터 제목 스타일 편집</a:t>
            </a:r>
          </a:p>
        </p:txBody>
      </p:sp>
      <p:sp>
        <p:nvSpPr>
          <p:cNvPr id="3" name="세로 텍스트 개체 틀 2"/>
          <p:cNvSpPr>
            <a:spLocks noGrp="1"/>
          </p:cNvSpPr>
          <p:nvPr>
            <p:ph type="body" orient="vert" idx="1"/>
          </p:nvPr>
        </p:nvSpPr>
        <p:spPr/>
        <p:txBody>
          <a:bodyPr vert="eaVert"/>
          <a:lstStyle/>
          <a:p>
            <a:pPr lvl="0"/>
            <a:r>
              <a:rPr kumimoji="1" lang="ko-KR" altLang="en-US"/>
              <a:t>마스터 텍스트 스타일을 편집하려면 클릭</a:t>
            </a:r>
          </a:p>
          <a:p>
            <a:pPr lvl="1"/>
            <a:r>
              <a:rPr kumimoji="1" lang="ko-KR" altLang="en-US"/>
              <a:t>두 번째 수준</a:t>
            </a:r>
          </a:p>
          <a:p>
            <a:pPr lvl="2"/>
            <a:r>
              <a:rPr kumimoji="1" lang="ko-KR" altLang="en-US"/>
              <a:t>세 번째 수준</a:t>
            </a:r>
          </a:p>
          <a:p>
            <a:pPr lvl="3"/>
            <a:r>
              <a:rPr kumimoji="1" lang="ko-KR" altLang="en-US"/>
              <a:t>네 번째 수준</a:t>
            </a:r>
          </a:p>
          <a:p>
            <a:pPr lvl="4"/>
            <a:r>
              <a:rPr kumimoji="1" lang="ko-KR" altLang="en-US"/>
              <a:t>다섯 번째 수준</a:t>
            </a:r>
          </a:p>
        </p:txBody>
      </p:sp>
      <p:sp>
        <p:nvSpPr>
          <p:cNvPr id="4" name="날짜 개체 틀 3"/>
          <p:cNvSpPr>
            <a:spLocks noGrp="1"/>
          </p:cNvSpPr>
          <p:nvPr>
            <p:ph type="dt" sz="half" idx="10"/>
          </p:nvPr>
        </p:nvSpPr>
        <p:spPr/>
        <p:txBody>
          <a:bodyPr/>
          <a:lstStyle/>
          <a:p>
            <a:fld id="{0011A2FE-F1D0-6942-97E6-46C86443E281}" type="datetimeFigureOut">
              <a:rPr kumimoji="1" lang="ko-KR" altLang="en-US" smtClean="0"/>
              <a:t>2016-09-20</a:t>
            </a:fld>
            <a:endParaRPr kumimoji="1" lang="ko-KR" altLang="en-US"/>
          </a:p>
        </p:txBody>
      </p:sp>
      <p:sp>
        <p:nvSpPr>
          <p:cNvPr id="5" name="바닥글 개체 틀 4"/>
          <p:cNvSpPr>
            <a:spLocks noGrp="1"/>
          </p:cNvSpPr>
          <p:nvPr>
            <p:ph type="ftr" sz="quarter" idx="11"/>
          </p:nvPr>
        </p:nvSpPr>
        <p:spPr/>
        <p:txBody>
          <a:bodyPr/>
          <a:lstStyle/>
          <a:p>
            <a:endParaRPr kumimoji="1" lang="ko-KR" altLang="en-US"/>
          </a:p>
        </p:txBody>
      </p:sp>
      <p:sp>
        <p:nvSpPr>
          <p:cNvPr id="6" name="슬라이드 번호 개체 틀 5"/>
          <p:cNvSpPr>
            <a:spLocks noGrp="1"/>
          </p:cNvSpPr>
          <p:nvPr>
            <p:ph type="sldNum" sz="quarter" idx="12"/>
          </p:nvPr>
        </p:nvSpPr>
        <p:spPr/>
        <p:txBody>
          <a:bodyPr/>
          <a:lstStyle/>
          <a:p>
            <a:fld id="{0BF28E89-B2A0-F14C-9AC6-A65A6CDAC602}" type="slidenum">
              <a:rPr kumimoji="1" lang="ko-KR" altLang="en-US" smtClean="0"/>
              <a:t>‹#›</a:t>
            </a:fld>
            <a:endParaRPr kumimoji="1" lang="ko-KR" altLang="en-US"/>
          </a:p>
        </p:txBody>
      </p:sp>
    </p:spTree>
    <p:extLst>
      <p:ext uri="{BB962C8B-B14F-4D97-AF65-F5344CB8AC3E}">
        <p14:creationId xmlns:p14="http://schemas.microsoft.com/office/powerpoint/2010/main" val="888428500"/>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type="vertTitleAndTx" preserve="1">
  <p:cSld name="세로 제목 및 텍스트">
    <p:spTree>
      <p:nvGrpSpPr>
        <p:cNvPr id="1" name=""/>
        <p:cNvGrpSpPr/>
        <p:nvPr/>
      </p:nvGrpSpPr>
      <p:grpSpPr>
        <a:xfrm>
          <a:off x="0" y="0"/>
          <a:ext cx="0" cy="0"/>
          <a:chOff x="0" y="0"/>
          <a:chExt cx="0" cy="0"/>
        </a:xfrm>
      </p:grpSpPr>
      <p:sp>
        <p:nvSpPr>
          <p:cNvPr id="2" name="세로 제목 1"/>
          <p:cNvSpPr>
            <a:spLocks noGrp="1"/>
          </p:cNvSpPr>
          <p:nvPr>
            <p:ph type="title" orient="vert"/>
          </p:nvPr>
        </p:nvSpPr>
        <p:spPr>
          <a:xfrm>
            <a:off x="8724900" y="365125"/>
            <a:ext cx="2628900" cy="5811838"/>
          </a:xfrm>
        </p:spPr>
        <p:txBody>
          <a:bodyPr vert="eaVert"/>
          <a:lstStyle/>
          <a:p>
            <a:r>
              <a:rPr kumimoji="1" lang="ko-KR" altLang="en-US"/>
              <a:t>마스터 제목 스타일 편집</a:t>
            </a:r>
          </a:p>
        </p:txBody>
      </p:sp>
      <p:sp>
        <p:nvSpPr>
          <p:cNvPr id="3" name="세로 텍스트 개체 틀 2"/>
          <p:cNvSpPr>
            <a:spLocks noGrp="1"/>
          </p:cNvSpPr>
          <p:nvPr>
            <p:ph type="body" orient="vert" idx="1"/>
          </p:nvPr>
        </p:nvSpPr>
        <p:spPr>
          <a:xfrm>
            <a:off x="838200" y="365125"/>
            <a:ext cx="7734300" cy="5811838"/>
          </a:xfrm>
        </p:spPr>
        <p:txBody>
          <a:bodyPr vert="eaVert"/>
          <a:lstStyle/>
          <a:p>
            <a:pPr lvl="0"/>
            <a:r>
              <a:rPr kumimoji="1" lang="ko-KR" altLang="en-US"/>
              <a:t>마스터 텍스트 스타일을 편집하려면 클릭</a:t>
            </a:r>
          </a:p>
          <a:p>
            <a:pPr lvl="1"/>
            <a:r>
              <a:rPr kumimoji="1" lang="ko-KR" altLang="en-US"/>
              <a:t>두 번째 수준</a:t>
            </a:r>
          </a:p>
          <a:p>
            <a:pPr lvl="2"/>
            <a:r>
              <a:rPr kumimoji="1" lang="ko-KR" altLang="en-US"/>
              <a:t>세 번째 수준</a:t>
            </a:r>
          </a:p>
          <a:p>
            <a:pPr lvl="3"/>
            <a:r>
              <a:rPr kumimoji="1" lang="ko-KR" altLang="en-US"/>
              <a:t>네 번째 수준</a:t>
            </a:r>
          </a:p>
          <a:p>
            <a:pPr lvl="4"/>
            <a:r>
              <a:rPr kumimoji="1" lang="ko-KR" altLang="en-US"/>
              <a:t>다섯 번째 수준</a:t>
            </a:r>
          </a:p>
        </p:txBody>
      </p:sp>
      <p:sp>
        <p:nvSpPr>
          <p:cNvPr id="4" name="날짜 개체 틀 3"/>
          <p:cNvSpPr>
            <a:spLocks noGrp="1"/>
          </p:cNvSpPr>
          <p:nvPr>
            <p:ph type="dt" sz="half" idx="10"/>
          </p:nvPr>
        </p:nvSpPr>
        <p:spPr/>
        <p:txBody>
          <a:bodyPr/>
          <a:lstStyle/>
          <a:p>
            <a:fld id="{0011A2FE-F1D0-6942-97E6-46C86443E281}" type="datetimeFigureOut">
              <a:rPr kumimoji="1" lang="ko-KR" altLang="en-US" smtClean="0"/>
              <a:t>2016-09-20</a:t>
            </a:fld>
            <a:endParaRPr kumimoji="1" lang="ko-KR" altLang="en-US"/>
          </a:p>
        </p:txBody>
      </p:sp>
      <p:sp>
        <p:nvSpPr>
          <p:cNvPr id="5" name="바닥글 개체 틀 4"/>
          <p:cNvSpPr>
            <a:spLocks noGrp="1"/>
          </p:cNvSpPr>
          <p:nvPr>
            <p:ph type="ftr" sz="quarter" idx="11"/>
          </p:nvPr>
        </p:nvSpPr>
        <p:spPr/>
        <p:txBody>
          <a:bodyPr/>
          <a:lstStyle/>
          <a:p>
            <a:endParaRPr kumimoji="1" lang="ko-KR" altLang="en-US"/>
          </a:p>
        </p:txBody>
      </p:sp>
      <p:sp>
        <p:nvSpPr>
          <p:cNvPr id="6" name="슬라이드 번호 개체 틀 5"/>
          <p:cNvSpPr>
            <a:spLocks noGrp="1"/>
          </p:cNvSpPr>
          <p:nvPr>
            <p:ph type="sldNum" sz="quarter" idx="12"/>
          </p:nvPr>
        </p:nvSpPr>
        <p:spPr/>
        <p:txBody>
          <a:bodyPr/>
          <a:lstStyle/>
          <a:p>
            <a:fld id="{0BF28E89-B2A0-F14C-9AC6-A65A6CDAC602}" type="slidenum">
              <a:rPr kumimoji="1" lang="ko-KR" altLang="en-US" smtClean="0"/>
              <a:t>‹#›</a:t>
            </a:fld>
            <a:endParaRPr kumimoji="1" lang="ko-KR" altLang="en-US"/>
          </a:p>
        </p:txBody>
      </p:sp>
    </p:spTree>
    <p:extLst>
      <p:ext uri="{BB962C8B-B14F-4D97-AF65-F5344CB8AC3E}">
        <p14:creationId xmlns:p14="http://schemas.microsoft.com/office/powerpoint/2010/main" val="115141520"/>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userDrawn="1">
  <p:cSld name="1_제목 슬라이드">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그림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720" y="0"/>
            <a:ext cx="12188560" cy="6858000"/>
          </a:xfrm>
          <a:prstGeom prst="rect">
            <a:avLst/>
          </a:prstGeom>
        </p:spPr>
      </p:pic>
    </p:spTree>
    <p:extLst>
      <p:ext uri="{BB962C8B-B14F-4D97-AF65-F5344CB8AC3E}">
        <p14:creationId xmlns:p14="http://schemas.microsoft.com/office/powerpoint/2010/main" val="1181382557"/>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userDrawn="1">
  <p:cSld name="사용자 지정 레이아웃">
    <p:spTree>
      <p:nvGrpSpPr>
        <p:cNvPr id="1" name=""/>
        <p:cNvGrpSpPr/>
        <p:nvPr/>
      </p:nvGrpSpPr>
      <p:grpSpPr>
        <a:xfrm>
          <a:off x="0" y="0"/>
          <a:ext cx="0" cy="0"/>
          <a:chOff x="0" y="0"/>
          <a:chExt cx="0" cy="0"/>
        </a:xfrm>
      </p:grpSpPr>
      <p:pic>
        <p:nvPicPr>
          <p:cNvPr id="3" name="그림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40" y="0"/>
            <a:ext cx="12188560" cy="6858000"/>
          </a:xfrm>
          <a:prstGeom prst="rect">
            <a:avLst/>
          </a:prstGeom>
        </p:spPr>
      </p:pic>
    </p:spTree>
    <p:extLst>
      <p:ext uri="{BB962C8B-B14F-4D97-AF65-F5344CB8AC3E}">
        <p14:creationId xmlns:p14="http://schemas.microsoft.com/office/powerpoint/2010/main" val="358619864"/>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showMasterSp="0" preserve="1" userDrawn="1">
  <p:cSld name="Walk in">
    <p:bg bwMode="ltGray">
      <p:bgPr>
        <a:solidFill>
          <a:srgbClr val="DC3C00"/>
        </a:solidFill>
        <a:effectLst/>
      </p:bgPr>
    </p:bg>
    <p:spTree>
      <p:nvGrpSpPr>
        <p:cNvPr id="1" name=""/>
        <p:cNvGrpSpPr/>
        <p:nvPr/>
      </p:nvGrpSpPr>
      <p:grpSpPr>
        <a:xfrm>
          <a:off x="0" y="0"/>
          <a:ext cx="0" cy="0"/>
          <a:chOff x="0" y="0"/>
          <a:chExt cx="0" cy="0"/>
        </a:xfrm>
      </p:grpSpPr>
      <p:pic>
        <p:nvPicPr>
          <p:cNvPr id="8" name="Picture 7" descr="TechEd_Maingraphic.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448947" y="3175002"/>
            <a:ext cx="5456943" cy="3855876"/>
          </a:xfrm>
          <a:prstGeom prst="rect">
            <a:avLst/>
          </a:prstGeom>
        </p:spPr>
      </p:pic>
      <p:grpSp>
        <p:nvGrpSpPr>
          <p:cNvPr id="9" name="Group 8"/>
          <p:cNvGrpSpPr/>
          <p:nvPr userDrawn="1"/>
        </p:nvGrpSpPr>
        <p:grpSpPr>
          <a:xfrm>
            <a:off x="0" y="2"/>
            <a:ext cx="12192000" cy="1854200"/>
            <a:chOff x="5050972" y="1792676"/>
            <a:chExt cx="9144000" cy="1390650"/>
          </a:xfrm>
        </p:grpSpPr>
        <p:sp>
          <p:nvSpPr>
            <p:cNvPr id="10" name="Rectangle 9"/>
            <p:cNvSpPr/>
            <p:nvPr/>
          </p:nvSpPr>
          <p:spPr bwMode="auto">
            <a:xfrm>
              <a:off x="5050972" y="1792676"/>
              <a:ext cx="9144000" cy="139065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3" tIns="107563" rIns="134453" bIns="107563" numCol="1" spcCol="0" rtlCol="0" fromWordArt="0" anchor="t" anchorCtr="0" forceAA="0" compatLnSpc="1">
              <a:prstTxWarp prst="textNoShape">
                <a:avLst/>
              </a:prstTxWarp>
              <a:noAutofit/>
            </a:bodyPr>
            <a:lstStyle/>
            <a:p>
              <a:pPr algn="ctr" defTabSz="913867" fontAlgn="base">
                <a:lnSpc>
                  <a:spcPct val="90000"/>
                </a:lnSpc>
                <a:spcBef>
                  <a:spcPct val="0"/>
                </a:spcBef>
                <a:spcAft>
                  <a:spcPct val="0"/>
                </a:spcAft>
              </a:pPr>
              <a:endParaRPr lang="en-AU"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descr="TechEd logo 2014_CMYK_WHITE-04.eps"/>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96982" y="2082941"/>
              <a:ext cx="1878065" cy="821770"/>
            </a:xfrm>
            <a:prstGeom prst="rect">
              <a:avLst/>
            </a:prstGeom>
          </p:spPr>
        </p:pic>
      </p:grpSp>
      <p:pic>
        <p:nvPicPr>
          <p:cNvPr id="12" name="Picture 11" descr="MSFT_logo_rgb_C-Wht_D.pdf"/>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039350" y="984138"/>
            <a:ext cx="2063750" cy="759140"/>
          </a:xfrm>
          <a:prstGeom prst="rect">
            <a:avLst/>
          </a:prstGeom>
        </p:spPr>
      </p:pic>
    </p:spTree>
    <p:extLst>
      <p:ext uri="{BB962C8B-B14F-4D97-AF65-F5344CB8AC3E}">
        <p14:creationId xmlns:p14="http://schemas.microsoft.com/office/powerpoint/2010/main" val="2375518280"/>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DC3C00"/>
        </a:solidFill>
        <a:effectLst/>
      </p:bgPr>
    </p:bg>
    <p:spTree>
      <p:nvGrpSpPr>
        <p:cNvPr id="1" name=""/>
        <p:cNvGrpSpPr/>
        <p:nvPr/>
      </p:nvGrpSpPr>
      <p:grpSpPr>
        <a:xfrm>
          <a:off x="0" y="0"/>
          <a:ext cx="0" cy="0"/>
          <a:chOff x="0" y="0"/>
          <a:chExt cx="0" cy="0"/>
        </a:xfrm>
      </p:grpSpPr>
      <p:sp>
        <p:nvSpPr>
          <p:cNvPr id="100" name="Rectangle 99"/>
          <p:cNvSpPr/>
          <p:nvPr userDrawn="1"/>
        </p:nvSpPr>
        <p:spPr bwMode="auto">
          <a:xfrm>
            <a:off x="341781" y="3873040"/>
            <a:ext cx="8705646" cy="179310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9" tIns="143392" rIns="179239" bIns="143392" numCol="1" spcCol="0" rtlCol="0" fromWordArt="0" anchor="t" anchorCtr="0" forceAA="0" compatLnSpc="1">
            <a:prstTxWarp prst="textNoShape">
              <a:avLst/>
            </a:prstTxWarp>
            <a:noAutofit/>
          </a:bodyPr>
          <a:lstStyle/>
          <a:p>
            <a:pPr algn="ctr" defTabSz="91386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134922" y="2231557"/>
            <a:ext cx="8924167" cy="1630007"/>
          </a:xfrm>
          <a:noFill/>
        </p:spPr>
        <p:txBody>
          <a:bodyPr lIns="146267" tIns="91418" rIns="146267" bIns="91418" anchor="b" anchorCtr="0"/>
          <a:lstStyle>
            <a:lvl1pPr>
              <a:defRPr sz="4902" spc="-99" baseline="0">
                <a:gradFill>
                  <a:gsLst>
                    <a:gs pos="5833">
                      <a:srgbClr val="FFFFFF"/>
                    </a:gs>
                    <a:gs pos="18000">
                      <a:srgbClr val="FFFFFF"/>
                    </a:gs>
                  </a:gsLst>
                  <a:lin ang="5400000" scaled="0"/>
                </a:gradFill>
              </a:defRPr>
            </a:lvl1pPr>
          </a:lstStyle>
          <a:p>
            <a:r>
              <a:rPr lang="en-US" dirty="0"/>
              <a:t>Presentation title</a:t>
            </a:r>
            <a:br>
              <a:rPr lang="en-US" dirty="0"/>
            </a:br>
            <a:r>
              <a:rPr lang="en-US" dirty="0"/>
              <a:t>if long</a:t>
            </a:r>
          </a:p>
        </p:txBody>
      </p:sp>
      <p:sp>
        <p:nvSpPr>
          <p:cNvPr id="5" name="Text Placeholder 4"/>
          <p:cNvSpPr>
            <a:spLocks noGrp="1"/>
          </p:cNvSpPr>
          <p:nvPr>
            <p:ph type="body" sz="quarter" idx="12" hasCustomPrompt="1"/>
          </p:nvPr>
        </p:nvSpPr>
        <p:spPr>
          <a:xfrm>
            <a:off x="361299" y="3898206"/>
            <a:ext cx="5856133" cy="1707820"/>
          </a:xfrm>
          <a:noFill/>
        </p:spPr>
        <p:txBody>
          <a:bodyPr lIns="182833" tIns="146267" rIns="182833" bIns="146267">
            <a:noAutofit/>
          </a:bodyPr>
          <a:lstStyle>
            <a:lvl1pPr marL="0" indent="0">
              <a:spcBef>
                <a:spcPts val="0"/>
              </a:spcBef>
              <a:buNone/>
              <a:defRPr sz="3431" spc="0" baseline="0">
                <a:solidFill>
                  <a:schemeClr val="bg2"/>
                </a:solidFill>
                <a:latin typeface="+mj-lt"/>
              </a:defRPr>
            </a:lvl1pPr>
          </a:lstStyle>
          <a:p>
            <a:pPr lvl="0"/>
            <a:r>
              <a:rPr lang="en-US" dirty="0"/>
              <a:t>Speaker Name</a:t>
            </a:r>
          </a:p>
        </p:txBody>
      </p:sp>
      <p:sp>
        <p:nvSpPr>
          <p:cNvPr id="10" name="Text Placeholder 7"/>
          <p:cNvSpPr>
            <a:spLocks noGrp="1"/>
          </p:cNvSpPr>
          <p:nvPr>
            <p:ph type="body" sz="quarter" idx="13" hasCustomPrompt="1"/>
          </p:nvPr>
        </p:nvSpPr>
        <p:spPr>
          <a:xfrm>
            <a:off x="396693" y="5769786"/>
            <a:ext cx="5378549" cy="909728"/>
          </a:xfrm>
        </p:spPr>
        <p:txBody>
          <a:bodyPr tIns="0" rIns="0"/>
          <a:lstStyle>
            <a:lvl1pPr marL="0" indent="0" algn="l">
              <a:buNone/>
              <a:defRPr sz="5882"/>
            </a:lvl1pPr>
          </a:lstStyle>
          <a:p>
            <a:pPr lvl="0"/>
            <a:r>
              <a:rPr lang="en-US" dirty="0"/>
              <a:t>Session code</a:t>
            </a:r>
          </a:p>
        </p:txBody>
      </p:sp>
      <p:grpSp>
        <p:nvGrpSpPr>
          <p:cNvPr id="14" name="Group 13"/>
          <p:cNvGrpSpPr/>
          <p:nvPr userDrawn="1"/>
        </p:nvGrpSpPr>
        <p:grpSpPr>
          <a:xfrm>
            <a:off x="0" y="2"/>
            <a:ext cx="12192000" cy="1854200"/>
            <a:chOff x="5050972" y="1792676"/>
            <a:chExt cx="9144000" cy="1390650"/>
          </a:xfrm>
        </p:grpSpPr>
        <p:sp>
          <p:nvSpPr>
            <p:cNvPr id="15" name="Rectangle 14"/>
            <p:cNvSpPr/>
            <p:nvPr/>
          </p:nvSpPr>
          <p:spPr bwMode="auto">
            <a:xfrm>
              <a:off x="5050972" y="1792676"/>
              <a:ext cx="9144000" cy="139065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3" tIns="107563" rIns="134453" bIns="107563" numCol="1" spcCol="0" rtlCol="0" fromWordArt="0" anchor="t" anchorCtr="0" forceAA="0" compatLnSpc="1">
              <a:prstTxWarp prst="textNoShape">
                <a:avLst/>
              </a:prstTxWarp>
              <a:noAutofit/>
            </a:bodyPr>
            <a:lstStyle/>
            <a:p>
              <a:pPr algn="ctr" defTabSz="913867" fontAlgn="base">
                <a:lnSpc>
                  <a:spcPct val="90000"/>
                </a:lnSpc>
                <a:spcBef>
                  <a:spcPct val="0"/>
                </a:spcBef>
                <a:spcAft>
                  <a:spcPct val="0"/>
                </a:spcAft>
              </a:pPr>
              <a:endParaRPr lang="en-AU"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6" name="Picture 15" descr="TechEd logo 2014_CMYK_WHITE-04.eps"/>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6982" y="2082941"/>
              <a:ext cx="1878065" cy="821770"/>
            </a:xfrm>
            <a:prstGeom prst="rect">
              <a:avLst/>
            </a:prstGeom>
          </p:spPr>
        </p:pic>
      </p:grpSp>
      <p:pic>
        <p:nvPicPr>
          <p:cNvPr id="17" name="Picture 16" descr="MSFT_logo_rgb_C-Wht_D.pd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39350" y="984138"/>
            <a:ext cx="2063750" cy="759140"/>
          </a:xfrm>
          <a:prstGeom prst="rect">
            <a:avLst/>
          </a:prstGeom>
        </p:spPr>
      </p:pic>
    </p:spTree>
    <p:extLst>
      <p:ext uri="{BB962C8B-B14F-4D97-AF65-F5344CB8AC3E}">
        <p14:creationId xmlns:p14="http://schemas.microsoft.com/office/powerpoint/2010/main" val="1015654395"/>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96398628"/>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showMasterSp="0" preserve="1" userDrawn="1">
  <p:cSld name="Demo slide">
    <p:bg>
      <p:bgPr>
        <a:solidFill>
          <a:srgbClr val="0072C6"/>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344197" y="2190941"/>
            <a:ext cx="9860610" cy="268963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2" tIns="107544" rIns="143392" bIns="107544" numCol="1" spcCol="0" rtlCol="0" fromWordArt="0" anchor="t" anchorCtr="0" forceAA="0" compatLnSpc="1">
            <a:prstTxWarp prst="textNoShape">
              <a:avLst/>
            </a:prstTxWarp>
            <a:noAutofit/>
          </a:bodyPr>
          <a:lstStyle/>
          <a:p>
            <a:pPr algn="ctr" defTabSz="91386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344199" y="2190943"/>
            <a:ext cx="9859116" cy="2697988"/>
          </a:xfrm>
          <a:noFill/>
        </p:spPr>
        <p:txBody>
          <a:bodyPr tIns="91418" bIns="91418" anchor="t" anchorCtr="0"/>
          <a:lstStyle>
            <a:lvl1pPr>
              <a:defRPr sz="7058" spc="-99" baseline="0">
                <a:solidFill>
                  <a:srgbClr val="002050"/>
                </a:solidFill>
              </a:defRPr>
            </a:lvl1pPr>
          </a:lstStyle>
          <a:p>
            <a:r>
              <a:rPr lang="en-US" dirty="0"/>
              <a:t>Demo title</a:t>
            </a:r>
          </a:p>
        </p:txBody>
      </p:sp>
      <p:sp>
        <p:nvSpPr>
          <p:cNvPr id="5" name="Text Placeholder 4"/>
          <p:cNvSpPr>
            <a:spLocks noGrp="1"/>
          </p:cNvSpPr>
          <p:nvPr>
            <p:ph type="body" sz="quarter" idx="12" hasCustomPrompt="1"/>
          </p:nvPr>
        </p:nvSpPr>
        <p:spPr>
          <a:xfrm>
            <a:off x="344138" y="4891868"/>
            <a:ext cx="9860673" cy="1793881"/>
          </a:xfrm>
          <a:noFill/>
        </p:spPr>
        <p:txBody>
          <a:bodyPr lIns="182833" tIns="146267" rIns="182833" bIns="146267">
            <a:noAutofit/>
          </a:bodyPr>
          <a:lstStyle>
            <a:lvl1pPr marL="0" indent="0">
              <a:spcBef>
                <a:spcPts val="0"/>
              </a:spcBef>
              <a:buNone/>
              <a:defRPr sz="3431"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18" name="Rectangle 17"/>
          <p:cNvSpPr/>
          <p:nvPr userDrawn="1"/>
        </p:nvSpPr>
        <p:spPr bwMode="auto">
          <a:xfrm>
            <a:off x="0" y="3"/>
            <a:ext cx="12192000" cy="103063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9" tIns="143392" rIns="179239" bIns="143392" numCol="1" spcCol="0" rtlCol="0" fromWordArt="0" anchor="t" anchorCtr="0" forceAA="0" compatLnSpc="1">
            <a:prstTxWarp prst="textNoShape">
              <a:avLst/>
            </a:prstTxWarp>
            <a:noAutofit/>
          </a:bodyPr>
          <a:lstStyle/>
          <a:p>
            <a:pPr algn="ctr" defTabSz="913867" fontAlgn="base">
              <a:lnSpc>
                <a:spcPct val="90000"/>
              </a:lnSpc>
              <a:spcBef>
                <a:spcPct val="0"/>
              </a:spcBef>
              <a:spcAft>
                <a:spcPct val="0"/>
              </a:spcAft>
            </a:pPr>
            <a:endParaRPr lang="en-AU"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descr="TechEd logo 2014_CMYK_WHITE-04.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9723" y="217521"/>
            <a:ext cx="1368251" cy="598695"/>
          </a:xfrm>
          <a:prstGeom prst="rect">
            <a:avLst/>
          </a:prstGeom>
        </p:spPr>
      </p:pic>
      <p:pic>
        <p:nvPicPr>
          <p:cNvPr id="20" name="Picture 19" descr="MSFT_logo_rgb_C-Wht_D.pd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74027" y="421698"/>
            <a:ext cx="1535277" cy="564744"/>
          </a:xfrm>
          <a:prstGeom prst="rect">
            <a:avLst/>
          </a:prstGeom>
        </p:spPr>
      </p:pic>
    </p:spTree>
    <p:extLst>
      <p:ext uri="{BB962C8B-B14F-4D97-AF65-F5344CB8AC3E}">
        <p14:creationId xmlns:p14="http://schemas.microsoft.com/office/powerpoint/2010/main" val="1651624293"/>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461.xml><?xml version="1.0" encoding="utf-8"?>
<p:sldLayout xmlns:a="http://schemas.openxmlformats.org/drawingml/2006/main" xmlns:r="http://schemas.openxmlformats.org/officeDocument/2006/relationships" xmlns:p="http://schemas.openxmlformats.org/presentationml/2006/main" showMasterSp="0" preserve="1" userDrawn="1">
  <p:cSld name="Demo slide 2">
    <p:bg>
      <p:bgPr>
        <a:solidFill>
          <a:srgbClr val="0072C6"/>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344199" y="2190943"/>
            <a:ext cx="9859116" cy="2697988"/>
          </a:xfrm>
          <a:solidFill>
            <a:srgbClr val="002050"/>
          </a:solidFill>
        </p:spPr>
        <p:txBody>
          <a:bodyPr tIns="91418" bIns="91418" anchor="t" anchorCtr="0"/>
          <a:lstStyle>
            <a:lvl1pPr>
              <a:defRPr sz="7058" spc="-99" baseline="0">
                <a:gradFill>
                  <a:gsLst>
                    <a:gs pos="5833">
                      <a:srgbClr val="FFFFFF"/>
                    </a:gs>
                    <a:gs pos="18000">
                      <a:srgbClr val="FFFFFF"/>
                    </a:gs>
                  </a:gsLst>
                  <a:lin ang="5400000" scaled="0"/>
                </a:gradFill>
              </a:defRPr>
            </a:lvl1pPr>
          </a:lstStyle>
          <a:p>
            <a:r>
              <a:rPr lang="en-US" dirty="0"/>
              <a:t>Demo title</a:t>
            </a:r>
          </a:p>
        </p:txBody>
      </p:sp>
      <p:sp>
        <p:nvSpPr>
          <p:cNvPr id="7" name="Text Placeholder 4"/>
          <p:cNvSpPr>
            <a:spLocks noGrp="1"/>
          </p:cNvSpPr>
          <p:nvPr>
            <p:ph type="body" sz="quarter" idx="12" hasCustomPrompt="1"/>
          </p:nvPr>
        </p:nvSpPr>
        <p:spPr>
          <a:xfrm>
            <a:off x="344138" y="4891868"/>
            <a:ext cx="9860673" cy="1793881"/>
          </a:xfrm>
          <a:noFill/>
        </p:spPr>
        <p:txBody>
          <a:bodyPr lIns="182833" tIns="146267" rIns="182833" bIns="146267">
            <a:noAutofit/>
          </a:bodyPr>
          <a:lstStyle>
            <a:lvl1pPr marL="0" indent="0">
              <a:spcBef>
                <a:spcPts val="0"/>
              </a:spcBef>
              <a:buNone/>
              <a:defRPr sz="3431"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15" name="Rectangle 14"/>
          <p:cNvSpPr/>
          <p:nvPr userDrawn="1"/>
        </p:nvSpPr>
        <p:spPr bwMode="auto">
          <a:xfrm>
            <a:off x="0" y="3"/>
            <a:ext cx="12192000" cy="103063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9" tIns="143392" rIns="179239" bIns="143392" numCol="1" spcCol="0" rtlCol="0" fromWordArt="0" anchor="t" anchorCtr="0" forceAA="0" compatLnSpc="1">
            <a:prstTxWarp prst="textNoShape">
              <a:avLst/>
            </a:prstTxWarp>
            <a:noAutofit/>
          </a:bodyPr>
          <a:lstStyle/>
          <a:p>
            <a:pPr algn="ctr" defTabSz="913867" fontAlgn="base">
              <a:lnSpc>
                <a:spcPct val="90000"/>
              </a:lnSpc>
              <a:spcBef>
                <a:spcPct val="0"/>
              </a:spcBef>
              <a:spcAft>
                <a:spcPct val="0"/>
              </a:spcAft>
            </a:pPr>
            <a:endParaRPr lang="en-AU"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6" name="Picture 15" descr="TechEd logo 2014_CMYK_WHITE-04.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9723" y="217521"/>
            <a:ext cx="1368251" cy="598695"/>
          </a:xfrm>
          <a:prstGeom prst="rect">
            <a:avLst/>
          </a:prstGeom>
        </p:spPr>
      </p:pic>
      <p:pic>
        <p:nvPicPr>
          <p:cNvPr id="17" name="Picture 16" descr="MSFT_logo_rgb_C-Wht_D.pd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74027" y="421698"/>
            <a:ext cx="1535277" cy="564744"/>
          </a:xfrm>
          <a:prstGeom prst="rect">
            <a:avLst/>
          </a:prstGeom>
        </p:spPr>
      </p:pic>
    </p:spTree>
    <p:extLst>
      <p:ext uri="{BB962C8B-B14F-4D97-AF65-F5344CB8AC3E}">
        <p14:creationId xmlns:p14="http://schemas.microsoft.com/office/powerpoint/2010/main" val="3273935965"/>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462.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9559" y="2084175"/>
            <a:ext cx="11653523" cy="1796217"/>
          </a:xfrm>
          <a:noFill/>
        </p:spPr>
        <p:txBody>
          <a:bodyPr tIns="91418" bIns="91418" anchor="t" anchorCtr="0"/>
          <a:lstStyle>
            <a:lvl1pPr>
              <a:defRPr sz="8627" spc="-99" baseline="0">
                <a:gradFill>
                  <a:gsLst>
                    <a:gs pos="100000">
                      <a:schemeClr val="tx1"/>
                    </a:gs>
                    <a:gs pos="0">
                      <a:schemeClr val="tx1"/>
                    </a:gs>
                  </a:gsLst>
                  <a:lin ang="5400000" scaled="0"/>
                </a:gradFill>
              </a:defRPr>
            </a:lvl1pPr>
          </a:lstStyle>
          <a:p>
            <a:r>
              <a:rPr lang="en-US" dirty="0"/>
              <a:t>Section title</a:t>
            </a:r>
          </a:p>
        </p:txBody>
      </p:sp>
      <p:sp>
        <p:nvSpPr>
          <p:cNvPr id="12" name="Rectangle 11"/>
          <p:cNvSpPr/>
          <p:nvPr userDrawn="1"/>
        </p:nvSpPr>
        <p:spPr bwMode="auto">
          <a:xfrm>
            <a:off x="0" y="3"/>
            <a:ext cx="12192000" cy="103063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9" tIns="143392" rIns="179239" bIns="143392" numCol="1" spcCol="0" rtlCol="0" fromWordArt="0" anchor="t" anchorCtr="0" forceAA="0" compatLnSpc="1">
            <a:prstTxWarp prst="textNoShape">
              <a:avLst/>
            </a:prstTxWarp>
            <a:noAutofit/>
          </a:bodyPr>
          <a:lstStyle/>
          <a:p>
            <a:pPr algn="ctr" defTabSz="913867" fontAlgn="base">
              <a:lnSpc>
                <a:spcPct val="90000"/>
              </a:lnSpc>
              <a:spcBef>
                <a:spcPct val="0"/>
              </a:spcBef>
              <a:spcAft>
                <a:spcPct val="0"/>
              </a:spcAft>
            </a:pPr>
            <a:endParaRPr lang="en-AU"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TechEd logo 2014_CMYK_WHITE-04.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9723" y="217521"/>
            <a:ext cx="1368251" cy="598695"/>
          </a:xfrm>
          <a:prstGeom prst="rect">
            <a:avLst/>
          </a:prstGeom>
        </p:spPr>
      </p:pic>
      <p:pic>
        <p:nvPicPr>
          <p:cNvPr id="14" name="Picture 13" descr="MSFT_logo_rgb_C-Wht_D.pd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74027" y="421698"/>
            <a:ext cx="1535277" cy="564744"/>
          </a:xfrm>
          <a:prstGeom prst="rect">
            <a:avLst/>
          </a:prstGeom>
        </p:spPr>
      </p:pic>
    </p:spTree>
    <p:extLst>
      <p:ext uri="{BB962C8B-B14F-4D97-AF65-F5344CB8AC3E}">
        <p14:creationId xmlns:p14="http://schemas.microsoft.com/office/powerpoint/2010/main" val="2770953049"/>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showMasterSp="0" preserve="1" userDrawn="1">
  <p:cSld name="Content master Teched 2014">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66877" y="1024543"/>
            <a:ext cx="11764775" cy="899665"/>
          </a:xfrm>
        </p:spPr>
        <p:txBody>
          <a:bodyPr/>
          <a:lstStyle>
            <a:lvl1pPr>
              <a:lnSpc>
                <a:spcPct val="85000"/>
              </a:lnSpc>
              <a:defRPr sz="4509"/>
            </a:lvl1pPr>
          </a:lstStyle>
          <a:p>
            <a:r>
              <a:rPr lang="en-AU" dirty="0"/>
              <a:t>Click to edit Master title style</a:t>
            </a:r>
            <a:endParaRPr lang="en-US" dirty="0"/>
          </a:p>
        </p:txBody>
      </p:sp>
      <p:sp>
        <p:nvSpPr>
          <p:cNvPr id="6" name="Text Placeholder 5"/>
          <p:cNvSpPr>
            <a:spLocks noGrp="1"/>
          </p:cNvSpPr>
          <p:nvPr>
            <p:ph type="body" sz="quarter" idx="10"/>
          </p:nvPr>
        </p:nvSpPr>
        <p:spPr>
          <a:xfrm>
            <a:off x="173989" y="2013009"/>
            <a:ext cx="11653523" cy="2385387"/>
          </a:xfrm>
        </p:spPr>
        <p:txBody>
          <a:bodyPr/>
          <a:lstStyle>
            <a:lvl1pPr marL="0" indent="0">
              <a:lnSpc>
                <a:spcPct val="85000"/>
              </a:lnSpc>
              <a:spcBef>
                <a:spcPts val="1067"/>
              </a:spcBef>
              <a:spcAft>
                <a:spcPts val="400"/>
              </a:spcAft>
              <a:buNone/>
              <a:defRPr sz="3235">
                <a:gradFill>
                  <a:gsLst>
                    <a:gs pos="1250">
                      <a:schemeClr val="tx1"/>
                    </a:gs>
                    <a:gs pos="99000">
                      <a:schemeClr val="tx1"/>
                    </a:gs>
                  </a:gsLst>
                  <a:lin ang="5400000" scaled="0"/>
                </a:gradFill>
              </a:defRPr>
            </a:lvl1pPr>
            <a:lvl2pPr marL="0" indent="0">
              <a:lnSpc>
                <a:spcPct val="90000"/>
              </a:lnSpc>
              <a:spcBef>
                <a:spcPts val="133"/>
              </a:spcBef>
              <a:spcAft>
                <a:spcPts val="1067"/>
              </a:spcAft>
              <a:buFontTx/>
              <a:buNone/>
              <a:defRPr sz="2353"/>
            </a:lvl2pPr>
            <a:lvl3pPr marL="224039" indent="0">
              <a:lnSpc>
                <a:spcPct val="90000"/>
              </a:lnSpc>
              <a:spcBef>
                <a:spcPts val="133"/>
              </a:spcBef>
              <a:spcAft>
                <a:spcPts val="1067"/>
              </a:spcAft>
              <a:buNone/>
              <a:defRPr sz="2353"/>
            </a:lvl3pPr>
            <a:lvl4pPr marL="448077" indent="0">
              <a:lnSpc>
                <a:spcPct val="90000"/>
              </a:lnSpc>
              <a:spcBef>
                <a:spcPts val="133"/>
              </a:spcBef>
              <a:spcAft>
                <a:spcPts val="1067"/>
              </a:spcAft>
              <a:buNone/>
              <a:defRPr sz="2157"/>
            </a:lvl4pPr>
            <a:lvl5pPr marL="672117" indent="0">
              <a:lnSpc>
                <a:spcPct val="90000"/>
              </a:lnSpc>
              <a:spcBef>
                <a:spcPts val="133"/>
              </a:spcBef>
              <a:spcAft>
                <a:spcPts val="1067"/>
              </a:spcAft>
              <a:buNone/>
              <a:defRPr sz="2157"/>
            </a:lvl5pPr>
          </a:lstStyle>
          <a:p>
            <a:pPr lvl="0"/>
            <a:r>
              <a:rPr lang="en-AU" dirty="0"/>
              <a:t>Click to edit Master text styles</a:t>
            </a:r>
          </a:p>
          <a:p>
            <a:pPr lvl="1"/>
            <a:r>
              <a:rPr lang="en-AU" dirty="0"/>
              <a:t>Second level</a:t>
            </a:r>
          </a:p>
          <a:p>
            <a:pPr lvl="2"/>
            <a:r>
              <a:rPr lang="en-AU" dirty="0"/>
              <a:t>Third level</a:t>
            </a:r>
          </a:p>
          <a:p>
            <a:pPr lvl="3"/>
            <a:r>
              <a:rPr lang="en-AU" dirty="0"/>
              <a:t>Fourth level</a:t>
            </a:r>
          </a:p>
          <a:p>
            <a:pPr lvl="4"/>
            <a:r>
              <a:rPr lang="en-AU" dirty="0"/>
              <a:t>Fifth level</a:t>
            </a:r>
            <a:endParaRPr lang="en-US" dirty="0"/>
          </a:p>
        </p:txBody>
      </p:sp>
      <p:sp>
        <p:nvSpPr>
          <p:cNvPr id="15" name="Rectangle 14"/>
          <p:cNvSpPr/>
          <p:nvPr userDrawn="1"/>
        </p:nvSpPr>
        <p:spPr bwMode="auto">
          <a:xfrm>
            <a:off x="0" y="3"/>
            <a:ext cx="12192000" cy="103063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9" tIns="143392" rIns="179239" bIns="143392" numCol="1" spcCol="0" rtlCol="0" fromWordArt="0" anchor="t" anchorCtr="0" forceAA="0" compatLnSpc="1">
            <a:prstTxWarp prst="textNoShape">
              <a:avLst/>
            </a:prstTxWarp>
            <a:noAutofit/>
          </a:bodyPr>
          <a:lstStyle/>
          <a:p>
            <a:pPr algn="ctr" defTabSz="913867" fontAlgn="base">
              <a:lnSpc>
                <a:spcPct val="90000"/>
              </a:lnSpc>
              <a:spcBef>
                <a:spcPct val="0"/>
              </a:spcBef>
              <a:spcAft>
                <a:spcPct val="0"/>
              </a:spcAft>
            </a:pPr>
            <a:endParaRPr lang="en-AU"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6" name="Picture 15" descr="TechEd logo 2014_CMYK_WHITE-04.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9723" y="217521"/>
            <a:ext cx="1368251" cy="598695"/>
          </a:xfrm>
          <a:prstGeom prst="rect">
            <a:avLst/>
          </a:prstGeom>
        </p:spPr>
      </p:pic>
      <p:pic>
        <p:nvPicPr>
          <p:cNvPr id="17" name="Picture 16" descr="MSFT_logo_rgb_C-Wht_D.pd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74027" y="421698"/>
            <a:ext cx="1535277" cy="564744"/>
          </a:xfrm>
          <a:prstGeom prst="rect">
            <a:avLst/>
          </a:prstGeom>
        </p:spPr>
      </p:pic>
    </p:spTree>
    <p:extLst>
      <p:ext uri="{BB962C8B-B14F-4D97-AF65-F5344CB8AC3E}">
        <p14:creationId xmlns:p14="http://schemas.microsoft.com/office/powerpoint/2010/main" val="3618248332"/>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showMasterSp="0" preserve="1" userDrawn="1">
  <p:cSld name="Title only Content master Teched 2014">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66877" y="1049943"/>
            <a:ext cx="11764775" cy="899665"/>
          </a:xfrm>
        </p:spPr>
        <p:txBody>
          <a:bodyPr/>
          <a:lstStyle>
            <a:lvl1pPr>
              <a:lnSpc>
                <a:spcPct val="85000"/>
              </a:lnSpc>
              <a:defRPr sz="4803"/>
            </a:lvl1pPr>
          </a:lstStyle>
          <a:p>
            <a:r>
              <a:rPr lang="en-AU" dirty="0"/>
              <a:t>Click to edit Master title style</a:t>
            </a:r>
            <a:endParaRPr lang="en-US" dirty="0"/>
          </a:p>
        </p:txBody>
      </p:sp>
      <p:sp>
        <p:nvSpPr>
          <p:cNvPr id="15" name="Rectangle 14"/>
          <p:cNvSpPr/>
          <p:nvPr userDrawn="1"/>
        </p:nvSpPr>
        <p:spPr bwMode="auto">
          <a:xfrm>
            <a:off x="0" y="3"/>
            <a:ext cx="12192000" cy="103063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9" tIns="143392" rIns="179239" bIns="143392" numCol="1" spcCol="0" rtlCol="0" fromWordArt="0" anchor="t" anchorCtr="0" forceAA="0" compatLnSpc="1">
            <a:prstTxWarp prst="textNoShape">
              <a:avLst/>
            </a:prstTxWarp>
            <a:noAutofit/>
          </a:bodyPr>
          <a:lstStyle/>
          <a:p>
            <a:pPr algn="ctr" defTabSz="913867" fontAlgn="base">
              <a:lnSpc>
                <a:spcPct val="90000"/>
              </a:lnSpc>
              <a:spcBef>
                <a:spcPct val="0"/>
              </a:spcBef>
              <a:spcAft>
                <a:spcPct val="0"/>
              </a:spcAft>
            </a:pPr>
            <a:endParaRPr lang="en-AU"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6" name="Picture 15" descr="TechEd logo 2014_CMYK_WHITE-04.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9723" y="217521"/>
            <a:ext cx="1368251" cy="598695"/>
          </a:xfrm>
          <a:prstGeom prst="rect">
            <a:avLst/>
          </a:prstGeom>
        </p:spPr>
      </p:pic>
      <p:pic>
        <p:nvPicPr>
          <p:cNvPr id="17" name="Picture 16" descr="MSFT_logo_rgb_C-Wht_D.pd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74027" y="421698"/>
            <a:ext cx="1535277" cy="564744"/>
          </a:xfrm>
          <a:prstGeom prst="rect">
            <a:avLst/>
          </a:prstGeom>
        </p:spPr>
      </p:pic>
    </p:spTree>
    <p:extLst>
      <p:ext uri="{BB962C8B-B14F-4D97-AF65-F5344CB8AC3E}">
        <p14:creationId xmlns:p14="http://schemas.microsoft.com/office/powerpoint/2010/main" val="126330878"/>
      </p:ext>
    </p:extLst>
  </p:cSld>
  <p:clrMapOvr>
    <a:masterClrMapping/>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showMasterSp="0" preserve="1" userDrawn="1">
  <p:cSld name="Blank with top strap">
    <p:bg>
      <p:bgPr>
        <a:solidFill>
          <a:srgbClr val="0072C6"/>
        </a:solidFill>
        <a:effectLst/>
      </p:bgPr>
    </p:bg>
    <p:spTree>
      <p:nvGrpSpPr>
        <p:cNvPr id="1" name=""/>
        <p:cNvGrpSpPr/>
        <p:nvPr/>
      </p:nvGrpSpPr>
      <p:grpSpPr>
        <a:xfrm>
          <a:off x="0" y="0"/>
          <a:ext cx="0" cy="0"/>
          <a:chOff x="0" y="0"/>
          <a:chExt cx="0" cy="0"/>
        </a:xfrm>
      </p:grpSpPr>
      <p:sp>
        <p:nvSpPr>
          <p:cNvPr id="15" name="Rectangle 14"/>
          <p:cNvSpPr/>
          <p:nvPr userDrawn="1"/>
        </p:nvSpPr>
        <p:spPr bwMode="auto">
          <a:xfrm>
            <a:off x="0" y="3"/>
            <a:ext cx="12192000" cy="103063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9" tIns="143392" rIns="179239" bIns="143392" numCol="1" spcCol="0" rtlCol="0" fromWordArt="0" anchor="t" anchorCtr="0" forceAA="0" compatLnSpc="1">
            <a:prstTxWarp prst="textNoShape">
              <a:avLst/>
            </a:prstTxWarp>
            <a:noAutofit/>
          </a:bodyPr>
          <a:lstStyle/>
          <a:p>
            <a:pPr algn="ctr" defTabSz="913867" fontAlgn="base">
              <a:lnSpc>
                <a:spcPct val="90000"/>
              </a:lnSpc>
              <a:spcBef>
                <a:spcPct val="0"/>
              </a:spcBef>
              <a:spcAft>
                <a:spcPct val="0"/>
              </a:spcAft>
            </a:pPr>
            <a:endParaRPr lang="en-AU"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6" name="Picture 15" descr="TechEd logo 2014_CMYK_WHITE-04.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9723" y="217521"/>
            <a:ext cx="1368251" cy="598695"/>
          </a:xfrm>
          <a:prstGeom prst="rect">
            <a:avLst/>
          </a:prstGeom>
        </p:spPr>
      </p:pic>
      <p:pic>
        <p:nvPicPr>
          <p:cNvPr id="17" name="Picture 16" descr="MSFT_logo_rgb_C-Wht_D.pd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74027" y="421698"/>
            <a:ext cx="1535277" cy="564744"/>
          </a:xfrm>
          <a:prstGeom prst="rect">
            <a:avLst/>
          </a:prstGeom>
        </p:spPr>
      </p:pic>
    </p:spTree>
    <p:extLst>
      <p:ext uri="{BB962C8B-B14F-4D97-AF65-F5344CB8AC3E}">
        <p14:creationId xmlns:p14="http://schemas.microsoft.com/office/powerpoint/2010/main" val="3686302520"/>
      </p:ext>
    </p:extLst>
  </p:cSld>
  <p:clrMapOvr>
    <a:masterClrMapping/>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66877" y="2105950"/>
            <a:ext cx="11655841" cy="899665"/>
          </a:xfrm>
        </p:spPr>
        <p:txBody>
          <a:bodyPr/>
          <a:lstStyle/>
          <a:p>
            <a:r>
              <a:rPr lang="en-AU" dirty="0"/>
              <a:t>Click to edit Master title style</a:t>
            </a:r>
            <a:endParaRPr lang="en-US" dirty="0"/>
          </a:p>
        </p:txBody>
      </p:sp>
      <p:sp>
        <p:nvSpPr>
          <p:cNvPr id="6" name="Text Placeholder 5"/>
          <p:cNvSpPr>
            <a:spLocks noGrp="1"/>
          </p:cNvSpPr>
          <p:nvPr>
            <p:ph type="body" sz="quarter" idx="10"/>
          </p:nvPr>
        </p:nvSpPr>
        <p:spPr>
          <a:xfrm>
            <a:off x="173989" y="3187744"/>
            <a:ext cx="11653523" cy="1972040"/>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39" indent="0">
              <a:buNone/>
              <a:defRPr sz="1961"/>
            </a:lvl3pPr>
            <a:lvl4pPr marL="448077" indent="0">
              <a:buNone/>
              <a:defRPr sz="1765"/>
            </a:lvl4pPr>
            <a:lvl5pPr marL="672117" indent="0">
              <a:buNone/>
              <a:defRPr sz="1765"/>
            </a:lvl5pPr>
          </a:lstStyle>
          <a:p>
            <a:pPr lvl="0"/>
            <a:r>
              <a:rPr lang="en-AU" dirty="0"/>
              <a:t>Click to edit Master text styles</a:t>
            </a:r>
          </a:p>
          <a:p>
            <a:pPr lvl="1"/>
            <a:r>
              <a:rPr lang="en-AU" dirty="0"/>
              <a:t>Second level</a:t>
            </a:r>
          </a:p>
          <a:p>
            <a:pPr lvl="2"/>
            <a:r>
              <a:rPr lang="en-AU" dirty="0"/>
              <a:t>Third level</a:t>
            </a:r>
          </a:p>
          <a:p>
            <a:pPr lvl="3"/>
            <a:r>
              <a:rPr lang="en-AU" dirty="0"/>
              <a:t>Fourth level</a:t>
            </a:r>
          </a:p>
          <a:p>
            <a:pPr lvl="4"/>
            <a:r>
              <a:rPr lang="en-AU" dirty="0"/>
              <a:t>Fifth level</a:t>
            </a:r>
            <a:endParaRPr lang="en-US" dirty="0"/>
          </a:p>
        </p:txBody>
      </p:sp>
      <p:sp>
        <p:nvSpPr>
          <p:cNvPr id="15" name="Rectangle 14"/>
          <p:cNvSpPr/>
          <p:nvPr userDrawn="1"/>
        </p:nvSpPr>
        <p:spPr bwMode="auto">
          <a:xfrm>
            <a:off x="0" y="3"/>
            <a:ext cx="12192000" cy="103063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9" tIns="143392" rIns="179239" bIns="143392" numCol="1" spcCol="0" rtlCol="0" fromWordArt="0" anchor="t" anchorCtr="0" forceAA="0" compatLnSpc="1">
            <a:prstTxWarp prst="textNoShape">
              <a:avLst/>
            </a:prstTxWarp>
            <a:noAutofit/>
          </a:bodyPr>
          <a:lstStyle/>
          <a:p>
            <a:pPr algn="ctr" defTabSz="913867" fontAlgn="base">
              <a:lnSpc>
                <a:spcPct val="90000"/>
              </a:lnSpc>
              <a:spcBef>
                <a:spcPct val="0"/>
              </a:spcBef>
              <a:spcAft>
                <a:spcPct val="0"/>
              </a:spcAft>
            </a:pPr>
            <a:endParaRPr lang="en-AU"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6" name="Picture 15" descr="TechEd logo 2014_CMYK_WHITE-04.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9723" y="217521"/>
            <a:ext cx="1368251" cy="598695"/>
          </a:xfrm>
          <a:prstGeom prst="rect">
            <a:avLst/>
          </a:prstGeom>
        </p:spPr>
      </p:pic>
      <p:pic>
        <p:nvPicPr>
          <p:cNvPr id="17" name="Picture 16" descr="MSFT_logo_rgb_C-Wht_D.pd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74027" y="421698"/>
            <a:ext cx="1535277" cy="564744"/>
          </a:xfrm>
          <a:prstGeom prst="rect">
            <a:avLst/>
          </a:prstGeom>
        </p:spPr>
      </p:pic>
    </p:spTree>
    <p:extLst>
      <p:ext uri="{BB962C8B-B14F-4D97-AF65-F5344CB8AC3E}">
        <p14:creationId xmlns:p14="http://schemas.microsoft.com/office/powerpoint/2010/main" val="34909887"/>
      </p:ext>
    </p:extLst>
  </p:cSld>
  <p:clrMapOvr>
    <a:masterClrMapping/>
  </p:clrMapOvr>
  <p:transitio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showMasterSp="0" preserve="1" userDrawn="1">
  <p:cSld name="Title Only">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a:t>Click to edit Master title style</a:t>
            </a:r>
            <a:endParaRPr lang="en-US"/>
          </a:p>
        </p:txBody>
      </p:sp>
    </p:spTree>
    <p:extLst>
      <p:ext uri="{BB962C8B-B14F-4D97-AF65-F5344CB8AC3E}">
        <p14:creationId xmlns:p14="http://schemas.microsoft.com/office/powerpoint/2010/main" val="1496527387"/>
      </p:ext>
    </p:extLst>
  </p:cSld>
  <p:clrMapOvr>
    <a:masterClrMapping/>
  </p:clrMapOvr>
  <p:transition>
    <p:fade/>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showMasterSp="0" preserve="1" userDrawn="1">
  <p:cSld name="Blank">
    <p:bg>
      <p:bgPr>
        <a:solidFill>
          <a:srgbClr val="0072C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5676654"/>
      </p:ext>
    </p:extLst>
  </p:cSld>
  <p:clrMapOvr>
    <a:masterClrMapping/>
  </p:clrMapOvr>
  <p:transition>
    <p:fad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261803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1747022"/>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52995"/>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1" tIns="45711" rIns="45711" bIns="45711" numCol="1" spcCol="0" rtlCol="0" fromWordArt="0" anchor="ctr" anchorCtr="0" forceAA="0" compatLnSpc="1">
            <a:prstTxWarp prst="textNoShape">
              <a:avLst/>
            </a:prstTxWarp>
            <a:noAutofit/>
          </a:bodyPr>
          <a:lstStyle/>
          <a:p>
            <a:pPr algn="ctr" defTabSz="91386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2" y="1192417"/>
            <a:ext cx="11653522" cy="2118989"/>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3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4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1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2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US" dirty="0"/>
          </a:p>
        </p:txBody>
      </p:sp>
    </p:spTree>
    <p:extLst>
      <p:ext uri="{BB962C8B-B14F-4D97-AF65-F5344CB8AC3E}">
        <p14:creationId xmlns:p14="http://schemas.microsoft.com/office/powerpoint/2010/main" val="3537502501"/>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26765"/>
          </a:xfrm>
          <a:prstGeom prst="rect">
            <a:avLst/>
          </a:prstGeom>
        </p:spPr>
        <p:txBody>
          <a:bodyPr/>
          <a:lstStyle>
            <a:lvl1pPr marL="284717" indent="-284717">
              <a:buClr>
                <a:schemeClr val="tx1"/>
              </a:buClr>
              <a:buSzPct val="90000"/>
              <a:buFont typeface="Arial" pitchFamily="34" charset="0"/>
              <a:buChar char="•"/>
              <a:defRPr sz="3431">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98" indent="-275382">
              <a:buClr>
                <a:schemeClr val="tx1"/>
              </a:buClr>
              <a:buSzPct val="90000"/>
              <a:buFont typeface="Arial" pitchFamily="34" charset="0"/>
              <a:buChar char="•"/>
              <a:defRPr sz="32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16" indent="-284717">
              <a:buClr>
                <a:schemeClr val="tx1"/>
              </a:buClr>
              <a:buSzPct val="90000"/>
              <a:buFont typeface="Arial" pitchFamily="34" charset="0"/>
              <a:buChar char="•"/>
              <a:defRPr sz="2843">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54" indent="-224039">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93" indent="-224039">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8"/>
            <a:ext cx="12192001" cy="619126"/>
          </a:xfrm>
          <a:prstGeom prst="rect">
            <a:avLst/>
          </a:prstGeom>
          <a:solidFill>
            <a:srgbClr val="FFFF99"/>
          </a:solidFill>
        </p:spPr>
        <p:txBody>
          <a:bodyPr wrap="square" lIns="155417" tIns="77709" rIns="155417" bIns="77709" anchor="b" anchorCtr="0">
            <a:noAutofit/>
          </a:bodyPr>
          <a:lstStyle>
            <a:lvl1pPr algn="r">
              <a:buFont typeface="Arial" pitchFamily="34" charset="0"/>
              <a:buNone/>
              <a:defRPr sz="3627"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AU"/>
              <a:t>Click to edit Master title style</a:t>
            </a:r>
            <a:endParaRPr lang="en-US" dirty="0"/>
          </a:p>
        </p:txBody>
      </p:sp>
    </p:spTree>
    <p:extLst>
      <p:ext uri="{BB962C8B-B14F-4D97-AF65-F5344CB8AC3E}">
        <p14:creationId xmlns:p14="http://schemas.microsoft.com/office/powerpoint/2010/main" val="1137838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6" y="1122363"/>
            <a:ext cx="11034445" cy="2387600"/>
          </a:xfrm>
        </p:spPr>
        <p:txBody>
          <a:bodyPr anchor="b"/>
          <a:lstStyle>
            <a:lvl1pPr algn="l">
              <a:defRPr sz="5998"/>
            </a:lvl1pPr>
          </a:lstStyle>
          <a:p>
            <a:r>
              <a:rPr lang="en-US" dirty="0"/>
              <a:t>Click to edit Master title style</a:t>
            </a:r>
          </a:p>
        </p:txBody>
      </p:sp>
      <p:sp>
        <p:nvSpPr>
          <p:cNvPr id="3" name="Subtitle 2"/>
          <p:cNvSpPr>
            <a:spLocks noGrp="1"/>
          </p:cNvSpPr>
          <p:nvPr>
            <p:ph type="subTitle" idx="1"/>
          </p:nvPr>
        </p:nvSpPr>
        <p:spPr>
          <a:xfrm>
            <a:off x="606176" y="3602038"/>
            <a:ext cx="11034445" cy="1655762"/>
          </a:xfrm>
        </p:spPr>
        <p:txBody>
          <a:bodyPr>
            <a:normAutofit/>
          </a:bodyPr>
          <a:lstStyle>
            <a:lvl1pPr marL="0" indent="0" algn="l">
              <a:buNone/>
              <a:defRPr sz="3600">
                <a:solidFill>
                  <a:schemeClr val="tx1"/>
                </a:solidFill>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dirty="0"/>
              <a:t>Click to edit Master subtitle style</a:t>
            </a:r>
          </a:p>
        </p:txBody>
      </p:sp>
    </p:spTree>
    <p:extLst>
      <p:ext uri="{BB962C8B-B14F-4D97-AF65-F5344CB8AC3E}">
        <p14:creationId xmlns:p14="http://schemas.microsoft.com/office/powerpoint/2010/main" val="222328859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46539272"/>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5723949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040737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396416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8969367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Picture Placeholder 3"/>
          <p:cNvSpPr>
            <a:spLocks noGrp="1"/>
          </p:cNvSpPr>
          <p:nvPr>
            <p:ph type="pic" sz="quarter" idx="10"/>
          </p:nvPr>
        </p:nvSpPr>
        <p:spPr>
          <a:xfrm>
            <a:off x="269876" y="1189037"/>
            <a:ext cx="11655425" cy="724121"/>
          </a:xfrm>
        </p:spPr>
        <p:txBody>
          <a:bodyPr/>
          <a:lstStyle/>
          <a:p>
            <a:endParaRPr lang="en-US"/>
          </a:p>
        </p:txBody>
      </p:sp>
    </p:spTree>
    <p:extLst>
      <p:ext uri="{BB962C8B-B14F-4D97-AF65-F5344CB8AC3E}">
        <p14:creationId xmlns:p14="http://schemas.microsoft.com/office/powerpoint/2010/main" val="425044988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091975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0597914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92256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65643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765474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4751264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36143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5620">
                      <a:schemeClr val="bg1"/>
                    </a:gs>
                    <a:gs pos="0">
                      <a:schemeClr val="bg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720066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76066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62767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58089571"/>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4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11449397"/>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406246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6" y="-2355"/>
            <a:ext cx="8964247" cy="1075884"/>
          </a:xfrm>
        </p:spPr>
        <p:txBody>
          <a:bodyPr lIns="146304" tIns="91440" rIns="146304" bIns="91440"/>
          <a:lstStyle>
            <a:lvl1pPr>
              <a:lnSpc>
                <a:spcPts val="6174"/>
              </a:lnSpc>
              <a:defRPr sz="5684"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7284953" y="6717485"/>
            <a:ext cx="3859606" cy="134483"/>
          </a:xfrm>
          <a:prstGeom prst="rect">
            <a:avLst/>
          </a:prstGeom>
        </p:spPr>
        <p:txBody>
          <a:bodyPr/>
          <a:lstStyle/>
          <a:p>
            <a:pPr defTabSz="914133" latinLnBrk="0"/>
            <a:r>
              <a:rPr lang="en-US" sz="1765">
                <a:solidFill>
                  <a:srgbClr val="505050"/>
                </a:solidFill>
              </a:rPr>
              <a:t>Microsoft Confidential</a:t>
            </a:r>
            <a:endParaRPr lang="en-US" sz="1765" dirty="0">
              <a:solidFill>
                <a:srgbClr val="505050"/>
              </a:solidFill>
            </a:endParaRPr>
          </a:p>
        </p:txBody>
      </p:sp>
      <p:sp>
        <p:nvSpPr>
          <p:cNvPr id="4" name="Slide Number Placeholder 3"/>
          <p:cNvSpPr>
            <a:spLocks noGrp="1"/>
          </p:cNvSpPr>
          <p:nvPr>
            <p:ph type="sldNum" sz="quarter" idx="11"/>
          </p:nvPr>
        </p:nvSpPr>
        <p:spPr>
          <a:xfrm>
            <a:off x="11486693" y="6717485"/>
            <a:ext cx="555597" cy="134483"/>
          </a:xfrm>
          <a:prstGeom prst="rect">
            <a:avLst/>
          </a:prstGeom>
        </p:spPr>
        <p:txBody>
          <a:bodyPr/>
          <a:lstStyle/>
          <a:p>
            <a:pPr defTabSz="914133" latinLnBrk="0"/>
            <a:fld id="{27258FFF-F925-446B-8502-81C933981705}" type="slidenum">
              <a:rPr lang="en-US" sz="1765" smtClean="0">
                <a:solidFill>
                  <a:srgbClr val="505050"/>
                </a:solidFill>
              </a:rPr>
              <a:pPr defTabSz="914133" latinLnBrk="0"/>
              <a:t>‹#›</a:t>
            </a:fld>
            <a:endParaRPr lang="en-US" sz="1765" dirty="0">
              <a:solidFill>
                <a:srgbClr val="505050"/>
              </a:solidFill>
            </a:endParaRPr>
          </a:p>
        </p:txBody>
      </p:sp>
      <p:sp>
        <p:nvSpPr>
          <p:cNvPr id="8" name="Text Placeholder 7"/>
          <p:cNvSpPr>
            <a:spLocks noGrp="1"/>
          </p:cNvSpPr>
          <p:nvPr>
            <p:ph type="body" sz="quarter" idx="13" hasCustomPrompt="1"/>
          </p:nvPr>
        </p:nvSpPr>
        <p:spPr>
          <a:xfrm>
            <a:off x="269243" y="2084176"/>
            <a:ext cx="8964250" cy="2576856"/>
          </a:xfrm>
        </p:spPr>
        <p:txBody>
          <a:bodyPr/>
          <a:lstStyle>
            <a:lvl1pPr marL="228687" indent="-228687">
              <a:spcBef>
                <a:spcPts val="1174"/>
              </a:spcBef>
              <a:defRPr sz="2548">
                <a:latin typeface="+mn-lt"/>
              </a:defRPr>
            </a:lvl1pPr>
            <a:lvl2pPr marL="676723" indent="-228687">
              <a:spcBef>
                <a:spcPts val="1174"/>
              </a:spcBef>
              <a:buSzPct val="100000"/>
              <a:buFont typeface="Segoe UI" pitchFamily="34" charset="0"/>
              <a:buChar char="‐"/>
              <a:defRPr/>
            </a:lvl2pPr>
            <a:lvl3pPr marL="1124762" indent="-228687">
              <a:spcBef>
                <a:spcPts val="1174"/>
              </a:spcBef>
              <a:buFont typeface="Wingdings" pitchFamily="2" charset="2"/>
              <a:buChar char="§"/>
              <a:defRPr/>
            </a:lvl3pPr>
            <a:lvl4pPr marL="1568131" indent="-336029">
              <a:spcBef>
                <a:spcPts val="1174"/>
              </a:spcBef>
              <a:buFont typeface="+mj-lt"/>
              <a:buAutoNum type="arabicPeriod"/>
              <a:defRPr/>
            </a:lvl4pPr>
            <a:lvl5pPr marL="1907271" indent="-336029">
              <a:spcBef>
                <a:spcPts val="1174"/>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0977032"/>
      </p:ext>
    </p:extLst>
  </p:cSld>
  <p:clrMapOvr>
    <a:masterClrMapping/>
  </p:clrMapOvr>
  <p:transition spd="slow">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502671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19276" y="1447839"/>
            <a:ext cx="10245217" cy="1523497"/>
          </a:xfrm>
        </p:spPr>
        <p:txBody>
          <a:bodyPr>
            <a:noAutofit/>
          </a:bodyPr>
          <a:lstStyle>
            <a:lvl1pPr>
              <a:lnSpc>
                <a:spcPct val="90000"/>
              </a:lnSpc>
              <a:defRPr sz="4700" spc="-156" baseline="0">
                <a:effectLst>
                  <a:outerShdw blurRad="63500" algn="ctr" rotWithShape="0">
                    <a:schemeClr val="tx1">
                      <a:alpha val="60000"/>
                    </a:schemeClr>
                  </a:outerShdw>
                </a:effectLst>
              </a:defRPr>
            </a:lvl1pPr>
          </a:lstStyle>
          <a:p>
            <a:r>
              <a:rPr lang="en-US"/>
              <a:t>Click to edit Master title style</a:t>
            </a:r>
            <a:endParaRPr lang="en-US" dirty="0"/>
          </a:p>
        </p:txBody>
      </p:sp>
      <p:sp>
        <p:nvSpPr>
          <p:cNvPr id="3" name="Subtitle 2"/>
          <p:cNvSpPr>
            <a:spLocks noGrp="1"/>
          </p:cNvSpPr>
          <p:nvPr>
            <p:ph type="subTitle" idx="1"/>
          </p:nvPr>
        </p:nvSpPr>
        <p:spPr>
          <a:xfrm>
            <a:off x="519250" y="4343438"/>
            <a:ext cx="10245219" cy="463255"/>
          </a:xfrm>
        </p:spPr>
        <p:txBody>
          <a:bodyPr>
            <a:noAutofit/>
          </a:bodyPr>
          <a:lstStyle>
            <a:lvl1pPr marL="0" indent="0" algn="l">
              <a:lnSpc>
                <a:spcPct val="90000"/>
              </a:lnSpc>
              <a:spcBef>
                <a:spcPts val="0"/>
              </a:spcBef>
              <a:buNone/>
              <a:defRPr sz="1900" spc="-39" baseline="0">
                <a:gradFill>
                  <a:gsLst>
                    <a:gs pos="0">
                      <a:schemeClr val="tx1"/>
                    </a:gs>
                    <a:gs pos="86000">
                      <a:schemeClr val="tx1"/>
                    </a:gs>
                  </a:gsLst>
                  <a:lin ang="5400000" scaled="0"/>
                </a:gradFill>
                <a:effectLst>
                  <a:outerShdw blurRad="63500" algn="ctr" rotWithShape="0">
                    <a:schemeClr val="tx1">
                      <a:alpha val="60000"/>
                    </a:schemeClr>
                  </a:outerShdw>
                </a:effectLst>
              </a:defRPr>
            </a:lvl1pPr>
            <a:lvl2pPr marL="356555" indent="0" algn="ctr">
              <a:buNone/>
              <a:defRPr>
                <a:solidFill>
                  <a:schemeClr val="tx1">
                    <a:tint val="75000"/>
                  </a:schemeClr>
                </a:solidFill>
              </a:defRPr>
            </a:lvl2pPr>
            <a:lvl3pPr marL="713110" indent="0" algn="ctr">
              <a:buNone/>
              <a:defRPr>
                <a:solidFill>
                  <a:schemeClr val="tx1">
                    <a:tint val="75000"/>
                  </a:schemeClr>
                </a:solidFill>
              </a:defRPr>
            </a:lvl3pPr>
            <a:lvl4pPr marL="1069664" indent="0" algn="ctr">
              <a:buNone/>
              <a:defRPr>
                <a:solidFill>
                  <a:schemeClr val="tx1">
                    <a:tint val="75000"/>
                  </a:schemeClr>
                </a:solidFill>
              </a:defRPr>
            </a:lvl4pPr>
            <a:lvl5pPr marL="1426219" indent="0" algn="ctr">
              <a:buNone/>
              <a:defRPr>
                <a:solidFill>
                  <a:schemeClr val="tx1">
                    <a:tint val="75000"/>
                  </a:schemeClr>
                </a:solidFill>
              </a:defRPr>
            </a:lvl5pPr>
            <a:lvl6pPr marL="1782775" indent="0" algn="ctr">
              <a:buNone/>
              <a:defRPr>
                <a:solidFill>
                  <a:schemeClr val="tx1">
                    <a:tint val="75000"/>
                  </a:schemeClr>
                </a:solidFill>
              </a:defRPr>
            </a:lvl6pPr>
            <a:lvl7pPr marL="2139329" indent="0" algn="ctr">
              <a:buNone/>
              <a:defRPr>
                <a:solidFill>
                  <a:schemeClr val="tx1">
                    <a:tint val="75000"/>
                  </a:schemeClr>
                </a:solidFill>
              </a:defRPr>
            </a:lvl7pPr>
            <a:lvl8pPr marL="2495884" indent="0" algn="ctr">
              <a:buNone/>
              <a:defRPr>
                <a:solidFill>
                  <a:schemeClr val="tx1">
                    <a:tint val="75000"/>
                  </a:schemeClr>
                </a:solidFill>
              </a:defRPr>
            </a:lvl8pPr>
            <a:lvl9pPr marL="2852438"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024660362"/>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19249" y="1447801"/>
            <a:ext cx="11151917" cy="1581972"/>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7391425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84552626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4920350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9700423"/>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background slid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4296184" y="0"/>
            <a:ext cx="7895816" cy="6858000"/>
          </a:xfrm>
          <a:prstGeom prst="rect">
            <a:avLst/>
          </a:prstGeom>
        </p:spPr>
      </p:pic>
      <p:sp>
        <p:nvSpPr>
          <p:cNvPr id="3" name="Title 1"/>
          <p:cNvSpPr>
            <a:spLocks noGrp="1"/>
          </p:cNvSpPr>
          <p:nvPr>
            <p:ph type="title"/>
          </p:nvPr>
        </p:nvSpPr>
        <p:spPr>
          <a:xfrm>
            <a:off x="519274" y="4024424"/>
            <a:ext cx="3464417" cy="1024896"/>
          </a:xfrm>
        </p:spPr>
        <p:txBody>
          <a:bodyPr/>
          <a:lstStyle/>
          <a:p>
            <a:r>
              <a:rPr lang="en-US"/>
              <a:t>Click to edit Master title style</a:t>
            </a:r>
            <a:endParaRPr lang="en-US" dirty="0"/>
          </a:p>
        </p:txBody>
      </p:sp>
    </p:spTree>
    <p:extLst>
      <p:ext uri="{BB962C8B-B14F-4D97-AF65-F5344CB8AC3E}">
        <p14:creationId xmlns:p14="http://schemas.microsoft.com/office/powerpoint/2010/main" val="485670669"/>
      </p:ext>
    </p:extLst>
  </p:cSld>
  <p:clrMapOvr>
    <a:masterClrMapping/>
  </p:clrMapOvr>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background slid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4267201" y="0"/>
            <a:ext cx="7924799" cy="6859876"/>
          </a:xfrm>
          <a:prstGeom prst="rect">
            <a:avLst/>
          </a:prstGeom>
        </p:spPr>
      </p:pic>
      <p:sp>
        <p:nvSpPr>
          <p:cNvPr id="3" name="Title 1"/>
          <p:cNvSpPr>
            <a:spLocks noGrp="1"/>
          </p:cNvSpPr>
          <p:nvPr>
            <p:ph type="title"/>
          </p:nvPr>
        </p:nvSpPr>
        <p:spPr>
          <a:xfrm>
            <a:off x="519274" y="4024424"/>
            <a:ext cx="3464417" cy="1024896"/>
          </a:xfrm>
        </p:spPr>
        <p:txBody>
          <a:bodyPr/>
          <a:lstStyle/>
          <a:p>
            <a:r>
              <a:rPr lang="en-US"/>
              <a:t>Click to edit Master title style</a:t>
            </a:r>
            <a:endParaRPr lang="en-US" dirty="0"/>
          </a:p>
        </p:txBody>
      </p:sp>
    </p:spTree>
    <p:extLst>
      <p:ext uri="{BB962C8B-B14F-4D97-AF65-F5344CB8AC3E}">
        <p14:creationId xmlns:p14="http://schemas.microsoft.com/office/powerpoint/2010/main" val="870818473"/>
      </p:ext>
    </p:extLst>
  </p:cSld>
  <p:clrMapOvr>
    <a:masterClrMapping/>
  </p:clrMapOvr>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_background slid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4238850" y="0"/>
            <a:ext cx="7953153" cy="6855296"/>
          </a:xfrm>
          <a:prstGeom prst="rect">
            <a:avLst/>
          </a:prstGeom>
        </p:spPr>
      </p:pic>
      <p:sp>
        <p:nvSpPr>
          <p:cNvPr id="3" name="Title 1"/>
          <p:cNvSpPr>
            <a:spLocks noGrp="1"/>
          </p:cNvSpPr>
          <p:nvPr>
            <p:ph type="title"/>
          </p:nvPr>
        </p:nvSpPr>
        <p:spPr>
          <a:xfrm>
            <a:off x="519274" y="4024424"/>
            <a:ext cx="3464417" cy="1024896"/>
          </a:xfrm>
        </p:spPr>
        <p:txBody>
          <a:bodyPr/>
          <a:lstStyle/>
          <a:p>
            <a:r>
              <a:rPr lang="en-US"/>
              <a:t>Click to edit Master title style</a:t>
            </a:r>
            <a:endParaRPr lang="en-US" dirty="0"/>
          </a:p>
        </p:txBody>
      </p:sp>
    </p:spTree>
    <p:extLst>
      <p:ext uri="{BB962C8B-B14F-4D97-AF65-F5344CB8AC3E}">
        <p14:creationId xmlns:p14="http://schemas.microsoft.com/office/powerpoint/2010/main" val="1739831557"/>
      </p:ext>
    </p:extLst>
  </p:cSld>
  <p:clrMapOvr>
    <a:masterClrMapping/>
  </p:clrMapOvr>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1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519248" y="1905507"/>
            <a:ext cx="11151916" cy="1523494"/>
          </a:xfrm>
        </p:spPr>
        <p:txBody>
          <a:bodyPr anchor="t" anchorCtr="0">
            <a:noAutofit/>
          </a:bodyPr>
          <a:lstStyle>
            <a:lvl1pPr>
              <a:lnSpc>
                <a:spcPct val="90000"/>
              </a:lnSpc>
              <a:defRPr sz="5998" spc="-200" baseline="0">
                <a:effectLst>
                  <a:outerShdw blurRad="63500" algn="ctr" rotWithShape="0">
                    <a:schemeClr val="tx1">
                      <a:alpha val="60000"/>
                    </a:schemeClr>
                  </a:outerShdw>
                </a:effectLst>
              </a:defRPr>
            </a:lvl1pPr>
          </a:lstStyle>
          <a:p>
            <a:r>
              <a:rPr lang="en-US"/>
              <a:t>Click to edit Master title style</a:t>
            </a:r>
            <a:endParaRPr lang="en-US" dirty="0"/>
          </a:p>
        </p:txBody>
      </p:sp>
      <p:sp>
        <p:nvSpPr>
          <p:cNvPr id="3" name="Subtitle 2"/>
          <p:cNvSpPr>
            <a:spLocks noGrp="1"/>
          </p:cNvSpPr>
          <p:nvPr>
            <p:ph type="subTitle" idx="1"/>
          </p:nvPr>
        </p:nvSpPr>
        <p:spPr>
          <a:xfrm>
            <a:off x="519248" y="4343439"/>
            <a:ext cx="11151916" cy="461665"/>
          </a:xfrm>
        </p:spPr>
        <p:txBody>
          <a:bodyPr>
            <a:noAutofit/>
          </a:bodyPr>
          <a:lstStyle>
            <a:lvl1pPr marL="0" indent="0" algn="l">
              <a:lnSpc>
                <a:spcPct val="90000"/>
              </a:lnSpc>
              <a:spcBef>
                <a:spcPts val="0"/>
              </a:spcBef>
              <a:buNone/>
              <a:defRPr sz="2400" spc="-50" baseline="0">
                <a:gradFill>
                  <a:gsLst>
                    <a:gs pos="0">
                      <a:schemeClr val="tx1"/>
                    </a:gs>
                    <a:gs pos="86000">
                      <a:schemeClr val="tx1"/>
                    </a:gs>
                  </a:gsLst>
                  <a:lin ang="5400000" scaled="0"/>
                </a:gradFill>
                <a:effectLst>
                  <a:outerShdw blurRad="63500" algn="ctr" rotWithShape="0">
                    <a:schemeClr val="tx1">
                      <a:alpha val="60000"/>
                    </a:schemeClr>
                  </a:outerShdw>
                </a:effectLst>
              </a:defRPr>
            </a:lvl1pPr>
            <a:lvl2pPr marL="457094" indent="0" algn="ctr">
              <a:buNone/>
              <a:defRPr>
                <a:solidFill>
                  <a:schemeClr val="tx1">
                    <a:tint val="75000"/>
                  </a:schemeClr>
                </a:solidFill>
              </a:defRPr>
            </a:lvl2pPr>
            <a:lvl3pPr marL="914188" indent="0" algn="ctr">
              <a:buNone/>
              <a:defRPr>
                <a:solidFill>
                  <a:schemeClr val="tx1">
                    <a:tint val="75000"/>
                  </a:schemeClr>
                </a:solidFill>
              </a:defRPr>
            </a:lvl3pPr>
            <a:lvl4pPr marL="1371282" indent="0" algn="ctr">
              <a:buNone/>
              <a:defRPr>
                <a:solidFill>
                  <a:schemeClr val="tx1">
                    <a:tint val="75000"/>
                  </a:schemeClr>
                </a:solidFill>
              </a:defRPr>
            </a:lvl4pPr>
            <a:lvl5pPr marL="1828376" indent="0" algn="ctr">
              <a:buNone/>
              <a:defRPr>
                <a:solidFill>
                  <a:schemeClr val="tx1">
                    <a:tint val="75000"/>
                  </a:schemeClr>
                </a:solidFill>
              </a:defRPr>
            </a:lvl5pPr>
            <a:lvl6pPr marL="2285470" indent="0" algn="ctr">
              <a:buNone/>
              <a:defRPr>
                <a:solidFill>
                  <a:schemeClr val="tx1">
                    <a:tint val="75000"/>
                  </a:schemeClr>
                </a:solidFill>
              </a:defRPr>
            </a:lvl6pPr>
            <a:lvl7pPr marL="2742563" indent="0" algn="ctr">
              <a:buNone/>
              <a:defRPr>
                <a:solidFill>
                  <a:schemeClr val="tx1">
                    <a:tint val="75000"/>
                  </a:schemeClr>
                </a:solidFill>
              </a:defRPr>
            </a:lvl7pPr>
            <a:lvl8pPr marL="3199657" indent="0" algn="ctr">
              <a:buNone/>
              <a:defRPr>
                <a:solidFill>
                  <a:schemeClr val="tx1">
                    <a:tint val="75000"/>
                  </a:schemeClr>
                </a:solidFill>
              </a:defRPr>
            </a:lvl8pPr>
            <a:lvl9pPr marL="3656751"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519248" y="229005"/>
            <a:ext cx="11151916" cy="997196"/>
          </a:xfrm>
        </p:spPr>
        <p:txBody>
          <a:bodyPr wrap="square" anchor="t" anchorCtr="0">
            <a:spAutoFit/>
            <a:scene3d>
              <a:camera prst="orthographicFront"/>
              <a:lightRig rig="flat" dir="t"/>
            </a:scene3d>
            <a:sp3d>
              <a:contourClr>
                <a:schemeClr val="tx2"/>
              </a:contourClr>
            </a:sp3d>
          </a:bodyPr>
          <a:lstStyle>
            <a:lvl1pPr marL="0" indent="0" algn="l">
              <a:buFont typeface="Arial" pitchFamily="34" charset="0"/>
              <a:buNone/>
              <a:defRPr kumimoji="0" lang="en-US" sz="7198" b="1" i="0" u="none" strike="noStrike" kern="1200" cap="none" spc="-600" normalizeH="0" baseline="0" noProof="0" dirty="0" smtClean="0">
                <a:ln w="11430"/>
                <a:gradFill>
                  <a:gsLst>
                    <a:gs pos="0">
                      <a:schemeClr val="tx1"/>
                    </a:gs>
                    <a:gs pos="88000">
                      <a:schemeClr val="tx1"/>
                    </a:gs>
                  </a:gsLst>
                  <a:lin ang="5400000"/>
                </a:gradFill>
                <a:effectLst/>
                <a:uLnTx/>
                <a:uFillTx/>
                <a:latin typeface="Segoe UI" pitchFamily="34" charset="0"/>
                <a:ea typeface="+mn-ea"/>
                <a:cs typeface="+mn-cs"/>
              </a:defRPr>
            </a:lvl1pPr>
          </a:lstStyle>
          <a:p>
            <a:pPr lvl="0"/>
            <a:r>
              <a:rPr lang="en-US" dirty="0"/>
              <a:t>Click to…</a:t>
            </a:r>
          </a:p>
        </p:txBody>
      </p:sp>
    </p:spTree>
    <p:extLst>
      <p:ext uri="{BB962C8B-B14F-4D97-AF65-F5344CB8AC3E}">
        <p14:creationId xmlns:p14="http://schemas.microsoft.com/office/powerpoint/2010/main" val="417971683"/>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_Text Slide - White">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914402" y="1130315"/>
            <a:ext cx="10972800" cy="498598"/>
          </a:xfrm>
          <a:prstGeom prst="rect">
            <a:avLst/>
          </a:prstGeom>
        </p:spPr>
        <p:txBody>
          <a:bodyPr/>
          <a:lstStyle>
            <a:lvl1pPr algn="l">
              <a:defRPr sz="3600">
                <a:solidFill>
                  <a:schemeClr val="tx1"/>
                </a:solidFill>
                <a:latin typeface="+mj-lt"/>
              </a:defRPr>
            </a:lvl1pPr>
          </a:lstStyle>
          <a:p>
            <a:r>
              <a:rPr lang="en-US" dirty="0"/>
              <a:t>Headline Goes Here</a:t>
            </a:r>
          </a:p>
        </p:txBody>
      </p:sp>
      <p:sp>
        <p:nvSpPr>
          <p:cNvPr id="8" name="Text Placeholder 7"/>
          <p:cNvSpPr>
            <a:spLocks noGrp="1"/>
          </p:cNvSpPr>
          <p:nvPr>
            <p:ph type="body" sz="quarter" idx="10" hasCustomPrompt="1"/>
          </p:nvPr>
        </p:nvSpPr>
        <p:spPr>
          <a:xfrm>
            <a:off x="914402" y="1676400"/>
            <a:ext cx="7416801" cy="360099"/>
          </a:xfrm>
          <a:prstGeom prst="rect">
            <a:avLst/>
          </a:prstGeom>
        </p:spPr>
        <p:txBody>
          <a:bodyPr/>
          <a:lstStyle>
            <a:lvl1pPr marL="0" indent="0">
              <a:buNone/>
              <a:defRPr sz="2600">
                <a:solidFill>
                  <a:schemeClr val="accent1"/>
                </a:solidFill>
                <a:latin typeface="Segoe" pitchFamily="34" charset="0"/>
              </a:defRPr>
            </a:lvl1pPr>
          </a:lstStyle>
          <a:p>
            <a:pPr lvl="0"/>
            <a:r>
              <a:rPr lang="en-US" dirty="0"/>
              <a:t>Subhead goes here</a:t>
            </a:r>
          </a:p>
        </p:txBody>
      </p:sp>
      <p:sp>
        <p:nvSpPr>
          <p:cNvPr id="7" name="Content Placeholder 6"/>
          <p:cNvSpPr>
            <a:spLocks noGrp="1"/>
          </p:cNvSpPr>
          <p:nvPr>
            <p:ph sz="quarter" idx="11"/>
          </p:nvPr>
        </p:nvSpPr>
        <p:spPr>
          <a:xfrm>
            <a:off x="914402" y="2209837"/>
            <a:ext cx="10972800" cy="1742015"/>
          </a:xfrm>
          <a:prstGeom prst="rect">
            <a:avLst/>
          </a:prstGeom>
        </p:spPr>
        <p:txBody>
          <a:bodyPr/>
          <a:lstStyle>
            <a:lvl1pPr>
              <a:defRPr sz="2800">
                <a:solidFill>
                  <a:schemeClr val="accent3">
                    <a:lumMod val="50000"/>
                  </a:schemeClr>
                </a:solidFill>
              </a:defRPr>
            </a:lvl1pPr>
            <a:lvl2pPr>
              <a:defRPr sz="2400">
                <a:solidFill>
                  <a:schemeClr val="accent3">
                    <a:lumMod val="50000"/>
                  </a:schemeClr>
                </a:solidFill>
              </a:defRPr>
            </a:lvl2pPr>
            <a:lvl3pPr>
              <a:defRPr sz="2000">
                <a:solidFill>
                  <a:schemeClr val="accent3">
                    <a:lumMod val="50000"/>
                  </a:schemeClr>
                </a:solidFill>
              </a:defRPr>
            </a:lvl3pPr>
            <a:lvl4pPr>
              <a:defRPr sz="1800">
                <a:solidFill>
                  <a:schemeClr val="accent3">
                    <a:lumMod val="50000"/>
                  </a:schemeClr>
                </a:solidFill>
              </a:defRPr>
            </a:lvl4pPr>
            <a:lvl5pPr>
              <a:defRPr sz="1800">
                <a:solidFill>
                  <a:schemeClr val="accent3">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156633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_section title slide">
    <p:spTree>
      <p:nvGrpSpPr>
        <p:cNvPr id="1" name=""/>
        <p:cNvGrpSpPr/>
        <p:nvPr/>
      </p:nvGrpSpPr>
      <p:grpSpPr>
        <a:xfrm>
          <a:off x="0" y="0"/>
          <a:ext cx="0" cy="0"/>
          <a:chOff x="0" y="0"/>
          <a:chExt cx="0" cy="0"/>
        </a:xfrm>
      </p:grpSpPr>
      <p:pic>
        <p:nvPicPr>
          <p:cNvPr id="3" name="Picture 2" descr="section_title_slide.png"/>
          <p:cNvPicPr>
            <a:picLocks noChangeAspect="1"/>
          </p:cNvPicPr>
          <p:nvPr userDrawn="1"/>
        </p:nvPicPr>
        <p:blipFill>
          <a:blip r:embed="rId2" cstate="print"/>
          <a:stretch>
            <a:fillRect/>
          </a:stretch>
        </p:blipFill>
        <p:spPr>
          <a:xfrm>
            <a:off x="-16933" y="-54818"/>
            <a:ext cx="12293601" cy="6925517"/>
          </a:xfrm>
          <a:prstGeom prst="rect">
            <a:avLst/>
          </a:prstGeom>
        </p:spPr>
      </p:pic>
    </p:spTree>
    <p:extLst>
      <p:ext uri="{BB962C8B-B14F-4D97-AF65-F5344CB8AC3E}">
        <p14:creationId xmlns:p14="http://schemas.microsoft.com/office/powerpoint/2010/main" val="4045044462"/>
      </p:ext>
    </p:extLst>
  </p:cSld>
  <p:clrMapOvr>
    <a:masterClrMapping/>
  </p:clrMapOvr>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tart screen">
    <p:bg>
      <p:bgPr>
        <a:solidFill>
          <a:srgbClr val="00BCF2"/>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37433" y="5912754"/>
            <a:ext cx="1075699" cy="205873"/>
          </a:xfrm>
          <a:prstGeom prst="rect">
            <a:avLst/>
          </a:prstGeom>
        </p:spPr>
      </p:pic>
      <p:pic>
        <p:nvPicPr>
          <p:cNvPr id="4" name="Picture 3"/>
          <p:cNvPicPr>
            <a:picLocks noChangeAspect="1"/>
          </p:cNvPicPr>
          <p:nvPr userDrawn="1"/>
        </p:nvPicPr>
        <p:blipFill>
          <a:blip r:embed="rId3"/>
          <a:stretch>
            <a:fillRect/>
          </a:stretch>
        </p:blipFill>
        <p:spPr>
          <a:xfrm>
            <a:off x="1460414" y="1592813"/>
            <a:ext cx="9271173" cy="3672373"/>
          </a:xfrm>
          <a:prstGeom prst="rect">
            <a:avLst/>
          </a:prstGeom>
        </p:spPr>
      </p:pic>
    </p:spTree>
    <p:extLst>
      <p:ext uri="{BB962C8B-B14F-4D97-AF65-F5344CB8AC3E}">
        <p14:creationId xmlns:p14="http://schemas.microsoft.com/office/powerpoint/2010/main" val="4866482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Philadelphia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0"/>
            <a:ext cx="5826698" cy="197240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608308"/>
            <a:ext cx="4751001" cy="990031"/>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pic>
        <p:nvPicPr>
          <p:cNvPr id="3" name="Picture 2"/>
          <p:cNvPicPr>
            <a:picLocks noChangeAspect="1"/>
          </p:cNvPicPr>
          <p:nvPr userDrawn="1"/>
        </p:nvPicPr>
        <p:blipFill>
          <a:blip r:embed="rId3"/>
          <a:stretch>
            <a:fillRect/>
          </a:stretch>
        </p:blipFill>
        <p:spPr>
          <a:xfrm>
            <a:off x="6096000" y="1019411"/>
            <a:ext cx="5374293" cy="5090553"/>
          </a:xfrm>
          <a:prstGeom prst="rect">
            <a:avLst/>
          </a:prstGeom>
        </p:spPr>
      </p:pic>
    </p:spTree>
    <p:extLst>
      <p:ext uri="{BB962C8B-B14F-4D97-AF65-F5344CB8AC3E}">
        <p14:creationId xmlns:p14="http://schemas.microsoft.com/office/powerpoint/2010/main" val="15128607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okyo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0"/>
            <a:ext cx="5826698" cy="197240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608308"/>
            <a:ext cx="4751001" cy="990031"/>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pic>
        <p:nvPicPr>
          <p:cNvPr id="3" name="Picture 2"/>
          <p:cNvPicPr>
            <a:picLocks noChangeAspect="1"/>
          </p:cNvPicPr>
          <p:nvPr userDrawn="1"/>
        </p:nvPicPr>
        <p:blipFill>
          <a:blip r:embed="rId3"/>
          <a:stretch>
            <a:fillRect/>
          </a:stretch>
        </p:blipFill>
        <p:spPr>
          <a:xfrm>
            <a:off x="5942768" y="746575"/>
            <a:ext cx="5531719" cy="5364851"/>
          </a:xfrm>
          <a:prstGeom prst="rect">
            <a:avLst/>
          </a:prstGeom>
        </p:spPr>
      </p:pic>
    </p:spTree>
    <p:extLst>
      <p:ext uri="{BB962C8B-B14F-4D97-AF65-F5344CB8AC3E}">
        <p14:creationId xmlns:p14="http://schemas.microsoft.com/office/powerpoint/2010/main" val="26586726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732837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tockholm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0"/>
            <a:ext cx="5826698" cy="197240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608308"/>
            <a:ext cx="4751001" cy="990031"/>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pic>
        <p:nvPicPr>
          <p:cNvPr id="4" name="Picture 3"/>
          <p:cNvPicPr>
            <a:picLocks noChangeAspect="1"/>
          </p:cNvPicPr>
          <p:nvPr userDrawn="1"/>
        </p:nvPicPr>
        <p:blipFill>
          <a:blip r:embed="rId3"/>
          <a:stretch>
            <a:fillRect/>
          </a:stretch>
        </p:blipFill>
        <p:spPr>
          <a:xfrm>
            <a:off x="6006358" y="291102"/>
            <a:ext cx="5378490" cy="5814171"/>
          </a:xfrm>
          <a:prstGeom prst="rect">
            <a:avLst/>
          </a:prstGeom>
        </p:spPr>
      </p:pic>
    </p:spTree>
    <p:extLst>
      <p:ext uri="{BB962C8B-B14F-4D97-AF65-F5344CB8AC3E}">
        <p14:creationId xmlns:p14="http://schemas.microsoft.com/office/powerpoint/2010/main" val="2233004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l Aviv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0"/>
            <a:ext cx="5826698" cy="197240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608308"/>
            <a:ext cx="4751001" cy="990031"/>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pic>
        <p:nvPicPr>
          <p:cNvPr id="2" name="Picture 1"/>
          <p:cNvPicPr>
            <a:picLocks noChangeAspect="1"/>
          </p:cNvPicPr>
          <p:nvPr userDrawn="1"/>
        </p:nvPicPr>
        <p:blipFill>
          <a:blip r:embed="rId3"/>
          <a:stretch>
            <a:fillRect/>
          </a:stretch>
        </p:blipFill>
        <p:spPr>
          <a:xfrm>
            <a:off x="6091086" y="470067"/>
            <a:ext cx="5392953" cy="5684665"/>
          </a:xfrm>
          <a:prstGeom prst="rect">
            <a:avLst/>
          </a:prstGeom>
        </p:spPr>
      </p:pic>
    </p:spTree>
    <p:extLst>
      <p:ext uri="{BB962C8B-B14F-4D97-AF65-F5344CB8AC3E}">
        <p14:creationId xmlns:p14="http://schemas.microsoft.com/office/powerpoint/2010/main" val="18830290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Paris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0"/>
            <a:ext cx="5826698" cy="197240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608308"/>
            <a:ext cx="4751001" cy="990031"/>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pic>
        <p:nvPicPr>
          <p:cNvPr id="3" name="Picture 2"/>
          <p:cNvPicPr>
            <a:picLocks noChangeAspect="1"/>
          </p:cNvPicPr>
          <p:nvPr userDrawn="1"/>
        </p:nvPicPr>
        <p:blipFill>
          <a:blip r:embed="rId3"/>
          <a:stretch>
            <a:fillRect/>
          </a:stretch>
        </p:blipFill>
        <p:spPr>
          <a:xfrm>
            <a:off x="6185641" y="1078294"/>
            <a:ext cx="5334758" cy="5034317"/>
          </a:xfrm>
          <a:prstGeom prst="rect">
            <a:avLst/>
          </a:prstGeom>
        </p:spPr>
      </p:pic>
    </p:spTree>
    <p:extLst>
      <p:ext uri="{BB962C8B-B14F-4D97-AF65-F5344CB8AC3E}">
        <p14:creationId xmlns:p14="http://schemas.microsoft.com/office/powerpoint/2010/main" val="13691284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Washington, D.C.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0"/>
            <a:ext cx="5826698" cy="197240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608308"/>
            <a:ext cx="4751001" cy="990031"/>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pic>
        <p:nvPicPr>
          <p:cNvPr id="2" name="Picture 1"/>
          <p:cNvPicPr>
            <a:picLocks noChangeAspect="1"/>
          </p:cNvPicPr>
          <p:nvPr userDrawn="1"/>
        </p:nvPicPr>
        <p:blipFill>
          <a:blip r:embed="rId3"/>
          <a:stretch>
            <a:fillRect/>
          </a:stretch>
        </p:blipFill>
        <p:spPr>
          <a:xfrm>
            <a:off x="6159466" y="918682"/>
            <a:ext cx="5428517" cy="5296865"/>
          </a:xfrm>
          <a:prstGeom prst="rect">
            <a:avLst/>
          </a:prstGeom>
        </p:spPr>
      </p:pic>
    </p:spTree>
    <p:extLst>
      <p:ext uri="{BB962C8B-B14F-4D97-AF65-F5344CB8AC3E}">
        <p14:creationId xmlns:p14="http://schemas.microsoft.com/office/powerpoint/2010/main" val="34899498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Atlanta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0"/>
            <a:ext cx="5826698" cy="197240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608308"/>
            <a:ext cx="4751001" cy="990031"/>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pic>
        <p:nvPicPr>
          <p:cNvPr id="3" name="Picture 2"/>
          <p:cNvPicPr>
            <a:picLocks noChangeAspect="1"/>
          </p:cNvPicPr>
          <p:nvPr userDrawn="1"/>
        </p:nvPicPr>
        <p:blipFill>
          <a:blip r:embed="rId3"/>
          <a:stretch>
            <a:fillRect/>
          </a:stretch>
        </p:blipFill>
        <p:spPr>
          <a:xfrm>
            <a:off x="5892597" y="829027"/>
            <a:ext cx="5582266" cy="5283584"/>
          </a:xfrm>
          <a:prstGeom prst="rect">
            <a:avLst/>
          </a:prstGeom>
        </p:spPr>
      </p:pic>
    </p:spTree>
    <p:extLst>
      <p:ext uri="{BB962C8B-B14F-4D97-AF65-F5344CB8AC3E}">
        <p14:creationId xmlns:p14="http://schemas.microsoft.com/office/powerpoint/2010/main" val="29861575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Frankfurt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0"/>
            <a:ext cx="5826698" cy="197240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608308"/>
            <a:ext cx="4751001" cy="990031"/>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pic>
        <p:nvPicPr>
          <p:cNvPr id="2" name="Picture 1"/>
          <p:cNvPicPr>
            <a:picLocks noChangeAspect="1"/>
          </p:cNvPicPr>
          <p:nvPr userDrawn="1"/>
        </p:nvPicPr>
        <p:blipFill>
          <a:blip r:embed="rId3"/>
          <a:stretch>
            <a:fillRect/>
          </a:stretch>
        </p:blipFill>
        <p:spPr>
          <a:xfrm>
            <a:off x="6006358" y="739373"/>
            <a:ext cx="5424011" cy="5320858"/>
          </a:xfrm>
          <a:prstGeom prst="rect">
            <a:avLst/>
          </a:prstGeom>
        </p:spPr>
      </p:pic>
    </p:spTree>
    <p:extLst>
      <p:ext uri="{BB962C8B-B14F-4D97-AF65-F5344CB8AC3E}">
        <p14:creationId xmlns:p14="http://schemas.microsoft.com/office/powerpoint/2010/main" val="41563337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udapest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0"/>
            <a:ext cx="5826698" cy="197240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608308"/>
            <a:ext cx="4751001" cy="990031"/>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pic>
        <p:nvPicPr>
          <p:cNvPr id="3" name="Picture 2"/>
          <p:cNvPicPr>
            <a:picLocks noChangeAspect="1"/>
          </p:cNvPicPr>
          <p:nvPr userDrawn="1"/>
        </p:nvPicPr>
        <p:blipFill>
          <a:blip r:embed="rId3"/>
          <a:stretch>
            <a:fillRect/>
          </a:stretch>
        </p:blipFill>
        <p:spPr>
          <a:xfrm>
            <a:off x="6136131" y="1725570"/>
            <a:ext cx="5388931" cy="4388447"/>
          </a:xfrm>
          <a:prstGeom prst="rect">
            <a:avLst/>
          </a:prstGeom>
        </p:spPr>
      </p:pic>
    </p:spTree>
    <p:extLst>
      <p:ext uri="{BB962C8B-B14F-4D97-AF65-F5344CB8AC3E}">
        <p14:creationId xmlns:p14="http://schemas.microsoft.com/office/powerpoint/2010/main" val="1514334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08071895"/>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59877488"/>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6494609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2472610870"/>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15168764"/>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spTree>
    <p:extLst>
      <p:ext uri="{BB962C8B-B14F-4D97-AF65-F5344CB8AC3E}">
        <p14:creationId xmlns:p14="http://schemas.microsoft.com/office/powerpoint/2010/main" val="3024923688"/>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6908377"/>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Philadelphia Thank You!">
    <p:bg>
      <p:bgPr>
        <a:solidFill>
          <a:srgbClr val="00BCF2"/>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sp>
        <p:nvSpPr>
          <p:cNvPr id="5" name="TextBox 4"/>
          <p:cNvSpPr txBox="1"/>
          <p:nvPr userDrawn="1"/>
        </p:nvSpPr>
        <p:spPr>
          <a:xfrm>
            <a:off x="1076076" y="2852420"/>
            <a:ext cx="4213151" cy="1831739"/>
          </a:xfrm>
          <a:prstGeom prst="rect">
            <a:avLst/>
          </a:prstGeom>
          <a:noFill/>
        </p:spPr>
        <p:txBody>
          <a:bodyPr wrap="square" lIns="179285" tIns="143428" rIns="179285" bIns="143428" rtlCol="0">
            <a:spAutoFit/>
          </a:bodyPr>
          <a:lstStyle/>
          <a:p>
            <a:pPr marL="0" marR="0" lvl="0" indent="0" algn="l" defTabSz="914133" rtl="0" eaLnBrk="1" fontAlgn="auto" latinLnBrk="0" hangingPunct="1">
              <a:lnSpc>
                <a:spcPct val="90000"/>
              </a:lnSpc>
              <a:spcBef>
                <a:spcPts val="0"/>
              </a:spcBef>
              <a:spcAft>
                <a:spcPts val="588"/>
              </a:spcAft>
              <a:buClrTx/>
              <a:buSzTx/>
              <a:buFontTx/>
              <a:buNone/>
              <a:tabLst/>
              <a:defRPr/>
            </a:pPr>
            <a:r>
              <a:rPr kumimoji="0" lang="en-US" sz="5294"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914133" rtl="0" eaLnBrk="1" fontAlgn="auto" latinLnBrk="0" hangingPunct="1">
              <a:lnSpc>
                <a:spcPct val="90000"/>
              </a:lnSpc>
              <a:spcBef>
                <a:spcPts val="0"/>
              </a:spcBef>
              <a:spcAft>
                <a:spcPts val="588"/>
              </a:spcAft>
              <a:buClrTx/>
              <a:buSzTx/>
              <a:buFontTx/>
              <a:buNone/>
              <a:tabLst/>
              <a:defRPr/>
            </a:pPr>
            <a:r>
              <a:rPr kumimoji="0" lang="en-US" sz="5294"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Philadelphia!</a:t>
            </a:r>
          </a:p>
        </p:txBody>
      </p:sp>
      <p:pic>
        <p:nvPicPr>
          <p:cNvPr id="6" name="Picture 5"/>
          <p:cNvPicPr>
            <a:picLocks noChangeAspect="1"/>
          </p:cNvPicPr>
          <p:nvPr userDrawn="1"/>
        </p:nvPicPr>
        <p:blipFill>
          <a:blip r:embed="rId3"/>
          <a:stretch>
            <a:fillRect/>
          </a:stretch>
        </p:blipFill>
        <p:spPr>
          <a:xfrm>
            <a:off x="6185642" y="1019411"/>
            <a:ext cx="5374293" cy="5090553"/>
          </a:xfrm>
          <a:prstGeom prst="rect">
            <a:avLst/>
          </a:prstGeom>
        </p:spPr>
      </p:pic>
    </p:spTree>
    <p:extLst>
      <p:ext uri="{BB962C8B-B14F-4D97-AF65-F5344CB8AC3E}">
        <p14:creationId xmlns:p14="http://schemas.microsoft.com/office/powerpoint/2010/main" val="33834290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okyo Thank You!">
    <p:bg>
      <p:bgPr>
        <a:solidFill>
          <a:srgbClr val="00BCF2"/>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sp>
        <p:nvSpPr>
          <p:cNvPr id="3" name="TextBox 2"/>
          <p:cNvSpPr txBox="1"/>
          <p:nvPr userDrawn="1"/>
        </p:nvSpPr>
        <p:spPr>
          <a:xfrm>
            <a:off x="1076076" y="2852420"/>
            <a:ext cx="4213151" cy="1831739"/>
          </a:xfrm>
          <a:prstGeom prst="rect">
            <a:avLst/>
          </a:prstGeom>
          <a:noFill/>
        </p:spPr>
        <p:txBody>
          <a:bodyPr wrap="square" lIns="179285" tIns="143428" rIns="179285" bIns="143428" rtlCol="0">
            <a:spAutoFit/>
          </a:bodyPr>
          <a:lstStyle/>
          <a:p>
            <a:pPr marL="0" marR="0" lvl="0" indent="0" algn="l" defTabSz="914133" rtl="0" eaLnBrk="1" fontAlgn="auto" latinLnBrk="0" hangingPunct="1">
              <a:lnSpc>
                <a:spcPct val="90000"/>
              </a:lnSpc>
              <a:spcBef>
                <a:spcPts val="0"/>
              </a:spcBef>
              <a:spcAft>
                <a:spcPts val="588"/>
              </a:spcAft>
              <a:buClrTx/>
              <a:buSzTx/>
              <a:buFontTx/>
              <a:buNone/>
              <a:tabLst/>
              <a:defRPr/>
            </a:pPr>
            <a:r>
              <a:rPr kumimoji="0" lang="en-US" sz="5294"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914133" rtl="0" eaLnBrk="1" fontAlgn="auto" latinLnBrk="0" hangingPunct="1">
              <a:lnSpc>
                <a:spcPct val="90000"/>
              </a:lnSpc>
              <a:spcBef>
                <a:spcPts val="0"/>
              </a:spcBef>
              <a:spcAft>
                <a:spcPts val="588"/>
              </a:spcAft>
              <a:buClrTx/>
              <a:buSzTx/>
              <a:buFontTx/>
              <a:buNone/>
              <a:tabLst/>
              <a:defRPr/>
            </a:pPr>
            <a:r>
              <a:rPr kumimoji="0" lang="en-US" sz="5294"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okyo!</a:t>
            </a:r>
          </a:p>
        </p:txBody>
      </p:sp>
      <p:pic>
        <p:nvPicPr>
          <p:cNvPr id="5" name="Picture 4"/>
          <p:cNvPicPr>
            <a:picLocks noChangeAspect="1"/>
          </p:cNvPicPr>
          <p:nvPr userDrawn="1"/>
        </p:nvPicPr>
        <p:blipFill>
          <a:blip r:embed="rId3"/>
          <a:stretch>
            <a:fillRect/>
          </a:stretch>
        </p:blipFill>
        <p:spPr>
          <a:xfrm>
            <a:off x="5942768" y="746575"/>
            <a:ext cx="5531719" cy="5364851"/>
          </a:xfrm>
          <a:prstGeom prst="rect">
            <a:avLst/>
          </a:prstGeom>
        </p:spPr>
      </p:pic>
    </p:spTree>
    <p:extLst>
      <p:ext uri="{BB962C8B-B14F-4D97-AF65-F5344CB8AC3E}">
        <p14:creationId xmlns:p14="http://schemas.microsoft.com/office/powerpoint/2010/main" val="39272963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tockholm Thank You!">
    <p:bg>
      <p:bgPr>
        <a:solidFill>
          <a:srgbClr val="00BCF2"/>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sp>
        <p:nvSpPr>
          <p:cNvPr id="3" name="TextBox 2"/>
          <p:cNvSpPr txBox="1"/>
          <p:nvPr userDrawn="1"/>
        </p:nvSpPr>
        <p:spPr>
          <a:xfrm>
            <a:off x="1076076" y="2852420"/>
            <a:ext cx="4213151" cy="1831739"/>
          </a:xfrm>
          <a:prstGeom prst="rect">
            <a:avLst/>
          </a:prstGeom>
          <a:noFill/>
        </p:spPr>
        <p:txBody>
          <a:bodyPr wrap="square" lIns="179285" tIns="143428" rIns="179285" bIns="143428" rtlCol="0">
            <a:spAutoFit/>
          </a:bodyPr>
          <a:lstStyle/>
          <a:p>
            <a:pPr marL="0" marR="0" lvl="0" indent="0" algn="l" defTabSz="914133" rtl="0" eaLnBrk="1" fontAlgn="auto" latinLnBrk="0" hangingPunct="1">
              <a:lnSpc>
                <a:spcPct val="90000"/>
              </a:lnSpc>
              <a:spcBef>
                <a:spcPts val="0"/>
              </a:spcBef>
              <a:spcAft>
                <a:spcPts val="588"/>
              </a:spcAft>
              <a:buClrTx/>
              <a:buSzTx/>
              <a:buFontTx/>
              <a:buNone/>
              <a:tabLst/>
              <a:defRPr/>
            </a:pPr>
            <a:r>
              <a:rPr kumimoji="0" lang="en-US" sz="5294"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914133" rtl="0" eaLnBrk="1" fontAlgn="auto" latinLnBrk="0" hangingPunct="1">
              <a:lnSpc>
                <a:spcPct val="90000"/>
              </a:lnSpc>
              <a:spcBef>
                <a:spcPts val="0"/>
              </a:spcBef>
              <a:spcAft>
                <a:spcPts val="588"/>
              </a:spcAft>
              <a:buClrTx/>
              <a:buSzTx/>
              <a:buFontTx/>
              <a:buNone/>
              <a:tabLst/>
              <a:defRPr/>
            </a:pPr>
            <a:r>
              <a:rPr kumimoji="0" lang="en-US" sz="5294"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Stockholm!</a:t>
            </a:r>
          </a:p>
        </p:txBody>
      </p:sp>
      <p:pic>
        <p:nvPicPr>
          <p:cNvPr id="6" name="Picture 5"/>
          <p:cNvPicPr>
            <a:picLocks noChangeAspect="1"/>
          </p:cNvPicPr>
          <p:nvPr userDrawn="1"/>
        </p:nvPicPr>
        <p:blipFill>
          <a:blip r:embed="rId3"/>
          <a:stretch>
            <a:fillRect/>
          </a:stretch>
        </p:blipFill>
        <p:spPr>
          <a:xfrm>
            <a:off x="6006358" y="291102"/>
            <a:ext cx="5378490" cy="5814171"/>
          </a:xfrm>
          <a:prstGeom prst="rect">
            <a:avLst/>
          </a:prstGeom>
        </p:spPr>
      </p:pic>
    </p:spTree>
    <p:extLst>
      <p:ext uri="{BB962C8B-B14F-4D97-AF65-F5344CB8AC3E}">
        <p14:creationId xmlns:p14="http://schemas.microsoft.com/office/powerpoint/2010/main" val="24263761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el Aviv Thank You!">
    <p:bg>
      <p:bgPr>
        <a:solidFill>
          <a:srgbClr val="00BCF2"/>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sp>
        <p:nvSpPr>
          <p:cNvPr id="3" name="TextBox 2"/>
          <p:cNvSpPr txBox="1"/>
          <p:nvPr userDrawn="1"/>
        </p:nvSpPr>
        <p:spPr>
          <a:xfrm>
            <a:off x="1076076" y="2852420"/>
            <a:ext cx="4213151" cy="1831739"/>
          </a:xfrm>
          <a:prstGeom prst="rect">
            <a:avLst/>
          </a:prstGeom>
          <a:noFill/>
        </p:spPr>
        <p:txBody>
          <a:bodyPr wrap="square" lIns="179285" tIns="143428" rIns="179285" bIns="143428" rtlCol="0">
            <a:spAutoFit/>
          </a:bodyPr>
          <a:lstStyle/>
          <a:p>
            <a:pPr marL="0" marR="0" lvl="0" indent="0" algn="l" defTabSz="914133" rtl="0" eaLnBrk="1" fontAlgn="auto" latinLnBrk="0" hangingPunct="1">
              <a:lnSpc>
                <a:spcPct val="90000"/>
              </a:lnSpc>
              <a:spcBef>
                <a:spcPts val="0"/>
              </a:spcBef>
              <a:spcAft>
                <a:spcPts val="588"/>
              </a:spcAft>
              <a:buClrTx/>
              <a:buSzTx/>
              <a:buFontTx/>
              <a:buNone/>
              <a:tabLst/>
              <a:defRPr/>
            </a:pPr>
            <a:r>
              <a:rPr kumimoji="0" lang="en-US" sz="5294"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914133" rtl="0" eaLnBrk="1" fontAlgn="auto" latinLnBrk="0" hangingPunct="1">
              <a:lnSpc>
                <a:spcPct val="90000"/>
              </a:lnSpc>
              <a:spcBef>
                <a:spcPts val="0"/>
              </a:spcBef>
              <a:spcAft>
                <a:spcPts val="588"/>
              </a:spcAft>
              <a:buClrTx/>
              <a:buSzTx/>
              <a:buFontTx/>
              <a:buNone/>
              <a:tabLst/>
              <a:defRPr/>
            </a:pPr>
            <a:r>
              <a:rPr kumimoji="0" lang="en-US" sz="5294"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el Aviv!</a:t>
            </a:r>
          </a:p>
        </p:txBody>
      </p:sp>
      <p:pic>
        <p:nvPicPr>
          <p:cNvPr id="6" name="Picture 5"/>
          <p:cNvPicPr>
            <a:picLocks noChangeAspect="1"/>
          </p:cNvPicPr>
          <p:nvPr userDrawn="1"/>
        </p:nvPicPr>
        <p:blipFill>
          <a:blip r:embed="rId3"/>
          <a:stretch>
            <a:fillRect/>
          </a:stretch>
        </p:blipFill>
        <p:spPr>
          <a:xfrm>
            <a:off x="6091086" y="470067"/>
            <a:ext cx="5392953" cy="5684665"/>
          </a:xfrm>
          <a:prstGeom prst="rect">
            <a:avLst/>
          </a:prstGeom>
        </p:spPr>
      </p:pic>
    </p:spTree>
    <p:extLst>
      <p:ext uri="{BB962C8B-B14F-4D97-AF65-F5344CB8AC3E}">
        <p14:creationId xmlns:p14="http://schemas.microsoft.com/office/powerpoint/2010/main" val="17841008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Paris Thank You!">
    <p:bg>
      <p:bgPr>
        <a:solidFill>
          <a:srgbClr val="00BCF2"/>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sp>
        <p:nvSpPr>
          <p:cNvPr id="3" name="TextBox 2"/>
          <p:cNvSpPr txBox="1"/>
          <p:nvPr userDrawn="1"/>
        </p:nvSpPr>
        <p:spPr>
          <a:xfrm>
            <a:off x="1076076" y="2852420"/>
            <a:ext cx="4213151" cy="1831739"/>
          </a:xfrm>
          <a:prstGeom prst="rect">
            <a:avLst/>
          </a:prstGeom>
          <a:noFill/>
        </p:spPr>
        <p:txBody>
          <a:bodyPr wrap="square" lIns="179285" tIns="143428" rIns="179285" bIns="143428" rtlCol="0">
            <a:spAutoFit/>
          </a:bodyPr>
          <a:lstStyle/>
          <a:p>
            <a:pPr marL="0" marR="0" lvl="0" indent="0" algn="l" defTabSz="914133" rtl="0" eaLnBrk="1" fontAlgn="auto" latinLnBrk="0" hangingPunct="1">
              <a:lnSpc>
                <a:spcPct val="90000"/>
              </a:lnSpc>
              <a:spcBef>
                <a:spcPts val="0"/>
              </a:spcBef>
              <a:spcAft>
                <a:spcPts val="588"/>
              </a:spcAft>
              <a:buClrTx/>
              <a:buSzTx/>
              <a:buFontTx/>
              <a:buNone/>
              <a:tabLst/>
              <a:defRPr/>
            </a:pPr>
            <a:r>
              <a:rPr kumimoji="0" lang="en-US" sz="5294"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914133" rtl="0" eaLnBrk="1" fontAlgn="auto" latinLnBrk="0" hangingPunct="1">
              <a:lnSpc>
                <a:spcPct val="90000"/>
              </a:lnSpc>
              <a:spcBef>
                <a:spcPts val="0"/>
              </a:spcBef>
              <a:spcAft>
                <a:spcPts val="588"/>
              </a:spcAft>
              <a:buClrTx/>
              <a:buSzTx/>
              <a:buFontTx/>
              <a:buNone/>
              <a:tabLst/>
              <a:defRPr/>
            </a:pPr>
            <a:r>
              <a:rPr kumimoji="0" lang="en-US" sz="5294"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Paris!</a:t>
            </a:r>
          </a:p>
        </p:txBody>
      </p:sp>
      <p:pic>
        <p:nvPicPr>
          <p:cNvPr id="6" name="Picture 5"/>
          <p:cNvPicPr>
            <a:picLocks noChangeAspect="1"/>
          </p:cNvPicPr>
          <p:nvPr userDrawn="1"/>
        </p:nvPicPr>
        <p:blipFill>
          <a:blip r:embed="rId3"/>
          <a:stretch>
            <a:fillRect/>
          </a:stretch>
        </p:blipFill>
        <p:spPr>
          <a:xfrm>
            <a:off x="6185641" y="1078294"/>
            <a:ext cx="5334758" cy="5034317"/>
          </a:xfrm>
          <a:prstGeom prst="rect">
            <a:avLst/>
          </a:prstGeom>
        </p:spPr>
      </p:pic>
    </p:spTree>
    <p:extLst>
      <p:ext uri="{BB962C8B-B14F-4D97-AF65-F5344CB8AC3E}">
        <p14:creationId xmlns:p14="http://schemas.microsoft.com/office/powerpoint/2010/main" val="26748806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ashington, D.C. Thank You!">
    <p:bg>
      <p:bgPr>
        <a:solidFill>
          <a:srgbClr val="00BCF2"/>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sp>
        <p:nvSpPr>
          <p:cNvPr id="3" name="TextBox 2"/>
          <p:cNvSpPr txBox="1"/>
          <p:nvPr userDrawn="1"/>
        </p:nvSpPr>
        <p:spPr>
          <a:xfrm>
            <a:off x="1002280" y="1904878"/>
            <a:ext cx="5468137" cy="1831739"/>
          </a:xfrm>
          <a:prstGeom prst="rect">
            <a:avLst/>
          </a:prstGeom>
          <a:noFill/>
        </p:spPr>
        <p:txBody>
          <a:bodyPr wrap="square" lIns="179285" tIns="143428" rIns="179285" bIns="143428" rtlCol="0">
            <a:spAutoFit/>
          </a:bodyPr>
          <a:lstStyle/>
          <a:p>
            <a:pPr marL="0" marR="0" lvl="0" indent="0" algn="l" defTabSz="914133" rtl="0" eaLnBrk="1" fontAlgn="auto" latinLnBrk="0" hangingPunct="1">
              <a:lnSpc>
                <a:spcPct val="90000"/>
              </a:lnSpc>
              <a:spcBef>
                <a:spcPts val="0"/>
              </a:spcBef>
              <a:spcAft>
                <a:spcPts val="588"/>
              </a:spcAft>
              <a:buClrTx/>
              <a:buSzTx/>
              <a:buFontTx/>
              <a:buNone/>
              <a:tabLst/>
              <a:defRPr/>
            </a:pPr>
            <a:r>
              <a:rPr kumimoji="0" lang="en-US" sz="5294"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914133" rtl="0" eaLnBrk="1" fontAlgn="auto" latinLnBrk="0" hangingPunct="1">
              <a:lnSpc>
                <a:spcPct val="90000"/>
              </a:lnSpc>
              <a:spcBef>
                <a:spcPts val="0"/>
              </a:spcBef>
              <a:spcAft>
                <a:spcPts val="588"/>
              </a:spcAft>
              <a:buClrTx/>
              <a:buSzTx/>
              <a:buFontTx/>
              <a:buNone/>
              <a:tabLst/>
              <a:defRPr/>
            </a:pPr>
            <a:r>
              <a:rPr kumimoji="0" lang="en-US" sz="5294"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Washington, D.C.!</a:t>
            </a:r>
          </a:p>
        </p:txBody>
      </p:sp>
      <p:pic>
        <p:nvPicPr>
          <p:cNvPr id="6" name="Picture 5"/>
          <p:cNvPicPr>
            <a:picLocks noChangeAspect="1"/>
          </p:cNvPicPr>
          <p:nvPr userDrawn="1"/>
        </p:nvPicPr>
        <p:blipFill>
          <a:blip r:embed="rId3"/>
          <a:stretch>
            <a:fillRect/>
          </a:stretch>
        </p:blipFill>
        <p:spPr>
          <a:xfrm>
            <a:off x="6159466" y="918682"/>
            <a:ext cx="5428517" cy="5296865"/>
          </a:xfrm>
          <a:prstGeom prst="rect">
            <a:avLst/>
          </a:prstGeom>
        </p:spPr>
      </p:pic>
    </p:spTree>
    <p:extLst>
      <p:ext uri="{BB962C8B-B14F-4D97-AF65-F5344CB8AC3E}">
        <p14:creationId xmlns:p14="http://schemas.microsoft.com/office/powerpoint/2010/main" val="34846272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Atlanta Thank You!">
    <p:bg>
      <p:bgPr>
        <a:solidFill>
          <a:srgbClr val="00BCF2"/>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sp>
        <p:nvSpPr>
          <p:cNvPr id="3" name="TextBox 2"/>
          <p:cNvSpPr txBox="1"/>
          <p:nvPr userDrawn="1"/>
        </p:nvSpPr>
        <p:spPr>
          <a:xfrm>
            <a:off x="1076076" y="2852420"/>
            <a:ext cx="4213151" cy="1831739"/>
          </a:xfrm>
          <a:prstGeom prst="rect">
            <a:avLst/>
          </a:prstGeom>
          <a:noFill/>
        </p:spPr>
        <p:txBody>
          <a:bodyPr wrap="square" lIns="179285" tIns="143428" rIns="179285" bIns="143428" rtlCol="0">
            <a:spAutoFit/>
          </a:bodyPr>
          <a:lstStyle/>
          <a:p>
            <a:pPr marL="0" marR="0" lvl="0" indent="0" algn="l" defTabSz="914133" rtl="0" eaLnBrk="1" fontAlgn="auto" latinLnBrk="0" hangingPunct="1">
              <a:lnSpc>
                <a:spcPct val="90000"/>
              </a:lnSpc>
              <a:spcBef>
                <a:spcPts val="0"/>
              </a:spcBef>
              <a:spcAft>
                <a:spcPts val="588"/>
              </a:spcAft>
              <a:buClrTx/>
              <a:buSzTx/>
              <a:buFontTx/>
              <a:buNone/>
              <a:tabLst/>
              <a:defRPr/>
            </a:pPr>
            <a:r>
              <a:rPr kumimoji="0" lang="en-US" sz="5294"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914133" rtl="0" eaLnBrk="1" fontAlgn="auto" latinLnBrk="0" hangingPunct="1">
              <a:lnSpc>
                <a:spcPct val="90000"/>
              </a:lnSpc>
              <a:spcBef>
                <a:spcPts val="0"/>
              </a:spcBef>
              <a:spcAft>
                <a:spcPts val="588"/>
              </a:spcAft>
              <a:buClrTx/>
              <a:buSzTx/>
              <a:buFontTx/>
              <a:buNone/>
              <a:tabLst/>
              <a:defRPr/>
            </a:pPr>
            <a:r>
              <a:rPr kumimoji="0" lang="en-US" sz="5294"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Atlanta!</a:t>
            </a:r>
          </a:p>
        </p:txBody>
      </p:sp>
      <p:pic>
        <p:nvPicPr>
          <p:cNvPr id="6" name="Picture 5"/>
          <p:cNvPicPr>
            <a:picLocks noChangeAspect="1"/>
          </p:cNvPicPr>
          <p:nvPr userDrawn="1"/>
        </p:nvPicPr>
        <p:blipFill>
          <a:blip r:embed="rId3"/>
          <a:stretch>
            <a:fillRect/>
          </a:stretch>
        </p:blipFill>
        <p:spPr>
          <a:xfrm>
            <a:off x="5892597" y="829027"/>
            <a:ext cx="5582266" cy="5283584"/>
          </a:xfrm>
          <a:prstGeom prst="rect">
            <a:avLst/>
          </a:prstGeom>
        </p:spPr>
      </p:pic>
    </p:spTree>
    <p:extLst>
      <p:ext uri="{BB962C8B-B14F-4D97-AF65-F5344CB8AC3E}">
        <p14:creationId xmlns:p14="http://schemas.microsoft.com/office/powerpoint/2010/main" val="5104995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33.xml"/><Relationship Id="rId13" Type="http://schemas.openxmlformats.org/officeDocument/2006/relationships/slideLayout" Target="../slideLayouts/slideLayout238.xml"/><Relationship Id="rId18" Type="http://schemas.openxmlformats.org/officeDocument/2006/relationships/slideLayout" Target="../slideLayouts/slideLayout243.xml"/><Relationship Id="rId3" Type="http://schemas.openxmlformats.org/officeDocument/2006/relationships/slideLayout" Target="../slideLayouts/slideLayout228.xml"/><Relationship Id="rId7" Type="http://schemas.openxmlformats.org/officeDocument/2006/relationships/slideLayout" Target="../slideLayouts/slideLayout232.xml"/><Relationship Id="rId12" Type="http://schemas.openxmlformats.org/officeDocument/2006/relationships/slideLayout" Target="../slideLayouts/slideLayout237.xml"/><Relationship Id="rId17" Type="http://schemas.openxmlformats.org/officeDocument/2006/relationships/slideLayout" Target="../slideLayouts/slideLayout242.xml"/><Relationship Id="rId2" Type="http://schemas.openxmlformats.org/officeDocument/2006/relationships/slideLayout" Target="../slideLayouts/slideLayout227.xml"/><Relationship Id="rId16" Type="http://schemas.openxmlformats.org/officeDocument/2006/relationships/slideLayout" Target="../slideLayouts/slideLayout241.xml"/><Relationship Id="rId20" Type="http://schemas.openxmlformats.org/officeDocument/2006/relationships/theme" Target="../theme/theme10.xml"/><Relationship Id="rId1" Type="http://schemas.openxmlformats.org/officeDocument/2006/relationships/slideLayout" Target="../slideLayouts/slideLayout226.xml"/><Relationship Id="rId6" Type="http://schemas.openxmlformats.org/officeDocument/2006/relationships/slideLayout" Target="../slideLayouts/slideLayout231.xml"/><Relationship Id="rId11" Type="http://schemas.openxmlformats.org/officeDocument/2006/relationships/slideLayout" Target="../slideLayouts/slideLayout236.xml"/><Relationship Id="rId5" Type="http://schemas.openxmlformats.org/officeDocument/2006/relationships/slideLayout" Target="../slideLayouts/slideLayout230.xml"/><Relationship Id="rId15" Type="http://schemas.openxmlformats.org/officeDocument/2006/relationships/slideLayout" Target="../slideLayouts/slideLayout240.xml"/><Relationship Id="rId10" Type="http://schemas.openxmlformats.org/officeDocument/2006/relationships/slideLayout" Target="../slideLayouts/slideLayout235.xml"/><Relationship Id="rId19" Type="http://schemas.openxmlformats.org/officeDocument/2006/relationships/slideLayout" Target="../slideLayouts/slideLayout244.xml"/><Relationship Id="rId4" Type="http://schemas.openxmlformats.org/officeDocument/2006/relationships/slideLayout" Target="../slideLayouts/slideLayout229.xml"/><Relationship Id="rId9" Type="http://schemas.openxmlformats.org/officeDocument/2006/relationships/slideLayout" Target="../slideLayouts/slideLayout234.xml"/><Relationship Id="rId14" Type="http://schemas.openxmlformats.org/officeDocument/2006/relationships/slideLayout" Target="../slideLayouts/slideLayout239.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52.xml"/><Relationship Id="rId13" Type="http://schemas.openxmlformats.org/officeDocument/2006/relationships/slideLayout" Target="../slideLayouts/slideLayout257.xml"/><Relationship Id="rId18" Type="http://schemas.openxmlformats.org/officeDocument/2006/relationships/slideLayout" Target="../slideLayouts/slideLayout262.xml"/><Relationship Id="rId26" Type="http://schemas.openxmlformats.org/officeDocument/2006/relationships/slideLayout" Target="../slideLayouts/slideLayout270.xml"/><Relationship Id="rId39" Type="http://schemas.openxmlformats.org/officeDocument/2006/relationships/slideLayout" Target="../slideLayouts/slideLayout283.xml"/><Relationship Id="rId3" Type="http://schemas.openxmlformats.org/officeDocument/2006/relationships/slideLayout" Target="../slideLayouts/slideLayout247.xml"/><Relationship Id="rId21" Type="http://schemas.openxmlformats.org/officeDocument/2006/relationships/slideLayout" Target="../slideLayouts/slideLayout265.xml"/><Relationship Id="rId34" Type="http://schemas.openxmlformats.org/officeDocument/2006/relationships/slideLayout" Target="../slideLayouts/slideLayout278.xml"/><Relationship Id="rId42" Type="http://schemas.openxmlformats.org/officeDocument/2006/relationships/slideLayout" Target="../slideLayouts/slideLayout286.xml"/><Relationship Id="rId47" Type="http://schemas.openxmlformats.org/officeDocument/2006/relationships/image" Target="../media/image48.png"/><Relationship Id="rId7" Type="http://schemas.openxmlformats.org/officeDocument/2006/relationships/slideLayout" Target="../slideLayouts/slideLayout251.xml"/><Relationship Id="rId12" Type="http://schemas.openxmlformats.org/officeDocument/2006/relationships/slideLayout" Target="../slideLayouts/slideLayout256.xml"/><Relationship Id="rId17" Type="http://schemas.openxmlformats.org/officeDocument/2006/relationships/slideLayout" Target="../slideLayouts/slideLayout261.xml"/><Relationship Id="rId25" Type="http://schemas.openxmlformats.org/officeDocument/2006/relationships/slideLayout" Target="../slideLayouts/slideLayout269.xml"/><Relationship Id="rId33" Type="http://schemas.openxmlformats.org/officeDocument/2006/relationships/slideLayout" Target="../slideLayouts/slideLayout277.xml"/><Relationship Id="rId38" Type="http://schemas.openxmlformats.org/officeDocument/2006/relationships/slideLayout" Target="../slideLayouts/slideLayout282.xml"/><Relationship Id="rId46" Type="http://schemas.openxmlformats.org/officeDocument/2006/relationships/theme" Target="../theme/theme11.xml"/><Relationship Id="rId2" Type="http://schemas.openxmlformats.org/officeDocument/2006/relationships/slideLayout" Target="../slideLayouts/slideLayout246.xml"/><Relationship Id="rId16" Type="http://schemas.openxmlformats.org/officeDocument/2006/relationships/slideLayout" Target="../slideLayouts/slideLayout260.xml"/><Relationship Id="rId20" Type="http://schemas.openxmlformats.org/officeDocument/2006/relationships/slideLayout" Target="../slideLayouts/slideLayout264.xml"/><Relationship Id="rId29" Type="http://schemas.openxmlformats.org/officeDocument/2006/relationships/slideLayout" Target="../slideLayouts/slideLayout273.xml"/><Relationship Id="rId41" Type="http://schemas.openxmlformats.org/officeDocument/2006/relationships/slideLayout" Target="../slideLayouts/slideLayout285.xml"/><Relationship Id="rId1" Type="http://schemas.openxmlformats.org/officeDocument/2006/relationships/slideLayout" Target="../slideLayouts/slideLayout245.xml"/><Relationship Id="rId6" Type="http://schemas.openxmlformats.org/officeDocument/2006/relationships/slideLayout" Target="../slideLayouts/slideLayout250.xml"/><Relationship Id="rId11" Type="http://schemas.openxmlformats.org/officeDocument/2006/relationships/slideLayout" Target="../slideLayouts/slideLayout255.xml"/><Relationship Id="rId24" Type="http://schemas.openxmlformats.org/officeDocument/2006/relationships/slideLayout" Target="../slideLayouts/slideLayout268.xml"/><Relationship Id="rId32" Type="http://schemas.openxmlformats.org/officeDocument/2006/relationships/slideLayout" Target="../slideLayouts/slideLayout276.xml"/><Relationship Id="rId37" Type="http://schemas.openxmlformats.org/officeDocument/2006/relationships/slideLayout" Target="../slideLayouts/slideLayout281.xml"/><Relationship Id="rId40" Type="http://schemas.openxmlformats.org/officeDocument/2006/relationships/slideLayout" Target="../slideLayouts/slideLayout284.xml"/><Relationship Id="rId45" Type="http://schemas.openxmlformats.org/officeDocument/2006/relationships/slideLayout" Target="../slideLayouts/slideLayout289.xml"/><Relationship Id="rId5" Type="http://schemas.openxmlformats.org/officeDocument/2006/relationships/slideLayout" Target="../slideLayouts/slideLayout249.xml"/><Relationship Id="rId15" Type="http://schemas.openxmlformats.org/officeDocument/2006/relationships/slideLayout" Target="../slideLayouts/slideLayout259.xml"/><Relationship Id="rId23" Type="http://schemas.openxmlformats.org/officeDocument/2006/relationships/slideLayout" Target="../slideLayouts/slideLayout267.xml"/><Relationship Id="rId28" Type="http://schemas.openxmlformats.org/officeDocument/2006/relationships/slideLayout" Target="../slideLayouts/slideLayout272.xml"/><Relationship Id="rId36" Type="http://schemas.openxmlformats.org/officeDocument/2006/relationships/slideLayout" Target="../slideLayouts/slideLayout280.xml"/><Relationship Id="rId10" Type="http://schemas.openxmlformats.org/officeDocument/2006/relationships/slideLayout" Target="../slideLayouts/slideLayout254.xml"/><Relationship Id="rId19" Type="http://schemas.openxmlformats.org/officeDocument/2006/relationships/slideLayout" Target="../slideLayouts/slideLayout263.xml"/><Relationship Id="rId31" Type="http://schemas.openxmlformats.org/officeDocument/2006/relationships/slideLayout" Target="../slideLayouts/slideLayout275.xml"/><Relationship Id="rId44" Type="http://schemas.openxmlformats.org/officeDocument/2006/relationships/slideLayout" Target="../slideLayouts/slideLayout288.xml"/><Relationship Id="rId4" Type="http://schemas.openxmlformats.org/officeDocument/2006/relationships/slideLayout" Target="../slideLayouts/slideLayout248.xml"/><Relationship Id="rId9" Type="http://schemas.openxmlformats.org/officeDocument/2006/relationships/slideLayout" Target="../slideLayouts/slideLayout253.xml"/><Relationship Id="rId14" Type="http://schemas.openxmlformats.org/officeDocument/2006/relationships/slideLayout" Target="../slideLayouts/slideLayout258.xml"/><Relationship Id="rId22" Type="http://schemas.openxmlformats.org/officeDocument/2006/relationships/slideLayout" Target="../slideLayouts/slideLayout266.xml"/><Relationship Id="rId27" Type="http://schemas.openxmlformats.org/officeDocument/2006/relationships/slideLayout" Target="../slideLayouts/slideLayout271.xml"/><Relationship Id="rId30" Type="http://schemas.openxmlformats.org/officeDocument/2006/relationships/slideLayout" Target="../slideLayouts/slideLayout274.xml"/><Relationship Id="rId35" Type="http://schemas.openxmlformats.org/officeDocument/2006/relationships/slideLayout" Target="../slideLayouts/slideLayout279.xml"/><Relationship Id="rId43" Type="http://schemas.openxmlformats.org/officeDocument/2006/relationships/slideLayout" Target="../slideLayouts/slideLayout287.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97.xml"/><Relationship Id="rId13" Type="http://schemas.openxmlformats.org/officeDocument/2006/relationships/slideLayout" Target="../slideLayouts/slideLayout302.xml"/><Relationship Id="rId3" Type="http://schemas.openxmlformats.org/officeDocument/2006/relationships/slideLayout" Target="../slideLayouts/slideLayout292.xml"/><Relationship Id="rId7" Type="http://schemas.openxmlformats.org/officeDocument/2006/relationships/slideLayout" Target="../slideLayouts/slideLayout296.xml"/><Relationship Id="rId12" Type="http://schemas.openxmlformats.org/officeDocument/2006/relationships/slideLayout" Target="../slideLayouts/slideLayout301.xml"/><Relationship Id="rId2" Type="http://schemas.openxmlformats.org/officeDocument/2006/relationships/slideLayout" Target="../slideLayouts/slideLayout291.xml"/><Relationship Id="rId16" Type="http://schemas.openxmlformats.org/officeDocument/2006/relationships/theme" Target="../theme/theme12.xml"/><Relationship Id="rId1" Type="http://schemas.openxmlformats.org/officeDocument/2006/relationships/slideLayout" Target="../slideLayouts/slideLayout290.xml"/><Relationship Id="rId6" Type="http://schemas.openxmlformats.org/officeDocument/2006/relationships/slideLayout" Target="../slideLayouts/slideLayout295.xml"/><Relationship Id="rId11" Type="http://schemas.openxmlformats.org/officeDocument/2006/relationships/slideLayout" Target="../slideLayouts/slideLayout300.xml"/><Relationship Id="rId5" Type="http://schemas.openxmlformats.org/officeDocument/2006/relationships/slideLayout" Target="../slideLayouts/slideLayout294.xml"/><Relationship Id="rId15" Type="http://schemas.openxmlformats.org/officeDocument/2006/relationships/slideLayout" Target="../slideLayouts/slideLayout304.xml"/><Relationship Id="rId10" Type="http://schemas.openxmlformats.org/officeDocument/2006/relationships/slideLayout" Target="../slideLayouts/slideLayout299.xml"/><Relationship Id="rId4" Type="http://schemas.openxmlformats.org/officeDocument/2006/relationships/slideLayout" Target="../slideLayouts/slideLayout293.xml"/><Relationship Id="rId9" Type="http://schemas.openxmlformats.org/officeDocument/2006/relationships/slideLayout" Target="../slideLayouts/slideLayout298.xml"/><Relationship Id="rId14" Type="http://schemas.openxmlformats.org/officeDocument/2006/relationships/slideLayout" Target="../slideLayouts/slideLayout303.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12.xml"/><Relationship Id="rId13" Type="http://schemas.openxmlformats.org/officeDocument/2006/relationships/slideLayout" Target="../slideLayouts/slideLayout317.xml"/><Relationship Id="rId18" Type="http://schemas.openxmlformats.org/officeDocument/2006/relationships/slideLayout" Target="../slideLayouts/slideLayout322.xml"/><Relationship Id="rId26" Type="http://schemas.openxmlformats.org/officeDocument/2006/relationships/image" Target="../media/image5.png"/><Relationship Id="rId3" Type="http://schemas.openxmlformats.org/officeDocument/2006/relationships/slideLayout" Target="../slideLayouts/slideLayout307.xml"/><Relationship Id="rId21" Type="http://schemas.openxmlformats.org/officeDocument/2006/relationships/slideLayout" Target="../slideLayouts/slideLayout325.xml"/><Relationship Id="rId7" Type="http://schemas.openxmlformats.org/officeDocument/2006/relationships/slideLayout" Target="../slideLayouts/slideLayout311.xml"/><Relationship Id="rId12" Type="http://schemas.openxmlformats.org/officeDocument/2006/relationships/slideLayout" Target="../slideLayouts/slideLayout316.xml"/><Relationship Id="rId17" Type="http://schemas.openxmlformats.org/officeDocument/2006/relationships/slideLayout" Target="../slideLayouts/slideLayout321.xml"/><Relationship Id="rId25" Type="http://schemas.openxmlformats.org/officeDocument/2006/relationships/theme" Target="../theme/theme13.xml"/><Relationship Id="rId2" Type="http://schemas.openxmlformats.org/officeDocument/2006/relationships/slideLayout" Target="../slideLayouts/slideLayout306.xml"/><Relationship Id="rId16" Type="http://schemas.openxmlformats.org/officeDocument/2006/relationships/slideLayout" Target="../slideLayouts/slideLayout320.xml"/><Relationship Id="rId20" Type="http://schemas.openxmlformats.org/officeDocument/2006/relationships/slideLayout" Target="../slideLayouts/slideLayout324.xml"/><Relationship Id="rId1" Type="http://schemas.openxmlformats.org/officeDocument/2006/relationships/slideLayout" Target="../slideLayouts/slideLayout305.xml"/><Relationship Id="rId6" Type="http://schemas.openxmlformats.org/officeDocument/2006/relationships/slideLayout" Target="../slideLayouts/slideLayout310.xml"/><Relationship Id="rId11" Type="http://schemas.openxmlformats.org/officeDocument/2006/relationships/slideLayout" Target="../slideLayouts/slideLayout315.xml"/><Relationship Id="rId24" Type="http://schemas.openxmlformats.org/officeDocument/2006/relationships/slideLayout" Target="../slideLayouts/slideLayout328.xml"/><Relationship Id="rId5" Type="http://schemas.openxmlformats.org/officeDocument/2006/relationships/slideLayout" Target="../slideLayouts/slideLayout309.xml"/><Relationship Id="rId15" Type="http://schemas.openxmlformats.org/officeDocument/2006/relationships/slideLayout" Target="../slideLayouts/slideLayout319.xml"/><Relationship Id="rId23" Type="http://schemas.openxmlformats.org/officeDocument/2006/relationships/slideLayout" Target="../slideLayouts/slideLayout327.xml"/><Relationship Id="rId10" Type="http://schemas.openxmlformats.org/officeDocument/2006/relationships/slideLayout" Target="../slideLayouts/slideLayout314.xml"/><Relationship Id="rId19" Type="http://schemas.openxmlformats.org/officeDocument/2006/relationships/slideLayout" Target="../slideLayouts/slideLayout323.xml"/><Relationship Id="rId4" Type="http://schemas.openxmlformats.org/officeDocument/2006/relationships/slideLayout" Target="../slideLayouts/slideLayout308.xml"/><Relationship Id="rId9" Type="http://schemas.openxmlformats.org/officeDocument/2006/relationships/slideLayout" Target="../slideLayouts/slideLayout313.xml"/><Relationship Id="rId14" Type="http://schemas.openxmlformats.org/officeDocument/2006/relationships/slideLayout" Target="../slideLayouts/slideLayout318.xml"/><Relationship Id="rId22" Type="http://schemas.openxmlformats.org/officeDocument/2006/relationships/slideLayout" Target="../slideLayouts/slideLayout326.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36.xml"/><Relationship Id="rId13" Type="http://schemas.openxmlformats.org/officeDocument/2006/relationships/slideLayout" Target="../slideLayouts/slideLayout341.xml"/><Relationship Id="rId18" Type="http://schemas.openxmlformats.org/officeDocument/2006/relationships/slideLayout" Target="../slideLayouts/slideLayout346.xml"/><Relationship Id="rId3" Type="http://schemas.openxmlformats.org/officeDocument/2006/relationships/slideLayout" Target="../slideLayouts/slideLayout331.xml"/><Relationship Id="rId21" Type="http://schemas.openxmlformats.org/officeDocument/2006/relationships/slideLayout" Target="../slideLayouts/slideLayout349.xml"/><Relationship Id="rId7" Type="http://schemas.openxmlformats.org/officeDocument/2006/relationships/slideLayout" Target="../slideLayouts/slideLayout335.xml"/><Relationship Id="rId12" Type="http://schemas.openxmlformats.org/officeDocument/2006/relationships/slideLayout" Target="../slideLayouts/slideLayout340.xml"/><Relationship Id="rId17" Type="http://schemas.openxmlformats.org/officeDocument/2006/relationships/slideLayout" Target="../slideLayouts/slideLayout345.xml"/><Relationship Id="rId2" Type="http://schemas.openxmlformats.org/officeDocument/2006/relationships/slideLayout" Target="../slideLayouts/slideLayout330.xml"/><Relationship Id="rId16" Type="http://schemas.openxmlformats.org/officeDocument/2006/relationships/slideLayout" Target="../slideLayouts/slideLayout344.xml"/><Relationship Id="rId20" Type="http://schemas.openxmlformats.org/officeDocument/2006/relationships/slideLayout" Target="../slideLayouts/slideLayout348.xml"/><Relationship Id="rId1" Type="http://schemas.openxmlformats.org/officeDocument/2006/relationships/slideLayout" Target="../slideLayouts/slideLayout329.xml"/><Relationship Id="rId6" Type="http://schemas.openxmlformats.org/officeDocument/2006/relationships/slideLayout" Target="../slideLayouts/slideLayout334.xml"/><Relationship Id="rId11" Type="http://schemas.openxmlformats.org/officeDocument/2006/relationships/slideLayout" Target="../slideLayouts/slideLayout339.xml"/><Relationship Id="rId5" Type="http://schemas.openxmlformats.org/officeDocument/2006/relationships/slideLayout" Target="../slideLayouts/slideLayout333.xml"/><Relationship Id="rId15" Type="http://schemas.openxmlformats.org/officeDocument/2006/relationships/slideLayout" Target="../slideLayouts/slideLayout343.xml"/><Relationship Id="rId23" Type="http://schemas.openxmlformats.org/officeDocument/2006/relationships/theme" Target="../theme/theme14.xml"/><Relationship Id="rId10" Type="http://schemas.openxmlformats.org/officeDocument/2006/relationships/slideLayout" Target="../slideLayouts/slideLayout338.xml"/><Relationship Id="rId19" Type="http://schemas.openxmlformats.org/officeDocument/2006/relationships/slideLayout" Target="../slideLayouts/slideLayout347.xml"/><Relationship Id="rId4" Type="http://schemas.openxmlformats.org/officeDocument/2006/relationships/slideLayout" Target="../slideLayouts/slideLayout332.xml"/><Relationship Id="rId9" Type="http://schemas.openxmlformats.org/officeDocument/2006/relationships/slideLayout" Target="../slideLayouts/slideLayout337.xml"/><Relationship Id="rId14" Type="http://schemas.openxmlformats.org/officeDocument/2006/relationships/slideLayout" Target="../slideLayouts/slideLayout342.xml"/><Relationship Id="rId22" Type="http://schemas.openxmlformats.org/officeDocument/2006/relationships/slideLayout" Target="../slideLayouts/slideLayout350.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58.xml"/><Relationship Id="rId13" Type="http://schemas.openxmlformats.org/officeDocument/2006/relationships/slideLayout" Target="../slideLayouts/slideLayout363.xml"/><Relationship Id="rId18" Type="http://schemas.openxmlformats.org/officeDocument/2006/relationships/slideLayout" Target="../slideLayouts/slideLayout368.xml"/><Relationship Id="rId3" Type="http://schemas.openxmlformats.org/officeDocument/2006/relationships/slideLayout" Target="../slideLayouts/slideLayout353.xml"/><Relationship Id="rId21" Type="http://schemas.openxmlformats.org/officeDocument/2006/relationships/theme" Target="../theme/theme15.xml"/><Relationship Id="rId7" Type="http://schemas.openxmlformats.org/officeDocument/2006/relationships/slideLayout" Target="../slideLayouts/slideLayout357.xml"/><Relationship Id="rId12" Type="http://schemas.openxmlformats.org/officeDocument/2006/relationships/slideLayout" Target="../slideLayouts/slideLayout362.xml"/><Relationship Id="rId17" Type="http://schemas.openxmlformats.org/officeDocument/2006/relationships/slideLayout" Target="../slideLayouts/slideLayout367.xml"/><Relationship Id="rId2" Type="http://schemas.openxmlformats.org/officeDocument/2006/relationships/slideLayout" Target="../slideLayouts/slideLayout352.xml"/><Relationship Id="rId16" Type="http://schemas.openxmlformats.org/officeDocument/2006/relationships/slideLayout" Target="../slideLayouts/slideLayout366.xml"/><Relationship Id="rId20" Type="http://schemas.openxmlformats.org/officeDocument/2006/relationships/slideLayout" Target="../slideLayouts/slideLayout370.xml"/><Relationship Id="rId1" Type="http://schemas.openxmlformats.org/officeDocument/2006/relationships/slideLayout" Target="../slideLayouts/slideLayout351.xml"/><Relationship Id="rId6" Type="http://schemas.openxmlformats.org/officeDocument/2006/relationships/slideLayout" Target="../slideLayouts/slideLayout356.xml"/><Relationship Id="rId11" Type="http://schemas.openxmlformats.org/officeDocument/2006/relationships/slideLayout" Target="../slideLayouts/slideLayout361.xml"/><Relationship Id="rId5" Type="http://schemas.openxmlformats.org/officeDocument/2006/relationships/slideLayout" Target="../slideLayouts/slideLayout355.xml"/><Relationship Id="rId15" Type="http://schemas.openxmlformats.org/officeDocument/2006/relationships/slideLayout" Target="../slideLayouts/slideLayout365.xml"/><Relationship Id="rId10" Type="http://schemas.openxmlformats.org/officeDocument/2006/relationships/slideLayout" Target="../slideLayouts/slideLayout360.xml"/><Relationship Id="rId19" Type="http://schemas.openxmlformats.org/officeDocument/2006/relationships/slideLayout" Target="../slideLayouts/slideLayout369.xml"/><Relationship Id="rId4" Type="http://schemas.openxmlformats.org/officeDocument/2006/relationships/slideLayout" Target="../slideLayouts/slideLayout354.xml"/><Relationship Id="rId9" Type="http://schemas.openxmlformats.org/officeDocument/2006/relationships/slideLayout" Target="../slideLayouts/slideLayout359.xml"/><Relationship Id="rId14" Type="http://schemas.openxmlformats.org/officeDocument/2006/relationships/slideLayout" Target="../slideLayouts/slideLayout364.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78.xml"/><Relationship Id="rId3" Type="http://schemas.openxmlformats.org/officeDocument/2006/relationships/slideLayout" Target="../slideLayouts/slideLayout373.xml"/><Relationship Id="rId7" Type="http://schemas.openxmlformats.org/officeDocument/2006/relationships/slideLayout" Target="../slideLayouts/slideLayout377.xml"/><Relationship Id="rId12" Type="http://schemas.openxmlformats.org/officeDocument/2006/relationships/theme" Target="../theme/theme16.xml"/><Relationship Id="rId2" Type="http://schemas.openxmlformats.org/officeDocument/2006/relationships/slideLayout" Target="../slideLayouts/slideLayout372.xml"/><Relationship Id="rId1" Type="http://schemas.openxmlformats.org/officeDocument/2006/relationships/slideLayout" Target="../slideLayouts/slideLayout371.xml"/><Relationship Id="rId6" Type="http://schemas.openxmlformats.org/officeDocument/2006/relationships/slideLayout" Target="../slideLayouts/slideLayout376.xml"/><Relationship Id="rId11" Type="http://schemas.openxmlformats.org/officeDocument/2006/relationships/slideLayout" Target="../slideLayouts/slideLayout381.xml"/><Relationship Id="rId5" Type="http://schemas.openxmlformats.org/officeDocument/2006/relationships/slideLayout" Target="../slideLayouts/slideLayout375.xml"/><Relationship Id="rId10" Type="http://schemas.openxmlformats.org/officeDocument/2006/relationships/slideLayout" Target="../slideLayouts/slideLayout380.xml"/><Relationship Id="rId4" Type="http://schemas.openxmlformats.org/officeDocument/2006/relationships/slideLayout" Target="../slideLayouts/slideLayout374.xml"/><Relationship Id="rId9" Type="http://schemas.openxmlformats.org/officeDocument/2006/relationships/slideLayout" Target="../slideLayouts/slideLayout379.xml"/></Relationships>
</file>

<file path=ppt/slideMasters/_rels/slideMaster17.xml.rels><?xml version="1.0" encoding="UTF-8" standalone="yes"?>
<Relationships xmlns="http://schemas.openxmlformats.org/package/2006/relationships"><Relationship Id="rId3" Type="http://schemas.openxmlformats.org/officeDocument/2006/relationships/slideLayout" Target="../slideLayouts/slideLayout384.xml"/><Relationship Id="rId2" Type="http://schemas.openxmlformats.org/officeDocument/2006/relationships/slideLayout" Target="../slideLayouts/slideLayout383.xml"/><Relationship Id="rId1" Type="http://schemas.openxmlformats.org/officeDocument/2006/relationships/slideLayout" Target="../slideLayouts/slideLayout382.xml"/><Relationship Id="rId4"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92.xml"/><Relationship Id="rId3" Type="http://schemas.openxmlformats.org/officeDocument/2006/relationships/slideLayout" Target="../slideLayouts/slideLayout387.xml"/><Relationship Id="rId7" Type="http://schemas.openxmlformats.org/officeDocument/2006/relationships/slideLayout" Target="../slideLayouts/slideLayout391.xml"/><Relationship Id="rId12" Type="http://schemas.openxmlformats.org/officeDocument/2006/relationships/theme" Target="../theme/theme18.xml"/><Relationship Id="rId2" Type="http://schemas.openxmlformats.org/officeDocument/2006/relationships/slideLayout" Target="../slideLayouts/slideLayout386.xml"/><Relationship Id="rId1" Type="http://schemas.openxmlformats.org/officeDocument/2006/relationships/slideLayout" Target="../slideLayouts/slideLayout385.xml"/><Relationship Id="rId6" Type="http://schemas.openxmlformats.org/officeDocument/2006/relationships/slideLayout" Target="../slideLayouts/slideLayout390.xml"/><Relationship Id="rId11" Type="http://schemas.openxmlformats.org/officeDocument/2006/relationships/slideLayout" Target="../slideLayouts/slideLayout395.xml"/><Relationship Id="rId5" Type="http://schemas.openxmlformats.org/officeDocument/2006/relationships/slideLayout" Target="../slideLayouts/slideLayout389.xml"/><Relationship Id="rId10" Type="http://schemas.openxmlformats.org/officeDocument/2006/relationships/slideLayout" Target="../slideLayouts/slideLayout394.xml"/><Relationship Id="rId4" Type="http://schemas.openxmlformats.org/officeDocument/2006/relationships/slideLayout" Target="../slideLayouts/slideLayout388.xml"/><Relationship Id="rId9" Type="http://schemas.openxmlformats.org/officeDocument/2006/relationships/slideLayout" Target="../slideLayouts/slideLayout393.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03.xml"/><Relationship Id="rId13" Type="http://schemas.openxmlformats.org/officeDocument/2006/relationships/slideLayout" Target="../slideLayouts/slideLayout408.xml"/><Relationship Id="rId18" Type="http://schemas.openxmlformats.org/officeDocument/2006/relationships/slideLayout" Target="../slideLayouts/slideLayout413.xml"/><Relationship Id="rId26" Type="http://schemas.openxmlformats.org/officeDocument/2006/relationships/slideLayout" Target="../slideLayouts/slideLayout421.xml"/><Relationship Id="rId3" Type="http://schemas.openxmlformats.org/officeDocument/2006/relationships/slideLayout" Target="../slideLayouts/slideLayout398.xml"/><Relationship Id="rId21" Type="http://schemas.openxmlformats.org/officeDocument/2006/relationships/slideLayout" Target="../slideLayouts/slideLayout416.xml"/><Relationship Id="rId7" Type="http://schemas.openxmlformats.org/officeDocument/2006/relationships/slideLayout" Target="../slideLayouts/slideLayout402.xml"/><Relationship Id="rId12" Type="http://schemas.openxmlformats.org/officeDocument/2006/relationships/slideLayout" Target="../slideLayouts/slideLayout407.xml"/><Relationship Id="rId17" Type="http://schemas.openxmlformats.org/officeDocument/2006/relationships/slideLayout" Target="../slideLayouts/slideLayout412.xml"/><Relationship Id="rId25" Type="http://schemas.openxmlformats.org/officeDocument/2006/relationships/slideLayout" Target="../slideLayouts/slideLayout420.xml"/><Relationship Id="rId2" Type="http://schemas.openxmlformats.org/officeDocument/2006/relationships/slideLayout" Target="../slideLayouts/slideLayout397.xml"/><Relationship Id="rId16" Type="http://schemas.openxmlformats.org/officeDocument/2006/relationships/slideLayout" Target="../slideLayouts/slideLayout411.xml"/><Relationship Id="rId20" Type="http://schemas.openxmlformats.org/officeDocument/2006/relationships/slideLayout" Target="../slideLayouts/slideLayout415.xml"/><Relationship Id="rId1" Type="http://schemas.openxmlformats.org/officeDocument/2006/relationships/slideLayout" Target="../slideLayouts/slideLayout396.xml"/><Relationship Id="rId6" Type="http://schemas.openxmlformats.org/officeDocument/2006/relationships/slideLayout" Target="../slideLayouts/slideLayout401.xml"/><Relationship Id="rId11" Type="http://schemas.openxmlformats.org/officeDocument/2006/relationships/slideLayout" Target="../slideLayouts/slideLayout406.xml"/><Relationship Id="rId24" Type="http://schemas.openxmlformats.org/officeDocument/2006/relationships/slideLayout" Target="../slideLayouts/slideLayout419.xml"/><Relationship Id="rId5" Type="http://schemas.openxmlformats.org/officeDocument/2006/relationships/slideLayout" Target="../slideLayouts/slideLayout400.xml"/><Relationship Id="rId15" Type="http://schemas.openxmlformats.org/officeDocument/2006/relationships/slideLayout" Target="../slideLayouts/slideLayout410.xml"/><Relationship Id="rId23" Type="http://schemas.openxmlformats.org/officeDocument/2006/relationships/slideLayout" Target="../slideLayouts/slideLayout418.xml"/><Relationship Id="rId28" Type="http://schemas.openxmlformats.org/officeDocument/2006/relationships/image" Target="../media/image87.png"/><Relationship Id="rId10" Type="http://schemas.openxmlformats.org/officeDocument/2006/relationships/slideLayout" Target="../slideLayouts/slideLayout405.xml"/><Relationship Id="rId19" Type="http://schemas.openxmlformats.org/officeDocument/2006/relationships/slideLayout" Target="../slideLayouts/slideLayout414.xml"/><Relationship Id="rId4" Type="http://schemas.openxmlformats.org/officeDocument/2006/relationships/slideLayout" Target="../slideLayouts/slideLayout399.xml"/><Relationship Id="rId9" Type="http://schemas.openxmlformats.org/officeDocument/2006/relationships/slideLayout" Target="../slideLayouts/slideLayout404.xml"/><Relationship Id="rId14" Type="http://schemas.openxmlformats.org/officeDocument/2006/relationships/slideLayout" Target="../slideLayouts/slideLayout409.xml"/><Relationship Id="rId22" Type="http://schemas.openxmlformats.org/officeDocument/2006/relationships/slideLayout" Target="../slideLayouts/slideLayout417.xml"/><Relationship Id="rId27"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theme" Target="../theme/theme2.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29.xml"/><Relationship Id="rId13" Type="http://schemas.openxmlformats.org/officeDocument/2006/relationships/slideLayout" Target="../slideLayouts/slideLayout434.xml"/><Relationship Id="rId18" Type="http://schemas.openxmlformats.org/officeDocument/2006/relationships/slideLayout" Target="../slideLayouts/slideLayout439.xml"/><Relationship Id="rId3" Type="http://schemas.openxmlformats.org/officeDocument/2006/relationships/slideLayout" Target="../slideLayouts/slideLayout424.xml"/><Relationship Id="rId21" Type="http://schemas.openxmlformats.org/officeDocument/2006/relationships/slideLayout" Target="../slideLayouts/slideLayout442.xml"/><Relationship Id="rId7" Type="http://schemas.openxmlformats.org/officeDocument/2006/relationships/slideLayout" Target="../slideLayouts/slideLayout428.xml"/><Relationship Id="rId12" Type="http://schemas.openxmlformats.org/officeDocument/2006/relationships/slideLayout" Target="../slideLayouts/slideLayout433.xml"/><Relationship Id="rId17" Type="http://schemas.openxmlformats.org/officeDocument/2006/relationships/slideLayout" Target="../slideLayouts/slideLayout438.xml"/><Relationship Id="rId25" Type="http://schemas.openxmlformats.org/officeDocument/2006/relationships/image" Target="../media/image92.png"/><Relationship Id="rId2" Type="http://schemas.openxmlformats.org/officeDocument/2006/relationships/slideLayout" Target="../slideLayouts/slideLayout423.xml"/><Relationship Id="rId16" Type="http://schemas.openxmlformats.org/officeDocument/2006/relationships/slideLayout" Target="../slideLayouts/slideLayout437.xml"/><Relationship Id="rId20" Type="http://schemas.openxmlformats.org/officeDocument/2006/relationships/slideLayout" Target="../slideLayouts/slideLayout441.xml"/><Relationship Id="rId1" Type="http://schemas.openxmlformats.org/officeDocument/2006/relationships/slideLayout" Target="../slideLayouts/slideLayout422.xml"/><Relationship Id="rId6" Type="http://schemas.openxmlformats.org/officeDocument/2006/relationships/slideLayout" Target="../slideLayouts/slideLayout427.xml"/><Relationship Id="rId11" Type="http://schemas.openxmlformats.org/officeDocument/2006/relationships/slideLayout" Target="../slideLayouts/slideLayout432.xml"/><Relationship Id="rId24" Type="http://schemas.openxmlformats.org/officeDocument/2006/relationships/theme" Target="../theme/theme20.xml"/><Relationship Id="rId5" Type="http://schemas.openxmlformats.org/officeDocument/2006/relationships/slideLayout" Target="../slideLayouts/slideLayout426.xml"/><Relationship Id="rId15" Type="http://schemas.openxmlformats.org/officeDocument/2006/relationships/slideLayout" Target="../slideLayouts/slideLayout436.xml"/><Relationship Id="rId23" Type="http://schemas.openxmlformats.org/officeDocument/2006/relationships/slideLayout" Target="../slideLayouts/slideLayout444.xml"/><Relationship Id="rId10" Type="http://schemas.openxmlformats.org/officeDocument/2006/relationships/slideLayout" Target="../slideLayouts/slideLayout431.xml"/><Relationship Id="rId19" Type="http://schemas.openxmlformats.org/officeDocument/2006/relationships/slideLayout" Target="../slideLayouts/slideLayout440.xml"/><Relationship Id="rId4" Type="http://schemas.openxmlformats.org/officeDocument/2006/relationships/slideLayout" Target="../slideLayouts/slideLayout425.xml"/><Relationship Id="rId9" Type="http://schemas.openxmlformats.org/officeDocument/2006/relationships/slideLayout" Target="../slideLayouts/slideLayout430.xml"/><Relationship Id="rId14" Type="http://schemas.openxmlformats.org/officeDocument/2006/relationships/slideLayout" Target="../slideLayouts/slideLayout435.xml"/><Relationship Id="rId22" Type="http://schemas.openxmlformats.org/officeDocument/2006/relationships/slideLayout" Target="../slideLayouts/slideLayout443.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52.xml"/><Relationship Id="rId13" Type="http://schemas.openxmlformats.org/officeDocument/2006/relationships/slideLayout" Target="../slideLayouts/slideLayout457.xml"/><Relationship Id="rId3" Type="http://schemas.openxmlformats.org/officeDocument/2006/relationships/slideLayout" Target="../slideLayouts/slideLayout447.xml"/><Relationship Id="rId7" Type="http://schemas.openxmlformats.org/officeDocument/2006/relationships/slideLayout" Target="../slideLayouts/slideLayout451.xml"/><Relationship Id="rId12" Type="http://schemas.openxmlformats.org/officeDocument/2006/relationships/slideLayout" Target="../slideLayouts/slideLayout456.xml"/><Relationship Id="rId2" Type="http://schemas.openxmlformats.org/officeDocument/2006/relationships/slideLayout" Target="../slideLayouts/slideLayout446.xml"/><Relationship Id="rId1" Type="http://schemas.openxmlformats.org/officeDocument/2006/relationships/slideLayout" Target="../slideLayouts/slideLayout445.xml"/><Relationship Id="rId6" Type="http://schemas.openxmlformats.org/officeDocument/2006/relationships/slideLayout" Target="../slideLayouts/slideLayout450.xml"/><Relationship Id="rId11" Type="http://schemas.openxmlformats.org/officeDocument/2006/relationships/slideLayout" Target="../slideLayouts/slideLayout455.xml"/><Relationship Id="rId5" Type="http://schemas.openxmlformats.org/officeDocument/2006/relationships/slideLayout" Target="../slideLayouts/slideLayout449.xml"/><Relationship Id="rId10" Type="http://schemas.openxmlformats.org/officeDocument/2006/relationships/slideLayout" Target="../slideLayouts/slideLayout454.xml"/><Relationship Id="rId4" Type="http://schemas.openxmlformats.org/officeDocument/2006/relationships/slideLayout" Target="../slideLayouts/slideLayout448.xml"/><Relationship Id="rId9" Type="http://schemas.openxmlformats.org/officeDocument/2006/relationships/slideLayout" Target="../slideLayouts/slideLayout453.xml"/><Relationship Id="rId14" Type="http://schemas.openxmlformats.org/officeDocument/2006/relationships/theme" Target="../theme/theme21.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465.xml"/><Relationship Id="rId13" Type="http://schemas.openxmlformats.org/officeDocument/2006/relationships/slideLayout" Target="../slideLayouts/slideLayout470.xml"/><Relationship Id="rId18" Type="http://schemas.openxmlformats.org/officeDocument/2006/relationships/image" Target="../media/image97.emf"/><Relationship Id="rId3" Type="http://schemas.openxmlformats.org/officeDocument/2006/relationships/slideLayout" Target="../slideLayouts/slideLayout460.xml"/><Relationship Id="rId7" Type="http://schemas.openxmlformats.org/officeDocument/2006/relationships/slideLayout" Target="../slideLayouts/slideLayout464.xml"/><Relationship Id="rId12" Type="http://schemas.openxmlformats.org/officeDocument/2006/relationships/slideLayout" Target="../slideLayouts/slideLayout469.xml"/><Relationship Id="rId17" Type="http://schemas.openxmlformats.org/officeDocument/2006/relationships/theme" Target="../theme/theme22.xml"/><Relationship Id="rId2" Type="http://schemas.openxmlformats.org/officeDocument/2006/relationships/slideLayout" Target="../slideLayouts/slideLayout459.xml"/><Relationship Id="rId16" Type="http://schemas.openxmlformats.org/officeDocument/2006/relationships/slideLayout" Target="../slideLayouts/slideLayout473.xml"/><Relationship Id="rId1" Type="http://schemas.openxmlformats.org/officeDocument/2006/relationships/slideLayout" Target="../slideLayouts/slideLayout458.xml"/><Relationship Id="rId6" Type="http://schemas.openxmlformats.org/officeDocument/2006/relationships/slideLayout" Target="../slideLayouts/slideLayout463.xml"/><Relationship Id="rId11" Type="http://schemas.openxmlformats.org/officeDocument/2006/relationships/slideLayout" Target="../slideLayouts/slideLayout468.xml"/><Relationship Id="rId5" Type="http://schemas.openxmlformats.org/officeDocument/2006/relationships/slideLayout" Target="../slideLayouts/slideLayout462.xml"/><Relationship Id="rId15" Type="http://schemas.openxmlformats.org/officeDocument/2006/relationships/slideLayout" Target="../slideLayouts/slideLayout472.xml"/><Relationship Id="rId10" Type="http://schemas.openxmlformats.org/officeDocument/2006/relationships/slideLayout" Target="../slideLayouts/slideLayout467.xml"/><Relationship Id="rId4" Type="http://schemas.openxmlformats.org/officeDocument/2006/relationships/slideLayout" Target="../slideLayouts/slideLayout461.xml"/><Relationship Id="rId9" Type="http://schemas.openxmlformats.org/officeDocument/2006/relationships/slideLayout" Target="../slideLayouts/slideLayout466.xml"/><Relationship Id="rId14" Type="http://schemas.openxmlformats.org/officeDocument/2006/relationships/slideLayout" Target="../slideLayouts/slideLayout47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slideLayout" Target="../slideLayouts/slideLayout66.xml"/><Relationship Id="rId3" Type="http://schemas.openxmlformats.org/officeDocument/2006/relationships/slideLayout" Target="../slideLayouts/slideLayout43.xml"/><Relationship Id="rId21" Type="http://schemas.openxmlformats.org/officeDocument/2006/relationships/slideLayout" Target="../slideLayouts/slideLayout61.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slideLayout" Target="../slideLayouts/slideLayout65.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image" Target="../media/image5.png"/><Relationship Id="rId10" Type="http://schemas.openxmlformats.org/officeDocument/2006/relationships/slideLayout" Target="../slideLayouts/slideLayout50.xml"/><Relationship Id="rId19" Type="http://schemas.openxmlformats.org/officeDocument/2006/relationships/slideLayout" Target="../slideLayouts/slideLayout59.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4.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image" Target="../media/image10.jpeg"/><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theme" Target="../theme/theme4.xml"/><Relationship Id="rId5" Type="http://schemas.openxmlformats.org/officeDocument/2006/relationships/slideLayout" Target="../slideLayouts/slideLayout71.xml"/><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26" Type="http://schemas.openxmlformats.org/officeDocument/2006/relationships/slideLayout" Target="../slideLayouts/slideLayout102.xml"/><Relationship Id="rId39" Type="http://schemas.openxmlformats.org/officeDocument/2006/relationships/image" Target="../media/image5.png"/><Relationship Id="rId3" Type="http://schemas.openxmlformats.org/officeDocument/2006/relationships/slideLayout" Target="../slideLayouts/slideLayout79.xml"/><Relationship Id="rId21" Type="http://schemas.openxmlformats.org/officeDocument/2006/relationships/slideLayout" Target="../slideLayouts/slideLayout97.xml"/><Relationship Id="rId34" Type="http://schemas.openxmlformats.org/officeDocument/2006/relationships/slideLayout" Target="../slideLayouts/slideLayout110.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slideLayout" Target="../slideLayouts/slideLayout101.xml"/><Relationship Id="rId33" Type="http://schemas.openxmlformats.org/officeDocument/2006/relationships/slideLayout" Target="../slideLayouts/slideLayout109.xml"/><Relationship Id="rId38" Type="http://schemas.openxmlformats.org/officeDocument/2006/relationships/theme" Target="../theme/theme5.xml"/><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29" Type="http://schemas.openxmlformats.org/officeDocument/2006/relationships/slideLayout" Target="../slideLayouts/slideLayout105.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slideLayout" Target="../slideLayouts/slideLayout100.xml"/><Relationship Id="rId32" Type="http://schemas.openxmlformats.org/officeDocument/2006/relationships/slideLayout" Target="../slideLayouts/slideLayout108.xml"/><Relationship Id="rId37" Type="http://schemas.openxmlformats.org/officeDocument/2006/relationships/slideLayout" Target="../slideLayouts/slideLayout113.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28" Type="http://schemas.openxmlformats.org/officeDocument/2006/relationships/slideLayout" Target="../slideLayouts/slideLayout104.xml"/><Relationship Id="rId36" Type="http://schemas.openxmlformats.org/officeDocument/2006/relationships/slideLayout" Target="../slideLayouts/slideLayout112.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31" Type="http://schemas.openxmlformats.org/officeDocument/2006/relationships/slideLayout" Target="../slideLayouts/slideLayout107.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 Id="rId27" Type="http://schemas.openxmlformats.org/officeDocument/2006/relationships/slideLayout" Target="../slideLayouts/slideLayout103.xml"/><Relationship Id="rId30" Type="http://schemas.openxmlformats.org/officeDocument/2006/relationships/slideLayout" Target="../slideLayouts/slideLayout106.xml"/><Relationship Id="rId35" Type="http://schemas.openxmlformats.org/officeDocument/2006/relationships/slideLayout" Target="../slideLayouts/slideLayout11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3" Type="http://schemas.openxmlformats.org/officeDocument/2006/relationships/slideLayout" Target="../slideLayouts/slideLayout116.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theme" Target="../theme/theme6.xm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5" Type="http://schemas.openxmlformats.org/officeDocument/2006/relationships/slideLayout" Target="../slideLayouts/slideLayout118.xml"/><Relationship Id="rId15" Type="http://schemas.openxmlformats.org/officeDocument/2006/relationships/slideLayout" Target="../slideLayouts/slideLayout128.xml"/><Relationship Id="rId10" Type="http://schemas.openxmlformats.org/officeDocument/2006/relationships/slideLayout" Target="../slideLayouts/slideLayout123.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7.xml"/><Relationship Id="rId13" Type="http://schemas.openxmlformats.org/officeDocument/2006/relationships/slideLayout" Target="../slideLayouts/slideLayout142.xml"/><Relationship Id="rId18" Type="http://schemas.openxmlformats.org/officeDocument/2006/relationships/slideLayout" Target="../slideLayouts/slideLayout147.xml"/><Relationship Id="rId26" Type="http://schemas.openxmlformats.org/officeDocument/2006/relationships/slideLayout" Target="../slideLayouts/slideLayout155.xml"/><Relationship Id="rId39" Type="http://schemas.openxmlformats.org/officeDocument/2006/relationships/slideLayout" Target="../slideLayouts/slideLayout168.xml"/><Relationship Id="rId3" Type="http://schemas.openxmlformats.org/officeDocument/2006/relationships/slideLayout" Target="../slideLayouts/slideLayout132.xml"/><Relationship Id="rId21" Type="http://schemas.openxmlformats.org/officeDocument/2006/relationships/slideLayout" Target="../slideLayouts/slideLayout150.xml"/><Relationship Id="rId34" Type="http://schemas.openxmlformats.org/officeDocument/2006/relationships/slideLayout" Target="../slideLayouts/slideLayout163.xml"/><Relationship Id="rId7" Type="http://schemas.openxmlformats.org/officeDocument/2006/relationships/slideLayout" Target="../slideLayouts/slideLayout136.xml"/><Relationship Id="rId12" Type="http://schemas.openxmlformats.org/officeDocument/2006/relationships/slideLayout" Target="../slideLayouts/slideLayout141.xml"/><Relationship Id="rId17" Type="http://schemas.openxmlformats.org/officeDocument/2006/relationships/slideLayout" Target="../slideLayouts/slideLayout146.xml"/><Relationship Id="rId25" Type="http://schemas.openxmlformats.org/officeDocument/2006/relationships/slideLayout" Target="../slideLayouts/slideLayout154.xml"/><Relationship Id="rId33" Type="http://schemas.openxmlformats.org/officeDocument/2006/relationships/slideLayout" Target="../slideLayouts/slideLayout162.xml"/><Relationship Id="rId38" Type="http://schemas.openxmlformats.org/officeDocument/2006/relationships/slideLayout" Target="../slideLayouts/slideLayout167.xml"/><Relationship Id="rId2" Type="http://schemas.openxmlformats.org/officeDocument/2006/relationships/slideLayout" Target="../slideLayouts/slideLayout131.xml"/><Relationship Id="rId16" Type="http://schemas.openxmlformats.org/officeDocument/2006/relationships/slideLayout" Target="../slideLayouts/slideLayout145.xml"/><Relationship Id="rId20" Type="http://schemas.openxmlformats.org/officeDocument/2006/relationships/slideLayout" Target="../slideLayouts/slideLayout149.xml"/><Relationship Id="rId29" Type="http://schemas.openxmlformats.org/officeDocument/2006/relationships/slideLayout" Target="../slideLayouts/slideLayout158.xml"/><Relationship Id="rId41" Type="http://schemas.openxmlformats.org/officeDocument/2006/relationships/image" Target="../media/image30.png"/><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24" Type="http://schemas.openxmlformats.org/officeDocument/2006/relationships/slideLayout" Target="../slideLayouts/slideLayout153.xml"/><Relationship Id="rId32" Type="http://schemas.openxmlformats.org/officeDocument/2006/relationships/slideLayout" Target="../slideLayouts/slideLayout161.xml"/><Relationship Id="rId37" Type="http://schemas.openxmlformats.org/officeDocument/2006/relationships/slideLayout" Target="../slideLayouts/slideLayout166.xml"/><Relationship Id="rId40" Type="http://schemas.openxmlformats.org/officeDocument/2006/relationships/theme" Target="../theme/theme7.xml"/><Relationship Id="rId5" Type="http://schemas.openxmlformats.org/officeDocument/2006/relationships/slideLayout" Target="../slideLayouts/slideLayout134.xml"/><Relationship Id="rId15" Type="http://schemas.openxmlformats.org/officeDocument/2006/relationships/slideLayout" Target="../slideLayouts/slideLayout144.xml"/><Relationship Id="rId23" Type="http://schemas.openxmlformats.org/officeDocument/2006/relationships/slideLayout" Target="../slideLayouts/slideLayout152.xml"/><Relationship Id="rId28" Type="http://schemas.openxmlformats.org/officeDocument/2006/relationships/slideLayout" Target="../slideLayouts/slideLayout157.xml"/><Relationship Id="rId36" Type="http://schemas.openxmlformats.org/officeDocument/2006/relationships/slideLayout" Target="../slideLayouts/slideLayout165.xml"/><Relationship Id="rId10" Type="http://schemas.openxmlformats.org/officeDocument/2006/relationships/slideLayout" Target="../slideLayouts/slideLayout139.xml"/><Relationship Id="rId19" Type="http://schemas.openxmlformats.org/officeDocument/2006/relationships/slideLayout" Target="../slideLayouts/slideLayout148.xml"/><Relationship Id="rId31" Type="http://schemas.openxmlformats.org/officeDocument/2006/relationships/slideLayout" Target="../slideLayouts/slideLayout160.xml"/><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slideLayout" Target="../slideLayouts/slideLayout143.xml"/><Relationship Id="rId22" Type="http://schemas.openxmlformats.org/officeDocument/2006/relationships/slideLayout" Target="../slideLayouts/slideLayout151.xml"/><Relationship Id="rId27" Type="http://schemas.openxmlformats.org/officeDocument/2006/relationships/slideLayout" Target="../slideLayouts/slideLayout156.xml"/><Relationship Id="rId30" Type="http://schemas.openxmlformats.org/officeDocument/2006/relationships/slideLayout" Target="../slideLayouts/slideLayout159.xml"/><Relationship Id="rId35" Type="http://schemas.openxmlformats.org/officeDocument/2006/relationships/slideLayout" Target="../slideLayouts/slideLayout16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6.xml"/><Relationship Id="rId13" Type="http://schemas.openxmlformats.org/officeDocument/2006/relationships/slideLayout" Target="../slideLayouts/slideLayout181.xml"/><Relationship Id="rId18" Type="http://schemas.openxmlformats.org/officeDocument/2006/relationships/slideLayout" Target="../slideLayouts/slideLayout186.xml"/><Relationship Id="rId26" Type="http://schemas.openxmlformats.org/officeDocument/2006/relationships/slideLayout" Target="../slideLayouts/slideLayout194.xml"/><Relationship Id="rId39" Type="http://schemas.openxmlformats.org/officeDocument/2006/relationships/slideLayout" Target="../slideLayouts/slideLayout207.xml"/><Relationship Id="rId3" Type="http://schemas.openxmlformats.org/officeDocument/2006/relationships/slideLayout" Target="../slideLayouts/slideLayout171.xml"/><Relationship Id="rId21" Type="http://schemas.openxmlformats.org/officeDocument/2006/relationships/slideLayout" Target="../slideLayouts/slideLayout189.xml"/><Relationship Id="rId34" Type="http://schemas.openxmlformats.org/officeDocument/2006/relationships/slideLayout" Target="../slideLayouts/slideLayout202.xml"/><Relationship Id="rId7" Type="http://schemas.openxmlformats.org/officeDocument/2006/relationships/slideLayout" Target="../slideLayouts/slideLayout175.xml"/><Relationship Id="rId12" Type="http://schemas.openxmlformats.org/officeDocument/2006/relationships/slideLayout" Target="../slideLayouts/slideLayout180.xml"/><Relationship Id="rId17" Type="http://schemas.openxmlformats.org/officeDocument/2006/relationships/slideLayout" Target="../slideLayouts/slideLayout185.xml"/><Relationship Id="rId25" Type="http://schemas.openxmlformats.org/officeDocument/2006/relationships/slideLayout" Target="../slideLayouts/slideLayout193.xml"/><Relationship Id="rId33" Type="http://schemas.openxmlformats.org/officeDocument/2006/relationships/slideLayout" Target="../slideLayouts/slideLayout201.xml"/><Relationship Id="rId38" Type="http://schemas.openxmlformats.org/officeDocument/2006/relationships/slideLayout" Target="../slideLayouts/slideLayout206.xml"/><Relationship Id="rId2" Type="http://schemas.openxmlformats.org/officeDocument/2006/relationships/slideLayout" Target="../slideLayouts/slideLayout170.xml"/><Relationship Id="rId16" Type="http://schemas.openxmlformats.org/officeDocument/2006/relationships/slideLayout" Target="../slideLayouts/slideLayout184.xml"/><Relationship Id="rId20" Type="http://schemas.openxmlformats.org/officeDocument/2006/relationships/slideLayout" Target="../slideLayouts/slideLayout188.xml"/><Relationship Id="rId29" Type="http://schemas.openxmlformats.org/officeDocument/2006/relationships/slideLayout" Target="../slideLayouts/slideLayout197.xml"/><Relationship Id="rId41" Type="http://schemas.openxmlformats.org/officeDocument/2006/relationships/image" Target="../media/image48.png"/><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slideLayout" Target="../slideLayouts/slideLayout179.xml"/><Relationship Id="rId24" Type="http://schemas.openxmlformats.org/officeDocument/2006/relationships/slideLayout" Target="../slideLayouts/slideLayout192.xml"/><Relationship Id="rId32" Type="http://schemas.openxmlformats.org/officeDocument/2006/relationships/slideLayout" Target="../slideLayouts/slideLayout200.xml"/><Relationship Id="rId37" Type="http://schemas.openxmlformats.org/officeDocument/2006/relationships/slideLayout" Target="../slideLayouts/slideLayout205.xml"/><Relationship Id="rId40" Type="http://schemas.openxmlformats.org/officeDocument/2006/relationships/theme" Target="../theme/theme8.xml"/><Relationship Id="rId5" Type="http://schemas.openxmlformats.org/officeDocument/2006/relationships/slideLayout" Target="../slideLayouts/slideLayout173.xml"/><Relationship Id="rId15" Type="http://schemas.openxmlformats.org/officeDocument/2006/relationships/slideLayout" Target="../slideLayouts/slideLayout183.xml"/><Relationship Id="rId23" Type="http://schemas.openxmlformats.org/officeDocument/2006/relationships/slideLayout" Target="../slideLayouts/slideLayout191.xml"/><Relationship Id="rId28" Type="http://schemas.openxmlformats.org/officeDocument/2006/relationships/slideLayout" Target="../slideLayouts/slideLayout196.xml"/><Relationship Id="rId36" Type="http://schemas.openxmlformats.org/officeDocument/2006/relationships/slideLayout" Target="../slideLayouts/slideLayout204.xml"/><Relationship Id="rId10" Type="http://schemas.openxmlformats.org/officeDocument/2006/relationships/slideLayout" Target="../slideLayouts/slideLayout178.xml"/><Relationship Id="rId19" Type="http://schemas.openxmlformats.org/officeDocument/2006/relationships/slideLayout" Target="../slideLayouts/slideLayout187.xml"/><Relationship Id="rId31" Type="http://schemas.openxmlformats.org/officeDocument/2006/relationships/slideLayout" Target="../slideLayouts/slideLayout199.xml"/><Relationship Id="rId4" Type="http://schemas.openxmlformats.org/officeDocument/2006/relationships/slideLayout" Target="../slideLayouts/slideLayout172.xml"/><Relationship Id="rId9" Type="http://schemas.openxmlformats.org/officeDocument/2006/relationships/slideLayout" Target="../slideLayouts/slideLayout177.xml"/><Relationship Id="rId14" Type="http://schemas.openxmlformats.org/officeDocument/2006/relationships/slideLayout" Target="../slideLayouts/slideLayout182.xml"/><Relationship Id="rId22" Type="http://schemas.openxmlformats.org/officeDocument/2006/relationships/slideLayout" Target="../slideLayouts/slideLayout190.xml"/><Relationship Id="rId27" Type="http://schemas.openxmlformats.org/officeDocument/2006/relationships/slideLayout" Target="../slideLayouts/slideLayout195.xml"/><Relationship Id="rId30" Type="http://schemas.openxmlformats.org/officeDocument/2006/relationships/slideLayout" Target="../slideLayouts/slideLayout198.xml"/><Relationship Id="rId35" Type="http://schemas.openxmlformats.org/officeDocument/2006/relationships/slideLayout" Target="../slideLayouts/slideLayout20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15.xml"/><Relationship Id="rId13" Type="http://schemas.openxmlformats.org/officeDocument/2006/relationships/slideLayout" Target="../slideLayouts/slideLayout220.xml"/><Relationship Id="rId18" Type="http://schemas.openxmlformats.org/officeDocument/2006/relationships/slideLayout" Target="../slideLayouts/slideLayout225.xml"/><Relationship Id="rId3" Type="http://schemas.openxmlformats.org/officeDocument/2006/relationships/slideLayout" Target="../slideLayouts/slideLayout210.xml"/><Relationship Id="rId21" Type="http://schemas.openxmlformats.org/officeDocument/2006/relationships/tags" Target="../tags/tag1.xml"/><Relationship Id="rId7" Type="http://schemas.openxmlformats.org/officeDocument/2006/relationships/slideLayout" Target="../slideLayouts/slideLayout214.xml"/><Relationship Id="rId12" Type="http://schemas.openxmlformats.org/officeDocument/2006/relationships/slideLayout" Target="../slideLayouts/slideLayout219.xml"/><Relationship Id="rId17" Type="http://schemas.openxmlformats.org/officeDocument/2006/relationships/slideLayout" Target="../slideLayouts/slideLayout224.xml"/><Relationship Id="rId25" Type="http://schemas.openxmlformats.org/officeDocument/2006/relationships/oleObject" Target="../embeddings/oleObject2.bin"/><Relationship Id="rId2" Type="http://schemas.openxmlformats.org/officeDocument/2006/relationships/slideLayout" Target="../slideLayouts/slideLayout209.xml"/><Relationship Id="rId16" Type="http://schemas.openxmlformats.org/officeDocument/2006/relationships/slideLayout" Target="../slideLayouts/slideLayout223.xml"/><Relationship Id="rId20" Type="http://schemas.openxmlformats.org/officeDocument/2006/relationships/vmlDrawing" Target="../drawings/vmlDrawing1.vml"/><Relationship Id="rId1" Type="http://schemas.openxmlformats.org/officeDocument/2006/relationships/slideLayout" Target="../slideLayouts/slideLayout208.xml"/><Relationship Id="rId6" Type="http://schemas.openxmlformats.org/officeDocument/2006/relationships/slideLayout" Target="../slideLayouts/slideLayout213.xml"/><Relationship Id="rId11" Type="http://schemas.openxmlformats.org/officeDocument/2006/relationships/slideLayout" Target="../slideLayouts/slideLayout218.xml"/><Relationship Id="rId24" Type="http://schemas.openxmlformats.org/officeDocument/2006/relationships/image" Target="../media/image61.emf"/><Relationship Id="rId5" Type="http://schemas.openxmlformats.org/officeDocument/2006/relationships/slideLayout" Target="../slideLayouts/slideLayout212.xml"/><Relationship Id="rId15" Type="http://schemas.openxmlformats.org/officeDocument/2006/relationships/slideLayout" Target="../slideLayouts/slideLayout222.xml"/><Relationship Id="rId23" Type="http://schemas.openxmlformats.org/officeDocument/2006/relationships/oleObject" Target="../embeddings/oleObject1.bin"/><Relationship Id="rId10" Type="http://schemas.openxmlformats.org/officeDocument/2006/relationships/slideLayout" Target="../slideLayouts/slideLayout217.xml"/><Relationship Id="rId19" Type="http://schemas.openxmlformats.org/officeDocument/2006/relationships/theme" Target="../theme/theme9.xml"/><Relationship Id="rId4" Type="http://schemas.openxmlformats.org/officeDocument/2006/relationships/slideLayout" Target="../slideLayouts/slideLayout211.xml"/><Relationship Id="rId9" Type="http://schemas.openxmlformats.org/officeDocument/2006/relationships/slideLayout" Target="../slideLayouts/slideLayout216.xml"/><Relationship Id="rId14" Type="http://schemas.openxmlformats.org/officeDocument/2006/relationships/slideLayout" Target="../slideLayouts/slideLayout221.xml"/><Relationship Id="rId22"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8D9F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3"/>
          <a:stretch>
            <a:fillRect/>
          </a:stretch>
        </p:blipFill>
        <p:spPr>
          <a:xfrm>
            <a:off x="8755701" y="-1175754"/>
            <a:ext cx="3436299" cy="1167971"/>
          </a:xfrm>
          <a:prstGeom prst="rect">
            <a:avLst/>
          </a:prstGeom>
        </p:spPr>
      </p:pic>
    </p:spTree>
    <p:extLst>
      <p:ext uri="{BB962C8B-B14F-4D97-AF65-F5344CB8AC3E}">
        <p14:creationId xmlns:p14="http://schemas.microsoft.com/office/powerpoint/2010/main" val="199224592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056000" y="549000"/>
            <a:ext cx="10297800" cy="720000"/>
          </a:xfrm>
          <a:prstGeom prst="rect">
            <a:avLst/>
          </a:prstGeom>
        </p:spPr>
        <p:txBody>
          <a:bodyPr vert="horz" lIns="36000" tIns="45720" rIns="36000" bIns="45720" rtlCol="0" anchor="ctr">
            <a:normAutofit/>
          </a:bodyPr>
          <a:lstStyle/>
          <a:p>
            <a:r>
              <a:rPr lang="en-US" dirty="0"/>
              <a:t>Title</a:t>
            </a:r>
            <a:endParaRPr lang="ru-RU" dirty="0"/>
          </a:p>
        </p:txBody>
      </p:sp>
      <p:sp>
        <p:nvSpPr>
          <p:cNvPr id="3" name="Текст 2"/>
          <p:cNvSpPr>
            <a:spLocks noGrp="1"/>
          </p:cNvSpPr>
          <p:nvPr>
            <p:ph type="body" idx="1"/>
          </p:nvPr>
        </p:nvSpPr>
        <p:spPr>
          <a:xfrm>
            <a:off x="1056000" y="1449000"/>
            <a:ext cx="10297800" cy="4860000"/>
          </a:xfrm>
          <a:prstGeom prst="rect">
            <a:avLst/>
          </a:prstGeom>
        </p:spPr>
        <p:txBody>
          <a:bodyPr vert="horz" lIns="36000" tIns="45720" rIns="36000" bIns="45720" rtlCol="0">
            <a:normAutofit/>
          </a:bodyPr>
          <a:lstStyle/>
          <a:p>
            <a:pPr lvl="0"/>
            <a:r>
              <a:rPr lang="en-US" dirty="0"/>
              <a:t>Text</a:t>
            </a:r>
            <a:endParaRPr lang="ru-RU" dirty="0"/>
          </a:p>
          <a:p>
            <a:pPr lvl="1"/>
            <a:r>
              <a:rPr lang="en-US" dirty="0"/>
              <a:t>Text2</a:t>
            </a:r>
            <a:endParaRPr lang="ru-RU" dirty="0"/>
          </a:p>
          <a:p>
            <a:pPr lvl="2"/>
            <a:r>
              <a:rPr lang="en-US" dirty="0"/>
              <a:t>Text3</a:t>
            </a:r>
            <a:endParaRPr lang="ru-RU" dirty="0"/>
          </a:p>
        </p:txBody>
      </p:sp>
    </p:spTree>
    <p:extLst>
      <p:ext uri="{BB962C8B-B14F-4D97-AF65-F5344CB8AC3E}">
        <p14:creationId xmlns:p14="http://schemas.microsoft.com/office/powerpoint/2010/main" val="3946460710"/>
      </p:ext>
    </p:extLst>
  </p:cSld>
  <p:clrMap bg1="lt1" tx1="dk1" bg2="lt2" tx2="dk2" accent1="accent1" accent2="accent2" accent3="accent3" accent4="accent4" accent5="accent5" accent6="accent6" hlink="hlink" folHlink="folHlink"/>
  <p:sldLayoutIdLst>
    <p:sldLayoutId id="2147483950" r:id="rId1"/>
    <p:sldLayoutId id="2147483951" r:id="rId2"/>
    <p:sldLayoutId id="2147483952" r:id="rId3"/>
    <p:sldLayoutId id="2147483953" r:id="rId4"/>
    <p:sldLayoutId id="2147483954" r:id="rId5"/>
    <p:sldLayoutId id="2147483955" r:id="rId6"/>
    <p:sldLayoutId id="2147483956" r:id="rId7"/>
    <p:sldLayoutId id="2147483957" r:id="rId8"/>
    <p:sldLayoutId id="2147483958" r:id="rId9"/>
    <p:sldLayoutId id="2147483959" r:id="rId10"/>
    <p:sldLayoutId id="2147483960" r:id="rId11"/>
    <p:sldLayoutId id="2147483961" r:id="rId12"/>
    <p:sldLayoutId id="2147483962" r:id="rId13"/>
    <p:sldLayoutId id="2147483963" r:id="rId14"/>
    <p:sldLayoutId id="2147483964" r:id="rId15"/>
    <p:sldLayoutId id="2147483965" r:id="rId16"/>
    <p:sldLayoutId id="2147483966" r:id="rId17"/>
    <p:sldLayoutId id="2147483967" r:id="rId18"/>
    <p:sldLayoutId id="2147483968" r:id="rId19"/>
  </p:sldLayoutIdLst>
  <p:txStyles>
    <p:titleStyle>
      <a:lvl1pPr algn="l" defTabSz="914296" rtl="0" eaLnBrk="1" latinLnBrk="0" hangingPunct="1">
        <a:lnSpc>
          <a:spcPct val="90000"/>
        </a:lnSpc>
        <a:spcBef>
          <a:spcPct val="0"/>
        </a:spcBef>
        <a:buNone/>
        <a:defRPr sz="4200" kern="1200">
          <a:solidFill>
            <a:schemeClr val="tx1"/>
          </a:solidFill>
          <a:latin typeface="+mj-lt"/>
          <a:ea typeface="+mj-ea"/>
          <a:cs typeface="+mj-cs"/>
        </a:defRPr>
      </a:lvl1pPr>
    </p:titleStyle>
    <p:bodyStyle>
      <a:lvl1pPr marL="228573" indent="-228573" algn="l" defTabSz="914296" rtl="0" eaLnBrk="1" latinLnBrk="0" hangingPunct="1">
        <a:lnSpc>
          <a:spcPct val="90000"/>
        </a:lnSpc>
        <a:spcBef>
          <a:spcPts val="1800"/>
        </a:spcBef>
        <a:spcAft>
          <a:spcPts val="1000"/>
        </a:spcAft>
        <a:buFont typeface="Wingdings" panose="05000000000000000000" pitchFamily="2" charset="2"/>
        <a:buChar char="§"/>
        <a:defRPr sz="3200" kern="1200">
          <a:solidFill>
            <a:schemeClr val="accent6"/>
          </a:solidFill>
          <a:latin typeface="+mj-lt"/>
          <a:ea typeface="+mn-ea"/>
          <a:cs typeface="+mn-cs"/>
        </a:defRPr>
      </a:lvl1pPr>
      <a:lvl2pPr marL="685720" indent="-228573" algn="l" defTabSz="914296" rtl="0" eaLnBrk="1" latinLnBrk="0" hangingPunct="1">
        <a:lnSpc>
          <a:spcPct val="90000"/>
        </a:lnSpc>
        <a:spcBef>
          <a:spcPts val="800"/>
        </a:spcBef>
        <a:spcAft>
          <a:spcPts val="800"/>
        </a:spcAft>
        <a:buFont typeface="Wingdings" panose="05000000000000000000" pitchFamily="2" charset="2"/>
        <a:buChar char="§"/>
        <a:defRPr sz="2400" kern="1200">
          <a:solidFill>
            <a:schemeClr val="tx2"/>
          </a:solidFill>
          <a:latin typeface="+mj-lt"/>
          <a:ea typeface="+mn-ea"/>
          <a:cs typeface="+mn-cs"/>
        </a:defRPr>
      </a:lvl2pPr>
      <a:lvl3pPr marL="1142869" indent="-228573" algn="l" defTabSz="914296" rtl="0" eaLnBrk="1" latinLnBrk="0" hangingPunct="1">
        <a:lnSpc>
          <a:spcPct val="90000"/>
        </a:lnSpc>
        <a:spcBef>
          <a:spcPts val="600"/>
        </a:spcBef>
        <a:spcAft>
          <a:spcPts val="600"/>
        </a:spcAft>
        <a:buFont typeface="Wingdings" panose="05000000000000000000" pitchFamily="2" charset="2"/>
        <a:buChar char="§"/>
        <a:defRPr sz="1800" kern="1200">
          <a:solidFill>
            <a:schemeClr val="tx2">
              <a:lumMod val="75000"/>
              <a:lumOff val="25000"/>
            </a:schemeClr>
          </a:solidFill>
          <a:latin typeface="+mn-lt"/>
          <a:ea typeface="+mn-ea"/>
          <a:cs typeface="+mn-cs"/>
        </a:defRPr>
      </a:lvl3pPr>
      <a:lvl4pPr marL="1600016" indent="-228573" algn="l" defTabSz="914296" rtl="0" eaLnBrk="1" latinLnBrk="0" hangingPunct="1">
        <a:lnSpc>
          <a:spcPct val="90000"/>
        </a:lnSpc>
        <a:spcBef>
          <a:spcPts val="500"/>
        </a:spcBef>
        <a:buFont typeface="Wingdings" panose="05000000000000000000" pitchFamily="2" charset="2"/>
        <a:buChar char="§"/>
        <a:defRPr sz="1800" kern="1200">
          <a:solidFill>
            <a:schemeClr val="tx1"/>
          </a:solidFill>
          <a:latin typeface="+mn-lt"/>
          <a:ea typeface="+mn-ea"/>
          <a:cs typeface="+mn-cs"/>
        </a:defRPr>
      </a:lvl4pPr>
      <a:lvl5pPr marL="2057163" indent="-228573" algn="l" defTabSz="914296" rtl="0" eaLnBrk="1" latinLnBrk="0" hangingPunct="1">
        <a:lnSpc>
          <a:spcPct val="90000"/>
        </a:lnSpc>
        <a:spcBef>
          <a:spcPts val="500"/>
        </a:spcBef>
        <a:buFont typeface="Wingdings" panose="05000000000000000000" pitchFamily="2" charset="2"/>
        <a:buChar char="§"/>
        <a:defRPr sz="1800" kern="1200">
          <a:solidFill>
            <a:schemeClr val="tx1"/>
          </a:solidFill>
          <a:latin typeface="+mn-lt"/>
          <a:ea typeface="+mn-ea"/>
          <a:cs typeface="+mn-cs"/>
        </a:defRPr>
      </a:lvl5pPr>
      <a:lvl6pPr marL="2514312" indent="-228573" algn="l" defTabSz="91429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58" indent="-228573" algn="l" defTabSz="91429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05" indent="-228573" algn="l" defTabSz="91429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52" indent="-228573" algn="l" defTabSz="91429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296" rtl="0" eaLnBrk="1" latinLnBrk="0" hangingPunct="1">
        <a:defRPr sz="1800" kern="1200">
          <a:solidFill>
            <a:schemeClr val="tx1"/>
          </a:solidFill>
          <a:latin typeface="+mn-lt"/>
          <a:ea typeface="+mn-ea"/>
          <a:cs typeface="+mn-cs"/>
        </a:defRPr>
      </a:lvl1pPr>
      <a:lvl2pPr marL="457147"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2" algn="l" defTabSz="914296" rtl="0" eaLnBrk="1" latinLnBrk="0" hangingPunct="1">
        <a:defRPr sz="1800" kern="1200">
          <a:solidFill>
            <a:schemeClr val="tx1"/>
          </a:solidFill>
          <a:latin typeface="+mn-lt"/>
          <a:ea typeface="+mn-ea"/>
          <a:cs typeface="+mn-cs"/>
        </a:defRPr>
      </a:lvl4pPr>
      <a:lvl5pPr marL="1828589" algn="l" defTabSz="914296" rtl="0" eaLnBrk="1" latinLnBrk="0" hangingPunct="1">
        <a:defRPr sz="1800" kern="1200">
          <a:solidFill>
            <a:schemeClr val="tx1"/>
          </a:solidFill>
          <a:latin typeface="+mn-lt"/>
          <a:ea typeface="+mn-ea"/>
          <a:cs typeface="+mn-cs"/>
        </a:defRPr>
      </a:lvl5pPr>
      <a:lvl6pPr marL="2285736" algn="l" defTabSz="914296" rtl="0" eaLnBrk="1" latinLnBrk="0" hangingPunct="1">
        <a:defRPr sz="1800" kern="1200">
          <a:solidFill>
            <a:schemeClr val="tx1"/>
          </a:solidFill>
          <a:latin typeface="+mn-lt"/>
          <a:ea typeface="+mn-ea"/>
          <a:cs typeface="+mn-cs"/>
        </a:defRPr>
      </a:lvl6pPr>
      <a:lvl7pPr marL="2742885" algn="l" defTabSz="914296" rtl="0" eaLnBrk="1" latinLnBrk="0" hangingPunct="1">
        <a:defRPr sz="1800" kern="1200">
          <a:solidFill>
            <a:schemeClr val="tx1"/>
          </a:solidFill>
          <a:latin typeface="+mn-lt"/>
          <a:ea typeface="+mn-ea"/>
          <a:cs typeface="+mn-cs"/>
        </a:defRPr>
      </a:lvl7pPr>
      <a:lvl8pPr marL="3200032" algn="l" defTabSz="914296" rtl="0" eaLnBrk="1" latinLnBrk="0" hangingPunct="1">
        <a:defRPr sz="1800" kern="1200">
          <a:solidFill>
            <a:schemeClr val="tx1"/>
          </a:solidFill>
          <a:latin typeface="+mn-lt"/>
          <a:ea typeface="+mn-ea"/>
          <a:cs typeface="+mn-cs"/>
        </a:defRPr>
      </a:lvl8pPr>
      <a:lvl9pPr marL="3657179" algn="l" defTabSz="914296"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47"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grpSp>
        <p:nvGrpSpPr>
          <p:cNvPr id="6" name="Group 5"/>
          <p:cNvGrpSpPr>
            <a:grpSpLocks noChangeAspect="1"/>
          </p:cNvGrpSpPr>
          <p:nvPr userDrawn="1"/>
        </p:nvGrpSpPr>
        <p:grpSpPr bwMode="invGray">
          <a:xfrm>
            <a:off x="-1" y="6629345"/>
            <a:ext cx="12191377" cy="228655"/>
            <a:chOff x="0" y="4972024"/>
            <a:chExt cx="9143999" cy="171476"/>
          </a:xfrm>
        </p:grpSpPr>
        <p:sp>
          <p:nvSpPr>
            <p:cNvPr id="7" name="Rectangle 6"/>
            <p:cNvSpPr/>
            <p:nvPr userDrawn="1"/>
          </p:nvSpPr>
          <p:spPr bwMode="invGray">
            <a:xfrm>
              <a:off x="0" y="4972024"/>
              <a:ext cx="6171508" cy="171476"/>
            </a:xfrm>
            <a:prstGeom prst="rect">
              <a:avLst/>
            </a:prstGeom>
            <a:solidFill>
              <a:srgbClr val="00B29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8" name="Rectangle 7"/>
            <p:cNvSpPr/>
            <p:nvPr userDrawn="1"/>
          </p:nvSpPr>
          <p:spPr bwMode="invGray">
            <a:xfrm>
              <a:off x="6171508" y="4972024"/>
              <a:ext cx="2972491" cy="171476"/>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3176062943"/>
      </p:ext>
    </p:extLst>
  </p:cSld>
  <p:clrMap bg1="dk1" tx1="lt1" bg2="dk2" tx2="lt2" accent1="accent1" accent2="accent2" accent3="accent3" accent4="accent4" accent5="accent5" accent6="accent6" hlink="hlink" folHlink="folHlink"/>
  <p:sldLayoutIdLst>
    <p:sldLayoutId id="2147483973" r:id="rId1"/>
    <p:sldLayoutId id="2147483974" r:id="rId2"/>
    <p:sldLayoutId id="2147483975" r:id="rId3"/>
    <p:sldLayoutId id="2147483976" r:id="rId4"/>
    <p:sldLayoutId id="2147483977" r:id="rId5"/>
    <p:sldLayoutId id="2147483978" r:id="rId6"/>
    <p:sldLayoutId id="2147483979" r:id="rId7"/>
    <p:sldLayoutId id="2147483980" r:id="rId8"/>
    <p:sldLayoutId id="2147483981" r:id="rId9"/>
    <p:sldLayoutId id="2147483982" r:id="rId10"/>
    <p:sldLayoutId id="2147483983" r:id="rId11"/>
    <p:sldLayoutId id="2147483984" r:id="rId12"/>
    <p:sldLayoutId id="2147483985" r:id="rId13"/>
    <p:sldLayoutId id="2147483986" r:id="rId14"/>
    <p:sldLayoutId id="2147483987" r:id="rId15"/>
    <p:sldLayoutId id="2147483988" r:id="rId16"/>
    <p:sldLayoutId id="2147483989" r:id="rId17"/>
    <p:sldLayoutId id="2147483990" r:id="rId18"/>
    <p:sldLayoutId id="2147483991" r:id="rId19"/>
    <p:sldLayoutId id="2147483992" r:id="rId20"/>
    <p:sldLayoutId id="2147483993" r:id="rId21"/>
    <p:sldLayoutId id="2147483994" r:id="rId22"/>
    <p:sldLayoutId id="2147483995" r:id="rId23"/>
    <p:sldLayoutId id="2147483996" r:id="rId24"/>
    <p:sldLayoutId id="2147483997" r:id="rId25"/>
    <p:sldLayoutId id="2147483998" r:id="rId26"/>
    <p:sldLayoutId id="2147483999" r:id="rId27"/>
    <p:sldLayoutId id="2147484000" r:id="rId28"/>
    <p:sldLayoutId id="2147484001" r:id="rId29"/>
    <p:sldLayoutId id="2147484002" r:id="rId30"/>
    <p:sldLayoutId id="2147484003" r:id="rId31"/>
    <p:sldLayoutId id="2147484004" r:id="rId32"/>
    <p:sldLayoutId id="2147484005" r:id="rId33"/>
    <p:sldLayoutId id="2147484006" r:id="rId34"/>
    <p:sldLayoutId id="2147484007" r:id="rId35"/>
    <p:sldLayoutId id="2147484008" r:id="rId36"/>
    <p:sldLayoutId id="2147484009" r:id="rId37"/>
    <p:sldLayoutId id="2147484010" r:id="rId38"/>
    <p:sldLayoutId id="2147484011" r:id="rId39"/>
    <p:sldLayoutId id="2147484012" r:id="rId40"/>
    <p:sldLayoutId id="2147484013" r:id="rId41"/>
    <p:sldLayoutId id="2147484014" r:id="rId42"/>
    <p:sldLayoutId id="2147484015" r:id="rId43"/>
    <p:sldLayoutId id="2147484016" r:id="rId44"/>
    <p:sldLayoutId id="2147484017" r:id="rId4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제목 개체 틀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ko-KR" altLang="en-US"/>
              <a:t>마스터 제목 스타일 편집</a:t>
            </a:r>
          </a:p>
        </p:txBody>
      </p:sp>
      <p:sp>
        <p:nvSpPr>
          <p:cNvPr id="3" name="텍스트 개체 틀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ko-KR" altLang="en-US"/>
              <a:t>마스터 텍스트 스타일 편집</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4" name="날짜 개체 틀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BDF9506-ED22-417D-BC6C-24F890DEF661}" type="datetimeFigureOut">
              <a:rPr lang="ko-KR" altLang="en-US" smtClean="0"/>
              <a:t>2016-09-20</a:t>
            </a:fld>
            <a:endParaRPr lang="ko-KR" altLang="en-US"/>
          </a:p>
        </p:txBody>
      </p:sp>
      <p:sp>
        <p:nvSpPr>
          <p:cNvPr id="5" name="바닥글 개체 틀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ko-KR" altLang="en-US"/>
          </a:p>
        </p:txBody>
      </p:sp>
      <p:sp>
        <p:nvSpPr>
          <p:cNvPr id="6" name="슬라이드 번호 개체 틀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58B6ACC-E7CD-44D3-84AE-CDDCD430B75D}" type="slidenum">
              <a:rPr lang="ko-KR" altLang="en-US" smtClean="0"/>
              <a:t>‹#›</a:t>
            </a:fld>
            <a:endParaRPr lang="ko-KR" altLang="en-US"/>
          </a:p>
        </p:txBody>
      </p:sp>
    </p:spTree>
    <p:extLst>
      <p:ext uri="{BB962C8B-B14F-4D97-AF65-F5344CB8AC3E}">
        <p14:creationId xmlns:p14="http://schemas.microsoft.com/office/powerpoint/2010/main" val="1953661706"/>
      </p:ext>
    </p:extLst>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 id="2147484022" r:id="rId4"/>
    <p:sldLayoutId id="2147484023" r:id="rId5"/>
    <p:sldLayoutId id="2147484024" r:id="rId6"/>
    <p:sldLayoutId id="2147484025" r:id="rId7"/>
    <p:sldLayoutId id="2147484026" r:id="rId8"/>
    <p:sldLayoutId id="2147484027" r:id="rId9"/>
    <p:sldLayoutId id="2147484028" r:id="rId10"/>
    <p:sldLayoutId id="2147484029" r:id="rId11"/>
    <p:sldLayoutId id="2147484030" r:id="rId12"/>
    <p:sldLayoutId id="2147484031" r:id="rId13"/>
    <p:sldLayoutId id="2147484032" r:id="rId14"/>
    <p:sldLayoutId id="2147484033" r:id="rId15"/>
  </p:sldLayoutIdLst>
  <p:txStyles>
    <p:titleStyle>
      <a:lvl1pPr algn="l" defTabSz="914400" rtl="0" eaLnBrk="1" latinLnBrk="1"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1"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6"/>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1524559796"/>
      </p:ext>
    </p:extLst>
  </p:cSld>
  <p:clrMap bg1="lt1" tx1="dk1" bg2="lt2" tx2="dk2" accent1="accent1" accent2="accent2" accent3="accent3" accent4="accent4" accent5="accent5" accent6="accent6" hlink="hlink" folHlink="folHlink"/>
  <p:sldLayoutIdLst>
    <p:sldLayoutId id="2147484035" r:id="rId1"/>
    <p:sldLayoutId id="2147484036" r:id="rId2"/>
    <p:sldLayoutId id="2147484037" r:id="rId3"/>
    <p:sldLayoutId id="2147484038" r:id="rId4"/>
    <p:sldLayoutId id="2147484039" r:id="rId5"/>
    <p:sldLayoutId id="2147484040" r:id="rId6"/>
    <p:sldLayoutId id="2147484041" r:id="rId7"/>
    <p:sldLayoutId id="2147484042" r:id="rId8"/>
    <p:sldLayoutId id="2147484043" r:id="rId9"/>
    <p:sldLayoutId id="2147484044" r:id="rId10"/>
    <p:sldLayoutId id="2147484045" r:id="rId11"/>
    <p:sldLayoutId id="2147484046" r:id="rId12"/>
    <p:sldLayoutId id="2147484047" r:id="rId13"/>
    <p:sldLayoutId id="2147484048" r:id="rId14"/>
    <p:sldLayoutId id="2147484049" r:id="rId15"/>
    <p:sldLayoutId id="2147484050" r:id="rId16"/>
    <p:sldLayoutId id="2147484051" r:id="rId17"/>
    <p:sldLayoutId id="2147484052" r:id="rId18"/>
    <p:sldLayoutId id="2147484053" r:id="rId19"/>
    <p:sldLayoutId id="2147484054" r:id="rId20"/>
    <p:sldLayoutId id="2147484055" r:id="rId21"/>
    <p:sldLayoutId id="2147484056" r:id="rId22"/>
    <p:sldLayoutId id="2147484057" r:id="rId23"/>
    <p:sldLayoutId id="2147484058" r:id="rId24"/>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9"/>
            <a:ext cx="11653521" cy="2092752"/>
          </a:xfrm>
          <a:prstGeom prst="rect">
            <a:avLst/>
          </a:prstGeom>
        </p:spPr>
        <p:txBody>
          <a:bodyPr vert="horz" wrap="square" lIns="146304" tIns="91440" rIns="146304" bIns="91440" rtlCol="0">
            <a:spAutoFit/>
          </a:bodyPr>
          <a:lstStyle/>
          <a:p>
            <a:pPr marL="336080" marR="0" lvl="0" indent="-336080" algn="l" defTabSz="914192" rtl="0" eaLnBrk="1" fontAlgn="auto" latinLnBrk="0" hangingPunct="1">
              <a:lnSpc>
                <a:spcPct val="90000"/>
              </a:lnSpc>
              <a:spcBef>
                <a:spcPct val="20000"/>
              </a:spcBef>
              <a:spcAft>
                <a:spcPts val="0"/>
              </a:spcAft>
              <a:buClrTx/>
              <a:buSzPct val="90000"/>
              <a:buFont typeface="Arial" pitchFamily="34" charset="0"/>
              <a:buChar char="•"/>
              <a:tabLst/>
            </a:pPr>
            <a:r>
              <a:rPr lang="en-US" dirty="0"/>
              <a:t>Click to edit Master text styles</a:t>
            </a:r>
          </a:p>
          <a:p>
            <a:pPr marL="572581" marR="0" lvl="1" indent="-236500" algn="l" defTabSz="914192" rtl="0" eaLnBrk="1" fontAlgn="auto" latinLnBrk="0" hangingPunct="1">
              <a:lnSpc>
                <a:spcPct val="90000"/>
              </a:lnSpc>
              <a:spcBef>
                <a:spcPct val="20000"/>
              </a:spcBef>
              <a:spcAft>
                <a:spcPts val="0"/>
              </a:spcAft>
              <a:buClrTx/>
              <a:buSzPct val="90000"/>
              <a:buFont typeface="Arial"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grpSp>
        <p:nvGrpSpPr>
          <p:cNvPr id="42" name="Group 41"/>
          <p:cNvGrpSpPr/>
          <p:nvPr userDrawn="1"/>
        </p:nvGrpSpPr>
        <p:grpSpPr>
          <a:xfrm>
            <a:off x="12370902" y="-8231"/>
            <a:ext cx="936855" cy="5662633"/>
            <a:chOff x="12618967" y="-8396"/>
            <a:chExt cx="955641" cy="5775361"/>
          </a:xfrm>
        </p:grpSpPr>
        <p:grpSp>
          <p:nvGrpSpPr>
            <p:cNvPr id="43" name="Group 42"/>
            <p:cNvGrpSpPr/>
            <p:nvPr userDrawn="1"/>
          </p:nvGrpSpPr>
          <p:grpSpPr>
            <a:xfrm rot="5400000">
              <a:off x="11582059" y="1045293"/>
              <a:ext cx="2703052" cy="629236"/>
              <a:chOff x="1586734" y="4543426"/>
              <a:chExt cx="2703052" cy="629236"/>
            </a:xfrm>
          </p:grpSpPr>
          <p:sp>
            <p:nvSpPr>
              <p:cNvPr id="50" name="Rectangle 49"/>
              <p:cNvSpPr/>
              <p:nvPr userDrawn="1"/>
            </p:nvSpPr>
            <p:spPr bwMode="auto">
              <a:xfrm>
                <a:off x="2505456" y="4543427"/>
                <a:ext cx="869930" cy="289766"/>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3927"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51" name="Rectangle 50"/>
              <p:cNvSpPr/>
              <p:nvPr userDrawn="1"/>
            </p:nvSpPr>
            <p:spPr bwMode="auto">
              <a:xfrm>
                <a:off x="1586734" y="4543428"/>
                <a:ext cx="869930" cy="289766"/>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3927"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28319">
                          <a:srgbClr val="505050"/>
                        </a:gs>
                        <a:gs pos="79000">
                          <a:srgbClr val="505050"/>
                        </a:gs>
                      </a:gsLst>
                      <a:lin ang="5400000" scaled="0"/>
                    </a:gradFill>
                    <a:effectLst/>
                    <a:uLnTx/>
                    <a:uFillTx/>
                    <a:latin typeface="Segoe UI"/>
                    <a:ea typeface="Segoe UI" pitchFamily="34" charset="0"/>
                    <a:cs typeface="Segoe UI" pitchFamily="34" charset="0"/>
                  </a:rPr>
                  <a:t>Cyan</a:t>
                </a:r>
              </a:p>
              <a:p>
                <a:pPr marL="0" marR="0" lvl="0" indent="0"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8319">
                          <a:srgbClr val="505050"/>
                        </a:gs>
                        <a:gs pos="79000">
                          <a:srgbClr val="505050"/>
                        </a:gs>
                      </a:gsLst>
                      <a:lin ang="5400000" scaled="0"/>
                    </a:gradFill>
                    <a:effectLst/>
                    <a:uLnTx/>
                    <a:uFillTx/>
                    <a:latin typeface="Segoe UI"/>
                    <a:ea typeface="Segoe UI" pitchFamily="34" charset="0"/>
                    <a:cs typeface="Segoe UI" pitchFamily="34" charset="0"/>
                  </a:rPr>
                  <a:t>R:0 G:188 B:242</a:t>
                </a:r>
              </a:p>
            </p:txBody>
          </p:sp>
          <p:sp>
            <p:nvSpPr>
              <p:cNvPr id="52" name="Rectangle 51"/>
              <p:cNvSpPr/>
              <p:nvPr userDrawn="1"/>
            </p:nvSpPr>
            <p:spPr bwMode="auto">
              <a:xfrm>
                <a:off x="1586734" y="4882896"/>
                <a:ext cx="869930" cy="289766"/>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3927"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Light Gray</a:t>
                </a:r>
              </a:p>
              <a:p>
                <a:pPr marL="0" marR="0" lvl="0" indent="0"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R:210 G:210 B:210</a:t>
                </a:r>
              </a:p>
            </p:txBody>
          </p:sp>
          <p:sp>
            <p:nvSpPr>
              <p:cNvPr id="53" name="Rectangle 52"/>
              <p:cNvSpPr/>
              <p:nvPr userDrawn="1"/>
            </p:nvSpPr>
            <p:spPr bwMode="auto">
              <a:xfrm>
                <a:off x="3419856" y="4543426"/>
                <a:ext cx="869930" cy="289766"/>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3927"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0 G:32 B:80</a:t>
                </a:r>
              </a:p>
            </p:txBody>
          </p:sp>
          <p:sp>
            <p:nvSpPr>
              <p:cNvPr id="54" name="Rectangle 53"/>
              <p:cNvSpPr/>
              <p:nvPr userDrawn="1"/>
            </p:nvSpPr>
            <p:spPr bwMode="auto">
              <a:xfrm>
                <a:off x="3413144" y="4882896"/>
                <a:ext cx="869930" cy="289766"/>
              </a:xfrm>
              <a:prstGeom prst="rect">
                <a:avLst/>
              </a:prstGeom>
              <a:solidFill>
                <a:srgbClr val="32323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3927"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50 G:50 B:50</a:t>
                </a:r>
              </a:p>
            </p:txBody>
          </p:sp>
          <p:sp>
            <p:nvSpPr>
              <p:cNvPr id="55" name="Rectangle 54"/>
              <p:cNvSpPr/>
              <p:nvPr userDrawn="1"/>
            </p:nvSpPr>
            <p:spPr bwMode="auto">
              <a:xfrm>
                <a:off x="2505456" y="4882895"/>
                <a:ext cx="869930" cy="289766"/>
              </a:xfrm>
              <a:prstGeom prst="rect">
                <a:avLst/>
              </a:prstGeom>
              <a:solidFill>
                <a:srgbClr val="737373"/>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3927"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ay</a:t>
                </a:r>
              </a:p>
              <a:p>
                <a:pPr marL="0" marR="0" lvl="0" indent="0"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15 G:115 B:115</a:t>
                </a:r>
              </a:p>
            </p:txBody>
          </p:sp>
        </p:grpSp>
        <p:grpSp>
          <p:nvGrpSpPr>
            <p:cNvPr id="44" name="Group 43"/>
            <p:cNvGrpSpPr/>
            <p:nvPr userDrawn="1"/>
          </p:nvGrpSpPr>
          <p:grpSpPr>
            <a:xfrm rot="5400000">
              <a:off x="11412325" y="4270556"/>
              <a:ext cx="2703052" cy="289766"/>
              <a:chOff x="4476564" y="4543426"/>
              <a:chExt cx="2703052" cy="289766"/>
            </a:xfrm>
          </p:grpSpPr>
          <p:sp>
            <p:nvSpPr>
              <p:cNvPr id="47" name="Rectangle 46"/>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lvl="0" defTabSz="913927" fontAlgn="base">
                  <a:lnSpc>
                    <a:spcPct val="100000"/>
                  </a:lnSpc>
                  <a:spcBef>
                    <a:spcPct val="0"/>
                  </a:spcBef>
                  <a:spcAft>
                    <a:spcPct val="0"/>
                  </a:spcAft>
                </a:pPr>
                <a:r>
                  <a:rPr lang="en-US" sz="490" b="1" baseline="0" noProof="0" dirty="0">
                    <a:gradFill>
                      <a:gsLst>
                        <a:gs pos="0">
                          <a:srgbClr val="FFFFFF"/>
                        </a:gs>
                        <a:gs pos="100000">
                          <a:srgbClr val="FFFFFF"/>
                        </a:gs>
                      </a:gsLst>
                      <a:lin ang="5400000" scaled="0"/>
                    </a:gradFill>
                    <a:ea typeface="Segoe UI" pitchFamily="34" charset="0"/>
                    <a:cs typeface="Segoe UI" pitchFamily="34" charset="0"/>
                  </a:rPr>
                  <a:t>Purple</a:t>
                </a:r>
              </a:p>
              <a:p>
                <a:pPr lvl="0" defTabSz="913927" fontAlgn="base">
                  <a:lnSpc>
                    <a:spcPct val="100000"/>
                  </a:lnSpc>
                  <a:spcBef>
                    <a:spcPct val="0"/>
                  </a:spcBef>
                  <a:spcAft>
                    <a:spcPct val="0"/>
                  </a:spcAft>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92 G:45 B:145</a:t>
                </a:r>
              </a:p>
            </p:txBody>
          </p:sp>
          <p:sp>
            <p:nvSpPr>
              <p:cNvPr id="48" name="Rectangle 47"/>
              <p:cNvSpPr/>
              <p:nvPr userDrawn="1"/>
            </p:nvSpPr>
            <p:spPr bwMode="auto">
              <a:xfrm>
                <a:off x="6309686" y="4543426"/>
                <a:ext cx="869930" cy="289766"/>
              </a:xfrm>
              <a:prstGeom prst="rect">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3927"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nge</a:t>
                </a:r>
              </a:p>
              <a:p>
                <a:pPr marL="0" marR="0" lvl="0" indent="0"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216 G:59 B:1</a:t>
                </a:r>
              </a:p>
            </p:txBody>
          </p:sp>
          <p:sp>
            <p:nvSpPr>
              <p:cNvPr id="49" name="Rectangle 48"/>
              <p:cNvSpPr/>
              <p:nvPr userDrawn="1"/>
            </p:nvSpPr>
            <p:spPr bwMode="auto">
              <a:xfrm>
                <a:off x="4476564" y="4543426"/>
                <a:ext cx="869930" cy="289766"/>
              </a:xfrm>
              <a:prstGeom prst="rect">
                <a:avLst/>
              </a:prstGeom>
              <a:solidFill>
                <a:srgbClr val="107C10"/>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3927"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een</a:t>
                </a:r>
              </a:p>
              <a:p>
                <a:pPr marL="0" marR="0" lvl="0" indent="0"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grpSp>
        <p:sp>
          <p:nvSpPr>
            <p:cNvPr id="45" name="TextBox 44"/>
            <p:cNvSpPr txBox="1"/>
            <p:nvPr userDrawn="1"/>
          </p:nvSpPr>
          <p:spPr>
            <a:xfrm rot="5400000">
              <a:off x="12979639" y="256928"/>
              <a:ext cx="860293" cy="329645"/>
            </a:xfrm>
            <a:prstGeom prst="rect">
              <a:avLst/>
            </a:prstGeom>
            <a:noFill/>
          </p:spPr>
          <p:txBody>
            <a:bodyPr wrap="none" lIns="0" tIns="91440" rIns="182880" bIns="91440" rtlCol="0">
              <a:spAutoFit/>
            </a:bodyPr>
            <a:lstStyle/>
            <a:p>
              <a:pPr marL="0" marR="0" lvl="0" indent="0" defTabSz="896214"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rgbClr val="505050"/>
                      </a:gs>
                      <a:gs pos="30000">
                        <a:srgbClr val="505050"/>
                      </a:gs>
                    </a:gsLst>
                    <a:lin ang="5400000" scaled="0"/>
                  </a:gradFill>
                  <a:effectLst/>
                  <a:uLnTx/>
                  <a:uFillTx/>
                </a:rPr>
                <a:t>Main colors</a:t>
              </a:r>
            </a:p>
          </p:txBody>
        </p:sp>
        <p:sp>
          <p:nvSpPr>
            <p:cNvPr id="46" name="TextBox 45"/>
            <p:cNvSpPr txBox="1"/>
            <p:nvPr userDrawn="1"/>
          </p:nvSpPr>
          <p:spPr>
            <a:xfrm rot="5400000">
              <a:off x="11746692" y="4228746"/>
              <a:ext cx="2647253" cy="326834"/>
            </a:xfrm>
            <a:prstGeom prst="rect">
              <a:avLst/>
            </a:prstGeom>
            <a:noFill/>
          </p:spPr>
          <p:txBody>
            <a:bodyPr wrap="none" lIns="0" tIns="91440" rIns="182880" bIns="91440" rtlCol="0">
              <a:spAutoFit/>
            </a:bodyPr>
            <a:lstStyle/>
            <a:p>
              <a:pPr marL="0" marR="0" lvl="0" indent="0" defTabSz="896214"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rgbClr val="505050"/>
                      </a:gs>
                      <a:gs pos="30000">
                        <a:srgbClr val="505050"/>
                      </a:gs>
                    </a:gsLst>
                    <a:lin ang="5400000" scaled="0"/>
                  </a:gradFill>
                  <a:effectLst/>
                  <a:uLnTx/>
                  <a:uFillTx/>
                </a:rPr>
                <a:t>Secondary colors (use only when necessary)</a:t>
              </a:r>
            </a:p>
          </p:txBody>
        </p:sp>
      </p:grpSp>
    </p:spTree>
    <p:extLst>
      <p:ext uri="{BB962C8B-B14F-4D97-AF65-F5344CB8AC3E}">
        <p14:creationId xmlns:p14="http://schemas.microsoft.com/office/powerpoint/2010/main" val="2727694111"/>
      </p:ext>
    </p:extLst>
  </p:cSld>
  <p:clrMap bg1="dk1" tx1="lt1" bg2="dk2" tx2="lt2" accent1="accent1" accent2="accent2" accent3="accent3" accent4="accent4" accent5="accent5" accent6="accent6" hlink="hlink" folHlink="folHlink"/>
  <p:sldLayoutIdLst>
    <p:sldLayoutId id="2147484060" r:id="rId1"/>
    <p:sldLayoutId id="2147484061" r:id="rId2"/>
    <p:sldLayoutId id="2147484062" r:id="rId3"/>
    <p:sldLayoutId id="2147484063" r:id="rId4"/>
    <p:sldLayoutId id="2147484064" r:id="rId5"/>
    <p:sldLayoutId id="2147484065" r:id="rId6"/>
    <p:sldLayoutId id="2147484066" r:id="rId7"/>
    <p:sldLayoutId id="2147484067" r:id="rId8"/>
    <p:sldLayoutId id="2147484068" r:id="rId9"/>
    <p:sldLayoutId id="2147484069" r:id="rId10"/>
    <p:sldLayoutId id="2147484070" r:id="rId11"/>
    <p:sldLayoutId id="2147484071" r:id="rId12"/>
    <p:sldLayoutId id="2147484072" r:id="rId13"/>
    <p:sldLayoutId id="2147484073" r:id="rId14"/>
    <p:sldLayoutId id="2147484074" r:id="rId15"/>
    <p:sldLayoutId id="2147484075" r:id="rId16"/>
    <p:sldLayoutId id="2147484076" r:id="rId17"/>
    <p:sldLayoutId id="2147484077" r:id="rId18"/>
    <p:sldLayoutId id="2147484078" r:id="rId19"/>
    <p:sldLayoutId id="2147484079" r:id="rId20"/>
    <p:sldLayoutId id="2147484080" r:id="rId21"/>
    <p:sldLayoutId id="2147484081" r:id="rId22"/>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lang="en-US" sz="3920" kern="1200" spc="0" baseline="0" dirty="0" smtClean="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pPr>
            <a:r>
              <a:rPr lang="en-US" dirty="0"/>
              <a:t>Click to edit Master text styles</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grpSp>
        <p:nvGrpSpPr>
          <p:cNvPr id="42" name="Group 41"/>
          <p:cNvGrpSpPr/>
          <p:nvPr userDrawn="1"/>
        </p:nvGrpSpPr>
        <p:grpSpPr>
          <a:xfrm>
            <a:off x="12370906" y="-217"/>
            <a:ext cx="935477" cy="5654618"/>
            <a:chOff x="12618967" y="-221"/>
            <a:chExt cx="954235" cy="5767186"/>
          </a:xfrm>
        </p:grpSpPr>
        <p:grpSp>
          <p:nvGrpSpPr>
            <p:cNvPr id="43" name="Group 42"/>
            <p:cNvGrpSpPr/>
            <p:nvPr userDrawn="1"/>
          </p:nvGrpSpPr>
          <p:grpSpPr>
            <a:xfrm rot="5400000">
              <a:off x="11582059" y="1045293"/>
              <a:ext cx="2703052" cy="629236"/>
              <a:chOff x="1586734" y="4543426"/>
              <a:chExt cx="2703052" cy="629236"/>
            </a:xfrm>
          </p:grpSpPr>
          <p:sp>
            <p:nvSpPr>
              <p:cNvPr id="50" name="Rectangle 49"/>
              <p:cNvSpPr/>
              <p:nvPr userDrawn="1"/>
            </p:nvSpPr>
            <p:spPr bwMode="auto">
              <a:xfrm>
                <a:off x="2505456" y="4543427"/>
                <a:ext cx="869930" cy="289766"/>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51" name="Rectangle 50"/>
              <p:cNvSpPr/>
              <p:nvPr userDrawn="1"/>
            </p:nvSpPr>
            <p:spPr bwMode="auto">
              <a:xfrm>
                <a:off x="1586734" y="4543428"/>
                <a:ext cx="869930" cy="289766"/>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28319">
                          <a:srgbClr val="505050"/>
                        </a:gs>
                        <a:gs pos="79000">
                          <a:srgbClr val="505050"/>
                        </a:gs>
                      </a:gsLst>
                      <a:lin ang="5400000" scaled="0"/>
                    </a:gradFill>
                    <a:effectLst/>
                    <a:uLnTx/>
                    <a:uFillTx/>
                    <a:latin typeface="Segoe UI"/>
                    <a:ea typeface="Segoe UI" pitchFamily="34" charset="0"/>
                    <a:cs typeface="Segoe UI" pitchFamily="34" charset="0"/>
                  </a:rPr>
                  <a:t>Cyan</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8319">
                          <a:srgbClr val="505050"/>
                        </a:gs>
                        <a:gs pos="79000">
                          <a:srgbClr val="505050"/>
                        </a:gs>
                      </a:gsLst>
                      <a:lin ang="5400000" scaled="0"/>
                    </a:gradFill>
                    <a:effectLst/>
                    <a:uLnTx/>
                    <a:uFillTx/>
                    <a:latin typeface="Segoe UI"/>
                    <a:ea typeface="Segoe UI" pitchFamily="34" charset="0"/>
                    <a:cs typeface="Segoe UI" pitchFamily="34" charset="0"/>
                  </a:rPr>
                  <a:t>R:0 G:188 B:242</a:t>
                </a:r>
              </a:p>
            </p:txBody>
          </p:sp>
          <p:sp>
            <p:nvSpPr>
              <p:cNvPr id="52" name="Rectangle 51"/>
              <p:cNvSpPr/>
              <p:nvPr userDrawn="1"/>
            </p:nvSpPr>
            <p:spPr bwMode="auto">
              <a:xfrm>
                <a:off x="1586734" y="4882896"/>
                <a:ext cx="869930" cy="289766"/>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Light Gray</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R:210 G:210 B:210</a:t>
                </a:r>
              </a:p>
            </p:txBody>
          </p:sp>
          <p:sp>
            <p:nvSpPr>
              <p:cNvPr id="53" name="Rectangle 52"/>
              <p:cNvSpPr/>
              <p:nvPr userDrawn="1"/>
            </p:nvSpPr>
            <p:spPr bwMode="auto">
              <a:xfrm>
                <a:off x="3419856" y="4543426"/>
                <a:ext cx="869930" cy="289766"/>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0 G:32 B:80</a:t>
                </a:r>
              </a:p>
            </p:txBody>
          </p:sp>
          <p:sp>
            <p:nvSpPr>
              <p:cNvPr id="54" name="Rectangle 53"/>
              <p:cNvSpPr/>
              <p:nvPr userDrawn="1"/>
            </p:nvSpPr>
            <p:spPr bwMode="auto">
              <a:xfrm>
                <a:off x="3413144" y="4882896"/>
                <a:ext cx="869930" cy="289766"/>
              </a:xfrm>
              <a:prstGeom prst="rect">
                <a:avLst/>
              </a:prstGeom>
              <a:solidFill>
                <a:srgbClr val="32323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50 G:50 B:50</a:t>
                </a:r>
              </a:p>
            </p:txBody>
          </p:sp>
          <p:sp>
            <p:nvSpPr>
              <p:cNvPr id="55" name="Rectangle 54"/>
              <p:cNvSpPr/>
              <p:nvPr userDrawn="1"/>
            </p:nvSpPr>
            <p:spPr bwMode="auto">
              <a:xfrm>
                <a:off x="2505456" y="4882895"/>
                <a:ext cx="869930" cy="289766"/>
              </a:xfrm>
              <a:prstGeom prst="rect">
                <a:avLst/>
              </a:prstGeom>
              <a:solidFill>
                <a:srgbClr val="737373"/>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ay</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15 G:115 B:115</a:t>
                </a:r>
              </a:p>
            </p:txBody>
          </p:sp>
        </p:grpSp>
        <p:grpSp>
          <p:nvGrpSpPr>
            <p:cNvPr id="44" name="Group 43"/>
            <p:cNvGrpSpPr/>
            <p:nvPr userDrawn="1"/>
          </p:nvGrpSpPr>
          <p:grpSpPr>
            <a:xfrm rot="5400000">
              <a:off x="11412325" y="4270556"/>
              <a:ext cx="2703052" cy="289766"/>
              <a:chOff x="4476564" y="4543426"/>
              <a:chExt cx="2703052" cy="289766"/>
            </a:xfrm>
          </p:grpSpPr>
          <p:sp>
            <p:nvSpPr>
              <p:cNvPr id="47" name="Rectangle 46"/>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lvl="0" defTabSz="914102" fontAlgn="base">
                  <a:lnSpc>
                    <a:spcPct val="100000"/>
                  </a:lnSpc>
                  <a:spcBef>
                    <a:spcPct val="0"/>
                  </a:spcBef>
                  <a:spcAft>
                    <a:spcPct val="0"/>
                  </a:spcAft>
                </a:pPr>
                <a:r>
                  <a:rPr lang="en-US" sz="490" b="1" baseline="0" noProof="0" dirty="0">
                    <a:gradFill>
                      <a:gsLst>
                        <a:gs pos="0">
                          <a:srgbClr val="FFFFFF"/>
                        </a:gs>
                        <a:gs pos="100000">
                          <a:srgbClr val="FFFFFF"/>
                        </a:gs>
                      </a:gsLst>
                      <a:lin ang="5400000" scaled="0"/>
                    </a:gradFill>
                    <a:ea typeface="Segoe UI" pitchFamily="34" charset="0"/>
                    <a:cs typeface="Segoe UI" pitchFamily="34" charset="0"/>
                  </a:rPr>
                  <a:t>Purple</a:t>
                </a:r>
              </a:p>
              <a:p>
                <a:pPr lvl="0" defTabSz="914102" fontAlgn="base">
                  <a:lnSpc>
                    <a:spcPct val="100000"/>
                  </a:lnSpc>
                  <a:spcBef>
                    <a:spcPct val="0"/>
                  </a:spcBef>
                  <a:spcAft>
                    <a:spcPct val="0"/>
                  </a:spcAft>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92 G:45 B:145</a:t>
                </a:r>
              </a:p>
            </p:txBody>
          </p:sp>
          <p:sp>
            <p:nvSpPr>
              <p:cNvPr id="48" name="Rectangle 47"/>
              <p:cNvSpPr/>
              <p:nvPr userDrawn="1"/>
            </p:nvSpPr>
            <p:spPr bwMode="auto">
              <a:xfrm>
                <a:off x="6309686" y="4543426"/>
                <a:ext cx="869930" cy="289766"/>
              </a:xfrm>
              <a:prstGeom prst="rect">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nge</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216 G:59 B:1</a:t>
                </a:r>
              </a:p>
            </p:txBody>
          </p:sp>
          <p:sp>
            <p:nvSpPr>
              <p:cNvPr id="49" name="Rectangle 48"/>
              <p:cNvSpPr/>
              <p:nvPr userDrawn="1"/>
            </p:nvSpPr>
            <p:spPr bwMode="auto">
              <a:xfrm>
                <a:off x="4476564" y="4543426"/>
                <a:ext cx="869930" cy="289766"/>
              </a:xfrm>
              <a:prstGeom prst="rect">
                <a:avLst/>
              </a:prstGeom>
              <a:solidFill>
                <a:srgbClr val="107C10"/>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een</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grpSp>
        <p:sp>
          <p:nvSpPr>
            <p:cNvPr id="45" name="TextBox 44"/>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rgbClr val="505050"/>
                      </a:gs>
                      <a:gs pos="30000">
                        <a:srgbClr val="505050"/>
                      </a:gs>
                    </a:gsLst>
                    <a:lin ang="5400000" scaled="0"/>
                  </a:gradFill>
                  <a:effectLst/>
                  <a:uLnTx/>
                  <a:uFillTx/>
                </a:rPr>
                <a:t>Main colors</a:t>
              </a:r>
            </a:p>
          </p:txBody>
        </p:sp>
        <p:sp>
          <p:nvSpPr>
            <p:cNvPr id="46" name="TextBox 45"/>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rgbClr val="505050"/>
                      </a:gs>
                      <a:gs pos="30000">
                        <a:srgbClr val="505050"/>
                      </a:gs>
                    </a:gsLst>
                    <a:lin ang="5400000" scaled="0"/>
                  </a:gradFill>
                  <a:effectLst/>
                  <a:uLnTx/>
                  <a:uFillTx/>
                </a:rPr>
                <a:t>Secondary colors (use only when necessary)</a:t>
              </a:r>
            </a:p>
          </p:txBody>
        </p:sp>
      </p:grpSp>
    </p:spTree>
    <p:extLst>
      <p:ext uri="{BB962C8B-B14F-4D97-AF65-F5344CB8AC3E}">
        <p14:creationId xmlns:p14="http://schemas.microsoft.com/office/powerpoint/2010/main" val="94053548"/>
      </p:ext>
    </p:extLst>
  </p:cSld>
  <p:clrMap bg1="dk1" tx1="lt1" bg2="dk2" tx2="lt2" accent1="accent1" accent2="accent2" accent3="accent3" accent4="accent4" accent5="accent5" accent6="accent6" hlink="hlink" folHlink="folHlink"/>
  <p:sldLayoutIdLst>
    <p:sldLayoutId id="2147484083" r:id="rId1"/>
    <p:sldLayoutId id="2147484084" r:id="rId2"/>
    <p:sldLayoutId id="2147484085" r:id="rId3"/>
    <p:sldLayoutId id="2147484086" r:id="rId4"/>
    <p:sldLayoutId id="2147484087" r:id="rId5"/>
    <p:sldLayoutId id="2147484088" r:id="rId6"/>
    <p:sldLayoutId id="2147484089" r:id="rId7"/>
    <p:sldLayoutId id="2147484090" r:id="rId8"/>
    <p:sldLayoutId id="2147484091" r:id="rId9"/>
    <p:sldLayoutId id="2147484092" r:id="rId10"/>
    <p:sldLayoutId id="2147484093" r:id="rId11"/>
    <p:sldLayoutId id="2147484094" r:id="rId12"/>
    <p:sldLayoutId id="2147484095" r:id="rId13"/>
    <p:sldLayoutId id="2147484096" r:id="rId14"/>
    <p:sldLayoutId id="2147484097" r:id="rId15"/>
    <p:sldLayoutId id="2147484098" r:id="rId16"/>
    <p:sldLayoutId id="2147484099" r:id="rId17"/>
    <p:sldLayoutId id="2147484100" r:id="rId18"/>
    <p:sldLayoutId id="2147484101" r:id="rId19"/>
    <p:sldLayoutId id="2147484102"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제목 개체 틀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kumimoji="1" lang="ko-KR" altLang="en-US"/>
              <a:t>마스터 제목 스타일 편집</a:t>
            </a:r>
          </a:p>
        </p:txBody>
      </p:sp>
      <p:sp>
        <p:nvSpPr>
          <p:cNvPr id="3" name="텍스트 개체 틀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ko-KR" altLang="en-US"/>
              <a:t>마스터 텍스트 스타일을 편집하려면 클릭</a:t>
            </a:r>
          </a:p>
          <a:p>
            <a:pPr lvl="1"/>
            <a:r>
              <a:rPr kumimoji="1" lang="ko-KR" altLang="en-US"/>
              <a:t>두 번째 수준</a:t>
            </a:r>
          </a:p>
          <a:p>
            <a:pPr lvl="2"/>
            <a:r>
              <a:rPr kumimoji="1" lang="ko-KR" altLang="en-US"/>
              <a:t>세 번째 수준</a:t>
            </a:r>
          </a:p>
          <a:p>
            <a:pPr lvl="3"/>
            <a:r>
              <a:rPr kumimoji="1" lang="ko-KR" altLang="en-US"/>
              <a:t>네 번째 수준</a:t>
            </a:r>
          </a:p>
          <a:p>
            <a:pPr lvl="4"/>
            <a:r>
              <a:rPr kumimoji="1" lang="ko-KR" altLang="en-US"/>
              <a:t>다섯 번째 수준</a:t>
            </a:r>
          </a:p>
        </p:txBody>
      </p:sp>
      <p:sp>
        <p:nvSpPr>
          <p:cNvPr id="4" name="날짜 개체 틀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225"/>
            <a:fld id="{D735A38F-BD23-1340-95E9-C29C2C204A54}" type="datetimeFigureOut">
              <a:rPr kumimoji="1" lang="ko-KR" altLang="en-US" smtClean="0">
                <a:solidFill>
                  <a:prstClr val="black">
                    <a:tint val="75000"/>
                  </a:prstClr>
                </a:solidFill>
              </a:rPr>
              <a:pPr defTabSz="914225"/>
              <a:t>2016-09-20</a:t>
            </a:fld>
            <a:endParaRPr kumimoji="1" lang="ko-KR" altLang="en-US">
              <a:solidFill>
                <a:prstClr val="black">
                  <a:tint val="75000"/>
                </a:prstClr>
              </a:solidFill>
            </a:endParaRPr>
          </a:p>
        </p:txBody>
      </p:sp>
      <p:sp>
        <p:nvSpPr>
          <p:cNvPr id="5" name="바닥글 개체 틀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225"/>
            <a:endParaRPr kumimoji="1" lang="ko-KR" altLang="en-US">
              <a:solidFill>
                <a:prstClr val="black">
                  <a:tint val="75000"/>
                </a:prstClr>
              </a:solidFill>
            </a:endParaRPr>
          </a:p>
        </p:txBody>
      </p:sp>
      <p:sp>
        <p:nvSpPr>
          <p:cNvPr id="6" name="슬라이드 번호 개체 틀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225"/>
            <a:fld id="{855879BB-F311-F04F-9F9C-BD345EDA3B84}" type="slidenum">
              <a:rPr kumimoji="1" lang="ko-KR" altLang="en-US" smtClean="0">
                <a:solidFill>
                  <a:prstClr val="black">
                    <a:tint val="75000"/>
                  </a:prstClr>
                </a:solidFill>
              </a:rPr>
              <a:pPr defTabSz="914225"/>
              <a:t>‹#›</a:t>
            </a:fld>
            <a:endParaRPr kumimoji="1" lang="ko-KR" altLang="en-US">
              <a:solidFill>
                <a:prstClr val="black">
                  <a:tint val="75000"/>
                </a:prstClr>
              </a:solidFill>
            </a:endParaRPr>
          </a:p>
        </p:txBody>
      </p:sp>
    </p:spTree>
    <p:extLst>
      <p:ext uri="{BB962C8B-B14F-4D97-AF65-F5344CB8AC3E}">
        <p14:creationId xmlns:p14="http://schemas.microsoft.com/office/powerpoint/2010/main" val="1906531286"/>
      </p:ext>
    </p:extLst>
  </p:cSld>
  <p:clrMap bg1="lt1" tx1="dk1" bg2="lt2" tx2="dk2" accent1="accent1" accent2="accent2" accent3="accent3" accent4="accent4" accent5="accent5" accent6="accent6" hlink="hlink" folHlink="folHlink"/>
  <p:sldLayoutIdLst>
    <p:sldLayoutId id="2147484104" r:id="rId1"/>
    <p:sldLayoutId id="2147484105" r:id="rId2"/>
    <p:sldLayoutId id="2147484106" r:id="rId3"/>
    <p:sldLayoutId id="2147484107" r:id="rId4"/>
    <p:sldLayoutId id="2147484108" r:id="rId5"/>
    <p:sldLayoutId id="2147484109" r:id="rId6"/>
    <p:sldLayoutId id="2147484110" r:id="rId7"/>
    <p:sldLayoutId id="2147484111" r:id="rId8"/>
    <p:sldLayoutId id="2147484112" r:id="rId9"/>
    <p:sldLayoutId id="2147484113" r:id="rId10"/>
    <p:sldLayoutId id="2147484114" r:id="rId11"/>
  </p:sldLayoutIdLst>
  <p:txStyles>
    <p:titleStyle>
      <a:lvl1pPr algn="l" defTabSz="914225" rtl="0" eaLnBrk="1" latinLnBrk="1"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1" hangingPunct="1">
        <a:lnSpc>
          <a:spcPct val="90000"/>
        </a:lnSpc>
        <a:spcBef>
          <a:spcPts val="1000"/>
        </a:spcBef>
        <a:buFont typeface="Arial"/>
        <a:buChar char="•"/>
        <a:defRPr sz="2800" kern="1200">
          <a:solidFill>
            <a:schemeClr val="tx1"/>
          </a:solidFill>
          <a:latin typeface="+mn-lt"/>
          <a:ea typeface="+mn-ea"/>
          <a:cs typeface="+mn-cs"/>
        </a:defRPr>
      </a:lvl1pPr>
      <a:lvl2pPr marL="685668" indent="-228556" algn="l" defTabSz="914225" rtl="0" eaLnBrk="1" latinLnBrk="1" hangingPunct="1">
        <a:lnSpc>
          <a:spcPct val="90000"/>
        </a:lnSpc>
        <a:spcBef>
          <a:spcPts val="500"/>
        </a:spcBef>
        <a:buFont typeface="Arial"/>
        <a:buChar char="•"/>
        <a:defRPr sz="2400" kern="1200">
          <a:solidFill>
            <a:schemeClr val="tx1"/>
          </a:solidFill>
          <a:latin typeface="+mn-lt"/>
          <a:ea typeface="+mn-ea"/>
          <a:cs typeface="+mn-cs"/>
        </a:defRPr>
      </a:lvl2pPr>
      <a:lvl3pPr marL="1142781" indent="-228556" algn="l" defTabSz="914225" rtl="0" eaLnBrk="1" latinLnBrk="1" hangingPunct="1">
        <a:lnSpc>
          <a:spcPct val="90000"/>
        </a:lnSpc>
        <a:spcBef>
          <a:spcPts val="500"/>
        </a:spcBef>
        <a:buFont typeface="Arial"/>
        <a:buChar char="•"/>
        <a:defRPr sz="2000" kern="1200">
          <a:solidFill>
            <a:schemeClr val="tx1"/>
          </a:solidFill>
          <a:latin typeface="+mn-lt"/>
          <a:ea typeface="+mn-ea"/>
          <a:cs typeface="+mn-cs"/>
        </a:defRPr>
      </a:lvl3pPr>
      <a:lvl4pPr marL="1599893" indent="-228556" algn="l" defTabSz="914225" rtl="0" eaLnBrk="1" latinLnBrk="1" hangingPunct="1">
        <a:lnSpc>
          <a:spcPct val="90000"/>
        </a:lnSpc>
        <a:spcBef>
          <a:spcPts val="500"/>
        </a:spcBef>
        <a:buFont typeface="Arial"/>
        <a:buChar char="•"/>
        <a:defRPr sz="1800" kern="1200">
          <a:solidFill>
            <a:schemeClr val="tx1"/>
          </a:solidFill>
          <a:latin typeface="+mn-lt"/>
          <a:ea typeface="+mn-ea"/>
          <a:cs typeface="+mn-cs"/>
        </a:defRPr>
      </a:lvl4pPr>
      <a:lvl5pPr marL="2057005" indent="-228556" algn="l" defTabSz="914225" rtl="0" eaLnBrk="1" latinLnBrk="1" hangingPunct="1">
        <a:lnSpc>
          <a:spcPct val="90000"/>
        </a:lnSpc>
        <a:spcBef>
          <a:spcPts val="500"/>
        </a:spcBef>
        <a:buFont typeface="Arial"/>
        <a:buChar char="•"/>
        <a:defRPr sz="1800" kern="1200">
          <a:solidFill>
            <a:schemeClr val="tx1"/>
          </a:solidFill>
          <a:latin typeface="+mn-lt"/>
          <a:ea typeface="+mn-ea"/>
          <a:cs typeface="+mn-cs"/>
        </a:defRPr>
      </a:lvl5pPr>
      <a:lvl6pPr marL="2514118" indent="-228556" algn="l" defTabSz="914225" rtl="0" eaLnBrk="1" latinLnBrk="1" hangingPunct="1">
        <a:lnSpc>
          <a:spcPct val="90000"/>
        </a:lnSpc>
        <a:spcBef>
          <a:spcPts val="500"/>
        </a:spcBef>
        <a:buFont typeface="Arial"/>
        <a:buChar char="•"/>
        <a:defRPr sz="1800" kern="1200">
          <a:solidFill>
            <a:schemeClr val="tx1"/>
          </a:solidFill>
          <a:latin typeface="+mn-lt"/>
          <a:ea typeface="+mn-ea"/>
          <a:cs typeface="+mn-cs"/>
        </a:defRPr>
      </a:lvl6pPr>
      <a:lvl7pPr marL="2971230" indent="-228556" algn="l" defTabSz="914225" rtl="0" eaLnBrk="1" latinLnBrk="1" hangingPunct="1">
        <a:lnSpc>
          <a:spcPct val="90000"/>
        </a:lnSpc>
        <a:spcBef>
          <a:spcPts val="500"/>
        </a:spcBef>
        <a:buFont typeface="Arial"/>
        <a:buChar char="•"/>
        <a:defRPr sz="1800" kern="1200">
          <a:solidFill>
            <a:schemeClr val="tx1"/>
          </a:solidFill>
          <a:latin typeface="+mn-lt"/>
          <a:ea typeface="+mn-ea"/>
          <a:cs typeface="+mn-cs"/>
        </a:defRPr>
      </a:lvl7pPr>
      <a:lvl8pPr marL="3428341" indent="-228556" algn="l" defTabSz="914225" rtl="0" eaLnBrk="1" latinLnBrk="1" hangingPunct="1">
        <a:lnSpc>
          <a:spcPct val="90000"/>
        </a:lnSpc>
        <a:spcBef>
          <a:spcPts val="500"/>
        </a:spcBef>
        <a:buFont typeface="Arial"/>
        <a:buChar char="•"/>
        <a:defRPr sz="1800" kern="1200">
          <a:solidFill>
            <a:schemeClr val="tx1"/>
          </a:solidFill>
          <a:latin typeface="+mn-lt"/>
          <a:ea typeface="+mn-ea"/>
          <a:cs typeface="+mn-cs"/>
        </a:defRPr>
      </a:lvl8pPr>
      <a:lvl9pPr marL="3885453" indent="-228556" algn="l" defTabSz="914225" rtl="0" eaLnBrk="1" latinLnBrk="1"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ko-KR"/>
      </a:defPPr>
      <a:lvl1pPr marL="0" algn="l" defTabSz="914225" rtl="0" eaLnBrk="1" latinLnBrk="1" hangingPunct="1">
        <a:defRPr sz="1800" kern="1200">
          <a:solidFill>
            <a:schemeClr val="tx1"/>
          </a:solidFill>
          <a:latin typeface="+mn-lt"/>
          <a:ea typeface="+mn-ea"/>
          <a:cs typeface="+mn-cs"/>
        </a:defRPr>
      </a:lvl1pPr>
      <a:lvl2pPr marL="457112" algn="l" defTabSz="914225" rtl="0" eaLnBrk="1" latinLnBrk="1" hangingPunct="1">
        <a:defRPr sz="1800" kern="1200">
          <a:solidFill>
            <a:schemeClr val="tx1"/>
          </a:solidFill>
          <a:latin typeface="+mn-lt"/>
          <a:ea typeface="+mn-ea"/>
          <a:cs typeface="+mn-cs"/>
        </a:defRPr>
      </a:lvl2pPr>
      <a:lvl3pPr marL="914225" algn="l" defTabSz="914225" rtl="0" eaLnBrk="1" latinLnBrk="1" hangingPunct="1">
        <a:defRPr sz="1800" kern="1200">
          <a:solidFill>
            <a:schemeClr val="tx1"/>
          </a:solidFill>
          <a:latin typeface="+mn-lt"/>
          <a:ea typeface="+mn-ea"/>
          <a:cs typeface="+mn-cs"/>
        </a:defRPr>
      </a:lvl3pPr>
      <a:lvl4pPr marL="1371337" algn="l" defTabSz="914225" rtl="0" eaLnBrk="1" latinLnBrk="1" hangingPunct="1">
        <a:defRPr sz="1800" kern="1200">
          <a:solidFill>
            <a:schemeClr val="tx1"/>
          </a:solidFill>
          <a:latin typeface="+mn-lt"/>
          <a:ea typeface="+mn-ea"/>
          <a:cs typeface="+mn-cs"/>
        </a:defRPr>
      </a:lvl4pPr>
      <a:lvl5pPr marL="1828449" algn="l" defTabSz="914225" rtl="0" eaLnBrk="1" latinLnBrk="1" hangingPunct="1">
        <a:defRPr sz="1800" kern="1200">
          <a:solidFill>
            <a:schemeClr val="tx1"/>
          </a:solidFill>
          <a:latin typeface="+mn-lt"/>
          <a:ea typeface="+mn-ea"/>
          <a:cs typeface="+mn-cs"/>
        </a:defRPr>
      </a:lvl5pPr>
      <a:lvl6pPr marL="2285561" algn="l" defTabSz="914225" rtl="0" eaLnBrk="1" latinLnBrk="1" hangingPunct="1">
        <a:defRPr sz="1800" kern="1200">
          <a:solidFill>
            <a:schemeClr val="tx1"/>
          </a:solidFill>
          <a:latin typeface="+mn-lt"/>
          <a:ea typeface="+mn-ea"/>
          <a:cs typeface="+mn-cs"/>
        </a:defRPr>
      </a:lvl6pPr>
      <a:lvl7pPr marL="2742674" algn="l" defTabSz="914225" rtl="0" eaLnBrk="1" latinLnBrk="1" hangingPunct="1">
        <a:defRPr sz="1800" kern="1200">
          <a:solidFill>
            <a:schemeClr val="tx1"/>
          </a:solidFill>
          <a:latin typeface="+mn-lt"/>
          <a:ea typeface="+mn-ea"/>
          <a:cs typeface="+mn-cs"/>
        </a:defRPr>
      </a:lvl7pPr>
      <a:lvl8pPr marL="3199785" algn="l" defTabSz="914225" rtl="0" eaLnBrk="1" latinLnBrk="1" hangingPunct="1">
        <a:defRPr sz="1800" kern="1200">
          <a:solidFill>
            <a:schemeClr val="tx1"/>
          </a:solidFill>
          <a:latin typeface="+mn-lt"/>
          <a:ea typeface="+mn-ea"/>
          <a:cs typeface="+mn-cs"/>
        </a:defRPr>
      </a:lvl8pPr>
      <a:lvl9pPr marL="3656897" algn="l" defTabSz="914225" rtl="0" eaLnBrk="1" latinLnBrk="1"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제목 개체 틀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ko-KR" altLang="en-US"/>
              <a:t>마스터 제목 스타일 편집</a:t>
            </a:r>
          </a:p>
        </p:txBody>
      </p:sp>
      <p:sp>
        <p:nvSpPr>
          <p:cNvPr id="3" name="텍스트 개체 틀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4" name="날짜 개체 틀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1" hangingPunct="1">
              <a:lnSpc>
                <a:spcPct val="100000"/>
              </a:lnSpc>
              <a:spcBef>
                <a:spcPts val="0"/>
              </a:spcBef>
              <a:spcAft>
                <a:spcPts val="0"/>
              </a:spcAft>
              <a:buClrTx/>
              <a:buSzTx/>
              <a:buFontTx/>
              <a:buNone/>
              <a:tabLst/>
              <a:defRPr/>
            </a:pPr>
            <a:fld id="{1F80ADC6-5EDD-452C-9C52-3619FED993FA}" type="datetimeFigureOut">
              <a:rPr kumimoji="0" lang="ko-KR" altLang="en-US" sz="1200" b="0" i="0" u="none" strike="noStrike" kern="1200" cap="none" spc="0" normalizeH="0" baseline="0" noProof="0" smtClean="0">
                <a:ln>
                  <a:noFill/>
                </a:ln>
                <a:solidFill>
                  <a:prstClr val="black">
                    <a:tint val="75000"/>
                  </a:prstClr>
                </a:solidFill>
                <a:effectLst/>
                <a:uLnTx/>
                <a:uFillTx/>
                <a:latin typeface="맑은 고딕" panose="020F0502020204030204"/>
                <a:ea typeface="맑은 고딕" panose="020B0503020000020004" pitchFamily="50" charset="-127"/>
                <a:cs typeface="+mn-cs"/>
              </a:rPr>
              <a:pPr marL="0" marR="0" lvl="0" indent="0" algn="l" defTabSz="914400" rtl="0" eaLnBrk="1" fontAlgn="auto" latinLnBrk="1" hangingPunct="1">
                <a:lnSpc>
                  <a:spcPct val="100000"/>
                </a:lnSpc>
                <a:spcBef>
                  <a:spcPts val="0"/>
                </a:spcBef>
                <a:spcAft>
                  <a:spcPts val="0"/>
                </a:spcAft>
                <a:buClrTx/>
                <a:buSzTx/>
                <a:buFontTx/>
                <a:buNone/>
                <a:tabLst/>
                <a:defRPr/>
              </a:pPr>
              <a:t>2016-09-20</a:t>
            </a:fld>
            <a:endParaRPr kumimoji="0" lang="ko-KR" altLang="en-US" sz="1200" b="0" i="0" u="none" strike="noStrike" kern="1200" cap="none" spc="0" normalizeH="0" baseline="0" noProof="0">
              <a:ln>
                <a:noFill/>
              </a:ln>
              <a:solidFill>
                <a:prstClr val="black">
                  <a:tint val="75000"/>
                </a:prstClr>
              </a:solidFill>
              <a:effectLst/>
              <a:uLnTx/>
              <a:uFillTx/>
              <a:latin typeface="맑은 고딕" panose="020F0502020204030204"/>
              <a:ea typeface="맑은 고딕" panose="020B0503020000020004" pitchFamily="50" charset="-127"/>
              <a:cs typeface="+mn-cs"/>
            </a:endParaRPr>
          </a:p>
        </p:txBody>
      </p:sp>
      <p:sp>
        <p:nvSpPr>
          <p:cNvPr id="5" name="바닥글 개체 틀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200" b="0" i="0" u="none" strike="noStrike" kern="1200" cap="none" spc="0" normalizeH="0" baseline="0" noProof="0">
              <a:ln>
                <a:noFill/>
              </a:ln>
              <a:solidFill>
                <a:prstClr val="black">
                  <a:tint val="75000"/>
                </a:prstClr>
              </a:solidFill>
              <a:effectLst/>
              <a:uLnTx/>
              <a:uFillTx/>
              <a:latin typeface="맑은 고딕" panose="020F0502020204030204"/>
              <a:ea typeface="맑은 고딕" panose="020B0503020000020004" pitchFamily="50" charset="-127"/>
              <a:cs typeface="+mn-cs"/>
            </a:endParaRPr>
          </a:p>
        </p:txBody>
      </p:sp>
      <p:sp>
        <p:nvSpPr>
          <p:cNvPr id="6" name="슬라이드 번호 개체 틀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1" hangingPunct="1">
              <a:lnSpc>
                <a:spcPct val="100000"/>
              </a:lnSpc>
              <a:spcBef>
                <a:spcPts val="0"/>
              </a:spcBef>
              <a:spcAft>
                <a:spcPts val="0"/>
              </a:spcAft>
              <a:buClrTx/>
              <a:buSzTx/>
              <a:buFontTx/>
              <a:buNone/>
              <a:tabLst/>
              <a:defRPr/>
            </a:pPr>
            <a:fld id="{93A32577-4FD0-4182-8956-ECCF49E5E615}" type="slidenum">
              <a:rPr kumimoji="0" lang="ko-KR" altLang="en-US" sz="1200" b="0" i="0" u="none" strike="noStrike" kern="1200" cap="none" spc="0" normalizeH="0" baseline="0" noProof="0" smtClean="0">
                <a:ln>
                  <a:noFill/>
                </a:ln>
                <a:solidFill>
                  <a:prstClr val="black">
                    <a:tint val="75000"/>
                  </a:prstClr>
                </a:solidFill>
                <a:effectLst/>
                <a:uLnTx/>
                <a:uFillTx/>
                <a:latin typeface="맑은 고딕" panose="020F0502020204030204"/>
                <a:ea typeface="맑은 고딕" panose="020B0503020000020004" pitchFamily="50" charset="-127"/>
                <a:cs typeface="+mn-cs"/>
              </a:rPr>
              <a:pPr marL="0" marR="0" lvl="0" indent="0" algn="r" defTabSz="914400" rtl="0" eaLnBrk="1" fontAlgn="auto" latinLnBrk="1" hangingPunct="1">
                <a:lnSpc>
                  <a:spcPct val="100000"/>
                </a:lnSpc>
                <a:spcBef>
                  <a:spcPts val="0"/>
                </a:spcBef>
                <a:spcAft>
                  <a:spcPts val="0"/>
                </a:spcAft>
                <a:buClrTx/>
                <a:buSzTx/>
                <a:buFontTx/>
                <a:buNone/>
                <a:tabLst/>
                <a:defRPr/>
              </a:pPr>
              <a:t>‹#›</a:t>
            </a:fld>
            <a:endParaRPr kumimoji="0" lang="ko-KR" altLang="en-US" sz="1200" b="0" i="0" u="none" strike="noStrike" kern="1200" cap="none" spc="0" normalizeH="0" baseline="0" noProof="0">
              <a:ln>
                <a:noFill/>
              </a:ln>
              <a:solidFill>
                <a:prstClr val="black">
                  <a:tint val="75000"/>
                </a:prstClr>
              </a:solidFill>
              <a:effectLst/>
              <a:uLnTx/>
              <a:uFillTx/>
              <a:latin typeface="맑은 고딕" panose="020F0502020204030204"/>
              <a:ea typeface="맑은 고딕" panose="020B0503020000020004" pitchFamily="50" charset="-127"/>
              <a:cs typeface="+mn-cs"/>
            </a:endParaRPr>
          </a:p>
        </p:txBody>
      </p:sp>
    </p:spTree>
    <p:extLst>
      <p:ext uri="{BB962C8B-B14F-4D97-AF65-F5344CB8AC3E}">
        <p14:creationId xmlns:p14="http://schemas.microsoft.com/office/powerpoint/2010/main" val="2024285"/>
      </p:ext>
    </p:extLst>
  </p:cSld>
  <p:clrMap bg1="lt1" tx1="dk1" bg2="lt2" tx2="dk2" accent1="accent1" accent2="accent2" accent3="accent3" accent4="accent4" accent5="accent5" accent6="accent6" hlink="hlink" folHlink="folHlink"/>
  <p:sldLayoutIdLst>
    <p:sldLayoutId id="2147484116" r:id="rId1"/>
    <p:sldLayoutId id="2147484117" r:id="rId2"/>
    <p:sldLayoutId id="2147484118" r:id="rId3"/>
  </p:sldLayoutIdLst>
  <p:txStyles>
    <p:titleStyle>
      <a:lvl1pPr algn="l" defTabSz="914400" rtl="0" eaLnBrk="1" latinLnBrk="1"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1"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ltLang="ko-KR"/>
              <a:t>Click to edit Master title style</a:t>
            </a:r>
            <a:endParaRPr lang="ko-KR" alt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ltLang="ko-KR"/>
              <a:t>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ko-KR" alt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DC95F81-F393-48E0-8BA5-6FFB924FDFF2}" type="datetimeFigureOut">
              <a:rPr lang="ko-KR" altLang="en-US" smtClean="0"/>
              <a:t>2016-09-20</a:t>
            </a:fld>
            <a:endParaRPr lang="ko-KR" alt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ko-KR" alt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6E4091F-EC69-4E40-9D9D-52129A5C3CF4}" type="slidenum">
              <a:rPr lang="ko-KR" altLang="en-US" smtClean="0"/>
              <a:t>‹#›</a:t>
            </a:fld>
            <a:endParaRPr lang="ko-KR" altLang="en-US"/>
          </a:p>
        </p:txBody>
      </p:sp>
    </p:spTree>
    <p:extLst>
      <p:ext uri="{BB962C8B-B14F-4D97-AF65-F5344CB8AC3E}">
        <p14:creationId xmlns:p14="http://schemas.microsoft.com/office/powerpoint/2010/main" val="51118585"/>
      </p:ext>
    </p:extLst>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 id="2147484129" r:id="rId10"/>
    <p:sldLayoutId id="2147484130" r:id="rId11"/>
  </p:sldLayoutIdLst>
  <p:txStyles>
    <p:titleStyle>
      <a:lvl1pPr algn="l" defTabSz="914400" rtl="0" eaLnBrk="1" latinLnBrk="1"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1"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8"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837103990"/>
      </p:ext>
    </p:extLst>
  </p:cSld>
  <p:clrMap bg1="lt1" tx1="dk1" bg2="lt2" tx2="dk2" accent1="accent1" accent2="accent2" accent3="accent3" accent4="accent4" accent5="accent5" accent6="accent6" hlink="hlink" folHlink="folHlink"/>
  <p:sldLayoutIdLst>
    <p:sldLayoutId id="2147484162" r:id="rId1"/>
    <p:sldLayoutId id="2147484163" r:id="rId2"/>
    <p:sldLayoutId id="2147484164" r:id="rId3"/>
    <p:sldLayoutId id="2147484165" r:id="rId4"/>
    <p:sldLayoutId id="2147484166" r:id="rId5"/>
    <p:sldLayoutId id="2147484167" r:id="rId6"/>
    <p:sldLayoutId id="2147484168" r:id="rId7"/>
    <p:sldLayoutId id="2147484169" r:id="rId8"/>
    <p:sldLayoutId id="2147484170" r:id="rId9"/>
    <p:sldLayoutId id="2147484171" r:id="rId10"/>
    <p:sldLayoutId id="2147484172" r:id="rId11"/>
    <p:sldLayoutId id="2147484173" r:id="rId12"/>
    <p:sldLayoutId id="2147484174" r:id="rId13"/>
    <p:sldLayoutId id="2147484175" r:id="rId14"/>
    <p:sldLayoutId id="2147484176" r:id="rId15"/>
    <p:sldLayoutId id="2147484177" r:id="rId16"/>
    <p:sldLayoutId id="2147484178" r:id="rId17"/>
    <p:sldLayoutId id="2147484179" r:id="rId18"/>
    <p:sldLayoutId id="2147484180" r:id="rId19"/>
    <p:sldLayoutId id="2147484181" r:id="rId20"/>
    <p:sldLayoutId id="2147484182" r:id="rId21"/>
    <p:sldLayoutId id="2147484183" r:id="rId22"/>
    <p:sldLayoutId id="2147484184" r:id="rId23"/>
    <p:sldLayoutId id="2147484185" r:id="rId24"/>
    <p:sldLayoutId id="2147484186" r:id="rId25"/>
    <p:sldLayoutId id="2147484187" r:id="rId26"/>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39" y="286381"/>
            <a:ext cx="11151917" cy="927940"/>
          </a:xfrm>
          <a:prstGeom prst="rect">
            <a:avLst/>
          </a:prstGeom>
        </p:spPr>
        <p:txBody>
          <a:bodyPr vert="horz" wrap="square" lIns="146304" tIns="91440" rIns="146304" bIns="91440" rtlCol="0" anchor="t">
            <a:spAutoFit/>
          </a:bodyPr>
          <a:lstStyle/>
          <a:p>
            <a:r>
              <a:rPr lang="en-US"/>
              <a:t>Click to edit Master title style</a:t>
            </a:r>
            <a:endParaRPr lang="en-US" dirty="0"/>
          </a:p>
        </p:txBody>
      </p:sp>
      <p:sp>
        <p:nvSpPr>
          <p:cNvPr id="4" name="Text Placeholder 3"/>
          <p:cNvSpPr>
            <a:spLocks noGrp="1"/>
          </p:cNvSpPr>
          <p:nvPr>
            <p:ph type="body" idx="1"/>
          </p:nvPr>
        </p:nvSpPr>
        <p:spPr>
          <a:xfrm>
            <a:off x="266063" y="1187621"/>
            <a:ext cx="11155093" cy="2559002"/>
          </a:xfrm>
          <a:prstGeom prst="rect">
            <a:avLst/>
          </a:prstGeom>
        </p:spPr>
        <p:txBody>
          <a:bodyPr vert="horz" lIns="182880" tIns="146304" rIns="182880" bIns="146304"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9955757"/>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 id="2147483696" r:id="rId14"/>
    <p:sldLayoutId id="2147483697" r:id="rId15"/>
    <p:sldLayoutId id="2147483698" r:id="rId16"/>
    <p:sldLayoutId id="2147483699" r:id="rId17"/>
    <p:sldLayoutId id="2147483700" r:id="rId18"/>
    <p:sldLayoutId id="2147483701" r:id="rId19"/>
  </p:sldLayoutIdLst>
  <p:transition>
    <p:fade/>
  </p:transition>
  <p:hf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26" marR="0" indent="-339726"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70" baseline="0">
          <a:gradFill>
            <a:gsLst>
              <a:gs pos="1250">
                <a:schemeClr val="tx1"/>
              </a:gs>
              <a:gs pos="100000">
                <a:schemeClr val="tx1"/>
              </a:gs>
            </a:gsLst>
            <a:lin ang="5400000" scaled="0"/>
          </a:gradFill>
          <a:latin typeface="+mj-lt"/>
          <a:ea typeface="+mn-ea"/>
          <a:cs typeface="+mn-cs"/>
        </a:defRPr>
      </a:lvl1pPr>
      <a:lvl2pPr marL="573090" marR="0" indent="-233364" algn="l" defTabSz="914367" rtl="0" eaLnBrk="1" fontAlgn="auto" latinLnBrk="0" hangingPunct="1">
        <a:lnSpc>
          <a:spcPct val="90000"/>
        </a:lnSpc>
        <a:spcBef>
          <a:spcPct val="20000"/>
        </a:spcBef>
        <a:spcAft>
          <a:spcPts val="0"/>
        </a:spcAft>
        <a:buClrTx/>
        <a:buSzPct val="90000"/>
        <a:buFont typeface="Wingdings"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798516" marR="0" indent="-225426" algn="l" defTabSz="914367" rtl="0" eaLnBrk="1" fontAlgn="auto" latinLnBrk="0" hangingPunct="1">
        <a:lnSpc>
          <a:spcPct val="90000"/>
        </a:lnSpc>
        <a:spcBef>
          <a:spcPct val="20000"/>
        </a:spcBef>
        <a:spcAft>
          <a:spcPts val="0"/>
        </a:spcAft>
        <a:buClrTx/>
        <a:buSzPct val="90000"/>
        <a:buFont typeface="Wingdings" pitchFamily="2" charset="2"/>
        <a:buChar char=""/>
        <a:tabLst>
          <a:tab pos="798516" algn="l"/>
        </a:tabLst>
        <a:defRPr sz="2745" kern="1200" spc="0" baseline="0">
          <a:gradFill>
            <a:gsLst>
              <a:gs pos="1250">
                <a:schemeClr val="tx1"/>
              </a:gs>
              <a:gs pos="100000">
                <a:schemeClr val="tx1"/>
              </a:gs>
            </a:gsLst>
            <a:lin ang="5400000" scaled="0"/>
          </a:gradFill>
          <a:latin typeface="+mn-lt"/>
          <a:ea typeface="+mn-ea"/>
          <a:cs typeface="+mn-cs"/>
        </a:defRPr>
      </a:lvl3pPr>
      <a:lvl4pPr marL="1030292" marR="0" indent="-231776" algn="l" defTabSz="914367" rtl="0" eaLnBrk="1" fontAlgn="auto" latinLnBrk="0" hangingPunct="1">
        <a:lnSpc>
          <a:spcPct val="90000"/>
        </a:lnSpc>
        <a:spcBef>
          <a:spcPct val="20000"/>
        </a:spcBef>
        <a:spcAft>
          <a:spcPts val="0"/>
        </a:spcAft>
        <a:buClrTx/>
        <a:buSzPct val="90000"/>
        <a:buFont typeface="Wingdings" pitchFamily="2" charset="2"/>
        <a:buChar char=""/>
        <a:tabLst/>
        <a:defRPr sz="2353" kern="1200" spc="0" baseline="0">
          <a:gradFill>
            <a:gsLst>
              <a:gs pos="1250">
                <a:schemeClr val="tx1"/>
              </a:gs>
              <a:gs pos="100000">
                <a:schemeClr val="tx1"/>
              </a:gs>
            </a:gsLst>
            <a:lin ang="5400000" scaled="0"/>
          </a:gradFill>
          <a:latin typeface="+mn-lt"/>
          <a:ea typeface="+mn-ea"/>
          <a:cs typeface="+mn-cs"/>
        </a:defRPr>
      </a:lvl4pPr>
      <a:lvl5pPr marL="1255718" marR="0" indent="-225426" algn="l" defTabSz="914367" rtl="0" eaLnBrk="1" fontAlgn="auto" latinLnBrk="0" hangingPunct="1">
        <a:lnSpc>
          <a:spcPct val="90000"/>
        </a:lnSpc>
        <a:spcBef>
          <a:spcPct val="20000"/>
        </a:spcBef>
        <a:spcAft>
          <a:spcPts val="0"/>
        </a:spcAft>
        <a:buClrTx/>
        <a:buSzPct val="90000"/>
        <a:buFont typeface="Wingdings" pitchFamily="2" charset="2"/>
        <a:buChar char=""/>
        <a:tabLst>
          <a:tab pos="1255718" algn="l"/>
        </a:tabLst>
        <a:defRPr sz="2353"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9"/>
            <a:ext cx="11653521" cy="186820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3414773954"/>
      </p:ext>
    </p:extLst>
  </p:cSld>
  <p:clrMap bg1="dk1" tx1="lt1" bg2="dk2" tx2="lt2" accent1="accent1" accent2="accent2" accent3="accent3" accent4="accent4" accent5="accent5" accent6="accent6" hlink="hlink" folHlink="folHlink"/>
  <p:sldLayoutIdLst>
    <p:sldLayoutId id="2147484189" r:id="rId1"/>
    <p:sldLayoutId id="2147484190" r:id="rId2"/>
    <p:sldLayoutId id="2147484191" r:id="rId3"/>
    <p:sldLayoutId id="2147484192" r:id="rId4"/>
    <p:sldLayoutId id="2147484193" r:id="rId5"/>
    <p:sldLayoutId id="2147484194" r:id="rId6"/>
    <p:sldLayoutId id="2147484195" r:id="rId7"/>
    <p:sldLayoutId id="2147484196" r:id="rId8"/>
    <p:sldLayoutId id="2147484197" r:id="rId9"/>
    <p:sldLayoutId id="2147484198" r:id="rId10"/>
    <p:sldLayoutId id="2147484199" r:id="rId11"/>
    <p:sldLayoutId id="2147484200" r:id="rId12"/>
    <p:sldLayoutId id="2147484201" r:id="rId13"/>
    <p:sldLayoutId id="2147484202" r:id="rId14"/>
    <p:sldLayoutId id="2147484203" r:id="rId15"/>
    <p:sldLayoutId id="2147484204" r:id="rId16"/>
    <p:sldLayoutId id="2147484205" r:id="rId17"/>
    <p:sldLayoutId id="2147484206" r:id="rId18"/>
    <p:sldLayoutId id="2147484207" r:id="rId19"/>
    <p:sldLayoutId id="2147484208" r:id="rId20"/>
    <p:sldLayoutId id="2147484209" r:id="rId21"/>
    <p:sldLayoutId id="2147484210" r:id="rId22"/>
    <p:sldLayoutId id="2147484211" r:id="rId23"/>
  </p:sldLayoutIdLst>
  <p:transition>
    <p:fade/>
  </p:transition>
  <p:txStyles>
    <p:titleStyle>
      <a:lvl1pPr algn="l" defTabSz="914192" rtl="0" eaLnBrk="1" latinLnBrk="0" hangingPunct="1">
        <a:lnSpc>
          <a:spcPct val="90000"/>
        </a:lnSpc>
        <a:spcBef>
          <a:spcPct val="0"/>
        </a:spcBef>
        <a:buNone/>
        <a:defRPr lang="en-US" sz="3529"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제목 개체 틀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ko-KR" altLang="en-US"/>
              <a:t>마스터 제목 스타일 편집</a:t>
            </a:r>
          </a:p>
        </p:txBody>
      </p:sp>
      <p:sp>
        <p:nvSpPr>
          <p:cNvPr id="3" name="텍스트 개체 틀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ko-KR" altLang="en-US"/>
              <a:t>마스터 텍스트 스타일을 편집하려면 클릭</a:t>
            </a:r>
          </a:p>
          <a:p>
            <a:pPr lvl="1"/>
            <a:r>
              <a:rPr kumimoji="1" lang="ko-KR" altLang="en-US"/>
              <a:t>두 번째 수준</a:t>
            </a:r>
          </a:p>
          <a:p>
            <a:pPr lvl="2"/>
            <a:r>
              <a:rPr kumimoji="1" lang="ko-KR" altLang="en-US"/>
              <a:t>세 번째 수준</a:t>
            </a:r>
          </a:p>
          <a:p>
            <a:pPr lvl="3"/>
            <a:r>
              <a:rPr kumimoji="1" lang="ko-KR" altLang="en-US"/>
              <a:t>네 번째 수준</a:t>
            </a:r>
          </a:p>
          <a:p>
            <a:pPr lvl="4"/>
            <a:r>
              <a:rPr kumimoji="1" lang="ko-KR" altLang="en-US"/>
              <a:t>다섯 번째 수준</a:t>
            </a:r>
          </a:p>
        </p:txBody>
      </p:sp>
      <p:sp>
        <p:nvSpPr>
          <p:cNvPr id="4" name="날짜 개체 틀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011A2FE-F1D0-6942-97E6-46C86443E281}" type="datetimeFigureOut">
              <a:rPr kumimoji="1" lang="ko-KR" altLang="en-US" smtClean="0"/>
              <a:t>2016-09-20</a:t>
            </a:fld>
            <a:endParaRPr kumimoji="1" lang="ko-KR" altLang="en-US"/>
          </a:p>
        </p:txBody>
      </p:sp>
      <p:sp>
        <p:nvSpPr>
          <p:cNvPr id="5" name="바닥글 개체 틀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ko-KR" altLang="en-US"/>
          </a:p>
        </p:txBody>
      </p:sp>
      <p:sp>
        <p:nvSpPr>
          <p:cNvPr id="6" name="슬라이드 번호 개체 틀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BF28E89-B2A0-F14C-9AC6-A65A6CDAC602}" type="slidenum">
              <a:rPr kumimoji="1" lang="ko-KR" altLang="en-US" smtClean="0"/>
              <a:t>‹#›</a:t>
            </a:fld>
            <a:endParaRPr kumimoji="1" lang="ko-KR" altLang="en-US"/>
          </a:p>
        </p:txBody>
      </p:sp>
    </p:spTree>
    <p:extLst>
      <p:ext uri="{BB962C8B-B14F-4D97-AF65-F5344CB8AC3E}">
        <p14:creationId xmlns:p14="http://schemas.microsoft.com/office/powerpoint/2010/main" val="2856188989"/>
      </p:ext>
    </p:extLst>
  </p:cSld>
  <p:clrMap bg1="lt1" tx1="dk1" bg2="lt2" tx2="dk2" accent1="accent1" accent2="accent2" accent3="accent3" accent4="accent4" accent5="accent5" accent6="accent6" hlink="hlink" folHlink="folHlink"/>
  <p:sldLayoutIdLst>
    <p:sldLayoutId id="2147484213" r:id="rId1"/>
    <p:sldLayoutId id="2147484214" r:id="rId2"/>
    <p:sldLayoutId id="2147484215" r:id="rId3"/>
    <p:sldLayoutId id="2147484216" r:id="rId4"/>
    <p:sldLayoutId id="2147484217" r:id="rId5"/>
    <p:sldLayoutId id="2147484218" r:id="rId6"/>
    <p:sldLayoutId id="2147484219" r:id="rId7"/>
    <p:sldLayoutId id="2147484220" r:id="rId8"/>
    <p:sldLayoutId id="2147484221" r:id="rId9"/>
    <p:sldLayoutId id="2147484222" r:id="rId10"/>
    <p:sldLayoutId id="2147484223" r:id="rId11"/>
    <p:sldLayoutId id="2147484224" r:id="rId12"/>
    <p:sldLayoutId id="2147484225" r:id="rId13"/>
  </p:sldLayoutIdLst>
  <p:txStyles>
    <p:titleStyle>
      <a:lvl1pPr algn="l" defTabSz="914400" rtl="0" eaLnBrk="1" latinLnBrk="1"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1"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1"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1"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1"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1"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6" name="Picture 5" descr="TechEd logo 2014_CMYK_WHITE-04.eps"/>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588659" y="6005991"/>
            <a:ext cx="1343441" cy="587839"/>
          </a:xfrm>
          <a:prstGeom prst="rect">
            <a:avLst/>
          </a:prstGeom>
        </p:spPr>
      </p:pic>
      <p:sp>
        <p:nvSpPr>
          <p:cNvPr id="2" name="Title Placeholder 1"/>
          <p:cNvSpPr>
            <a:spLocks noGrp="1"/>
          </p:cNvSpPr>
          <p:nvPr>
            <p:ph type="title"/>
          </p:nvPr>
        </p:nvSpPr>
        <p:spPr>
          <a:xfrm>
            <a:off x="166876" y="107382"/>
            <a:ext cx="11655841" cy="899665"/>
          </a:xfrm>
          <a:prstGeom prst="rect">
            <a:avLst/>
          </a:prstGeom>
        </p:spPr>
        <p:txBody>
          <a:bodyPr vert="horz" wrap="square" lIns="146286" tIns="91429" rIns="146286" bIns="91429" rtlCol="0" anchor="t">
            <a:noAutofit/>
          </a:bodyPr>
          <a:lstStyle/>
          <a:p>
            <a:r>
              <a:rPr lang="en-AU" dirty="0"/>
              <a:t>Click to edit Master title style</a:t>
            </a:r>
            <a:endParaRPr lang="en-US" dirty="0"/>
          </a:p>
        </p:txBody>
      </p:sp>
      <p:sp>
        <p:nvSpPr>
          <p:cNvPr id="4" name="Text Placeholder 3"/>
          <p:cNvSpPr>
            <a:spLocks noGrp="1"/>
          </p:cNvSpPr>
          <p:nvPr>
            <p:ph type="body" idx="1"/>
          </p:nvPr>
        </p:nvSpPr>
        <p:spPr>
          <a:xfrm>
            <a:off x="167189" y="1005455"/>
            <a:ext cx="11653520" cy="2211322"/>
          </a:xfrm>
          <a:prstGeom prst="rect">
            <a:avLst/>
          </a:prstGeom>
        </p:spPr>
        <p:txBody>
          <a:bodyPr vert="horz" wrap="square" lIns="146286" tIns="91429" rIns="146286" bIns="91429" rtlCol="0">
            <a:spAutoFit/>
          </a:body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US" dirty="0"/>
          </a:p>
        </p:txBody>
      </p:sp>
    </p:spTree>
    <p:extLst>
      <p:ext uri="{BB962C8B-B14F-4D97-AF65-F5344CB8AC3E}">
        <p14:creationId xmlns:p14="http://schemas.microsoft.com/office/powerpoint/2010/main" val="3241448840"/>
      </p:ext>
    </p:extLst>
  </p:cSld>
  <p:clrMap bg1="dk1" tx1="lt1" bg2="dk2" tx2="lt2" accent1="accent1" accent2="accent2" accent3="accent3" accent4="accent4" accent5="accent5" accent6="accent6" hlink="hlink" folHlink="folHlink"/>
  <p:sldLayoutIdLst>
    <p:sldLayoutId id="2147484227" r:id="rId1"/>
    <p:sldLayoutId id="2147484228" r:id="rId2"/>
    <p:sldLayoutId id="2147484229" r:id="rId3"/>
    <p:sldLayoutId id="2147484230" r:id="rId4"/>
    <p:sldLayoutId id="2147484231" r:id="rId5"/>
    <p:sldLayoutId id="2147484232" r:id="rId6"/>
    <p:sldLayoutId id="2147484233" r:id="rId7"/>
    <p:sldLayoutId id="2147484234" r:id="rId8"/>
    <p:sldLayoutId id="2147484235" r:id="rId9"/>
    <p:sldLayoutId id="2147484236" r:id="rId10"/>
    <p:sldLayoutId id="2147484237" r:id="rId11"/>
    <p:sldLayoutId id="2147484238" r:id="rId12"/>
    <p:sldLayoutId id="2147484239" r:id="rId13"/>
    <p:sldLayoutId id="2147484240" r:id="rId14"/>
    <p:sldLayoutId id="2147484241" r:id="rId15"/>
    <p:sldLayoutId id="2147484242" r:id="rId16"/>
  </p:sldLayoutIdLst>
  <p:transition>
    <p:fade/>
  </p:transition>
  <p:txStyles>
    <p:titleStyle>
      <a:lvl1pPr algn="l" defTabSz="914250"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02" marR="0" indent="-336102" algn="l" defTabSz="914250" rtl="0" eaLnBrk="1" fontAlgn="auto" latinLnBrk="0" hangingPunct="1">
        <a:lnSpc>
          <a:spcPct val="90000"/>
        </a:lnSpc>
        <a:spcBef>
          <a:spcPct val="20000"/>
        </a:spcBef>
        <a:spcAft>
          <a:spcPts val="0"/>
        </a:spcAft>
        <a:buClrTx/>
        <a:buSzPct val="90000"/>
        <a:buFont typeface="Arial" pitchFamily="34" charset="0"/>
        <a:buChar char="•"/>
        <a:tabLst/>
        <a:defRPr sz="3823" kern="1200" spc="0" baseline="0">
          <a:gradFill>
            <a:gsLst>
              <a:gs pos="1250">
                <a:schemeClr val="tx1"/>
              </a:gs>
              <a:gs pos="100000">
                <a:schemeClr val="tx1"/>
              </a:gs>
            </a:gsLst>
            <a:lin ang="5400000" scaled="0"/>
          </a:gradFill>
          <a:latin typeface="+mj-lt"/>
          <a:ea typeface="+mn-ea"/>
          <a:cs typeface="+mn-cs"/>
        </a:defRPr>
      </a:lvl1pPr>
      <a:lvl2pPr marL="572618" marR="0" indent="-236516" algn="l" defTabSz="914250"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238" marR="0" indent="-224068" algn="l" defTabSz="914250"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305" marR="0" indent="-224068" algn="l" defTabSz="914250"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373" marR="0" indent="-224068" algn="l" defTabSz="914250"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186"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313"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438"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564"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50" rtl="0" eaLnBrk="1" latinLnBrk="0" hangingPunct="1">
        <a:defRPr sz="1765" kern="1200">
          <a:solidFill>
            <a:schemeClr val="tx1"/>
          </a:solidFill>
          <a:latin typeface="+mn-lt"/>
          <a:ea typeface="+mn-ea"/>
          <a:cs typeface="+mn-cs"/>
        </a:defRPr>
      </a:lvl1pPr>
      <a:lvl2pPr marL="457125" algn="l" defTabSz="914250" rtl="0" eaLnBrk="1" latinLnBrk="0" hangingPunct="1">
        <a:defRPr sz="1765" kern="1200">
          <a:solidFill>
            <a:schemeClr val="tx1"/>
          </a:solidFill>
          <a:latin typeface="+mn-lt"/>
          <a:ea typeface="+mn-ea"/>
          <a:cs typeface="+mn-cs"/>
        </a:defRPr>
      </a:lvl2pPr>
      <a:lvl3pPr marL="914250" algn="l" defTabSz="914250" rtl="0" eaLnBrk="1" latinLnBrk="0" hangingPunct="1">
        <a:defRPr sz="1765" kern="1200">
          <a:solidFill>
            <a:schemeClr val="tx1"/>
          </a:solidFill>
          <a:latin typeface="+mn-lt"/>
          <a:ea typeface="+mn-ea"/>
          <a:cs typeface="+mn-cs"/>
        </a:defRPr>
      </a:lvl3pPr>
      <a:lvl4pPr marL="1371375" algn="l" defTabSz="914250" rtl="0" eaLnBrk="1" latinLnBrk="0" hangingPunct="1">
        <a:defRPr sz="1765" kern="1200">
          <a:solidFill>
            <a:schemeClr val="tx1"/>
          </a:solidFill>
          <a:latin typeface="+mn-lt"/>
          <a:ea typeface="+mn-ea"/>
          <a:cs typeface="+mn-cs"/>
        </a:defRPr>
      </a:lvl4pPr>
      <a:lvl5pPr marL="1828500" algn="l" defTabSz="914250" rtl="0" eaLnBrk="1" latinLnBrk="0" hangingPunct="1">
        <a:defRPr sz="1765" kern="1200">
          <a:solidFill>
            <a:schemeClr val="tx1"/>
          </a:solidFill>
          <a:latin typeface="+mn-lt"/>
          <a:ea typeface="+mn-ea"/>
          <a:cs typeface="+mn-cs"/>
        </a:defRPr>
      </a:lvl5pPr>
      <a:lvl6pPr marL="2285626" algn="l" defTabSz="914250" rtl="0" eaLnBrk="1" latinLnBrk="0" hangingPunct="1">
        <a:defRPr sz="1765" kern="1200">
          <a:solidFill>
            <a:schemeClr val="tx1"/>
          </a:solidFill>
          <a:latin typeface="+mn-lt"/>
          <a:ea typeface="+mn-ea"/>
          <a:cs typeface="+mn-cs"/>
        </a:defRPr>
      </a:lvl6pPr>
      <a:lvl7pPr marL="2742750" algn="l" defTabSz="914250" rtl="0" eaLnBrk="1" latinLnBrk="0" hangingPunct="1">
        <a:defRPr sz="1765" kern="1200">
          <a:solidFill>
            <a:schemeClr val="tx1"/>
          </a:solidFill>
          <a:latin typeface="+mn-lt"/>
          <a:ea typeface="+mn-ea"/>
          <a:cs typeface="+mn-cs"/>
        </a:defRPr>
      </a:lvl7pPr>
      <a:lvl8pPr marL="3199876" algn="l" defTabSz="914250" rtl="0" eaLnBrk="1" latinLnBrk="0" hangingPunct="1">
        <a:defRPr sz="1765" kern="1200">
          <a:solidFill>
            <a:schemeClr val="tx1"/>
          </a:solidFill>
          <a:latin typeface="+mn-lt"/>
          <a:ea typeface="+mn-ea"/>
          <a:cs typeface="+mn-cs"/>
        </a:defRPr>
      </a:lvl8pPr>
      <a:lvl9pPr marL="3657000" algn="l" defTabSz="914250"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8"/>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3014689902"/>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 id="2147483742" r:id="rId16"/>
    <p:sldLayoutId id="2147483743" r:id="rId17"/>
    <p:sldLayoutId id="2147483744" r:id="rId18"/>
    <p:sldLayoutId id="2147483745" r:id="rId19"/>
    <p:sldLayoutId id="2147483746" r:id="rId20"/>
    <p:sldLayoutId id="2147483747" r:id="rId21"/>
    <p:sldLayoutId id="2147483748" r:id="rId22"/>
    <p:sldLayoutId id="2147483749" r:id="rId23"/>
    <p:sldLayoutId id="2147483750" r:id="rId24"/>
    <p:sldLayoutId id="2147483751" r:id="rId25"/>
    <p:sldLayoutId id="2147483752" r:id="rId26"/>
  </p:sldLayoutIdLst>
  <p:transition>
    <p:fade/>
  </p:transition>
  <p:txStyles>
    <p:titleStyle>
      <a:lvl1pPr algn="l" defTabSz="914192" rtl="0" eaLnBrk="1" latinLnBrk="0" hangingPunct="1">
        <a:lnSpc>
          <a:spcPct val="90000"/>
        </a:lnSpc>
        <a:spcBef>
          <a:spcPct val="0"/>
        </a:spcBef>
        <a:buNone/>
        <a:defRPr lang="en-US" sz="4000" b="0" kern="1200" cap="none" spc="-100" baseline="0" dirty="0" smtClean="0">
          <a:ln w="3175">
            <a:noFill/>
          </a:ln>
          <a:gradFill>
            <a:gsLst>
              <a:gs pos="1250">
                <a:srgbClr val="0078D7"/>
              </a:gs>
              <a:gs pos="100000">
                <a:srgbClr val="0078D7">
                  <a:alpha val="99000"/>
                </a:srgbClr>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2" cstate="print">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0"/>
            <a:ext cx="11151917" cy="512448"/>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519251" y="1447801"/>
            <a:ext cx="11151916" cy="1581972"/>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Rectangle 4"/>
          <p:cNvSpPr/>
          <p:nvPr userDrawn="1"/>
        </p:nvSpPr>
        <p:spPr>
          <a:xfrm>
            <a:off x="9504864" y="6534690"/>
            <a:ext cx="1953288" cy="265009"/>
          </a:xfrm>
          <a:prstGeom prst="rect">
            <a:avLst/>
          </a:prstGeom>
        </p:spPr>
        <p:txBody>
          <a:bodyPr wrap="non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16A5D9">
                    <a:lumMod val="20000"/>
                    <a:lumOff val="80000"/>
                  </a:srgbClr>
                </a:solidFill>
                <a:effectLst/>
                <a:uLnTx/>
                <a:uFillTx/>
                <a:latin typeface="Segoe UI"/>
                <a:ea typeface="Segoe UI" pitchFamily="34" charset="0"/>
                <a:cs typeface="Segoe UI" pitchFamily="34" charset="0"/>
              </a:rPr>
              <a:t>Windows</a:t>
            </a:r>
            <a:r>
              <a:rPr kumimoji="0" lang="en-US" sz="1100" b="0" i="0" u="none" strike="noStrike" kern="1200" cap="none" spc="0" normalizeH="0" baseline="30000" noProof="0" dirty="0">
                <a:ln>
                  <a:noFill/>
                </a:ln>
                <a:solidFill>
                  <a:srgbClr val="16A5D9">
                    <a:lumMod val="20000"/>
                    <a:lumOff val="80000"/>
                  </a:srgbClr>
                </a:solidFill>
                <a:effectLst/>
                <a:uLnTx/>
                <a:uFillTx/>
                <a:latin typeface="Segoe UI"/>
                <a:ea typeface="Segoe UI" pitchFamily="34" charset="0"/>
                <a:cs typeface="Segoe UI" pitchFamily="34" charset="0"/>
              </a:rPr>
              <a:t>®</a:t>
            </a:r>
            <a:r>
              <a:rPr kumimoji="0" lang="en-US" sz="1100" b="0" i="0" u="none" strike="noStrike" kern="1200" cap="none" spc="0" normalizeH="0" baseline="0" noProof="0" dirty="0">
                <a:ln>
                  <a:noFill/>
                </a:ln>
                <a:solidFill>
                  <a:srgbClr val="16A5D9">
                    <a:lumMod val="20000"/>
                    <a:lumOff val="80000"/>
                  </a:srgbClr>
                </a:solidFill>
                <a:effectLst/>
                <a:uLnTx/>
                <a:uFillTx/>
                <a:latin typeface="Segoe UI"/>
                <a:ea typeface="Segoe UI" pitchFamily="34" charset="0"/>
                <a:cs typeface="Segoe UI" pitchFamily="34" charset="0"/>
              </a:rPr>
              <a:t> Azure™ Platform</a:t>
            </a:r>
          </a:p>
        </p:txBody>
      </p:sp>
    </p:spTree>
    <p:extLst>
      <p:ext uri="{BB962C8B-B14F-4D97-AF65-F5344CB8AC3E}">
        <p14:creationId xmlns:p14="http://schemas.microsoft.com/office/powerpoint/2010/main" val="1944552809"/>
      </p:ext>
    </p:extLst>
  </p:cSld>
  <p:clrMap bg1="dk1" tx1="lt1" bg2="dk2" tx2="lt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Lst>
  <p:transition>
    <p:fade/>
  </p:transition>
  <p:txStyles>
    <p:titleStyle>
      <a:lvl1pPr algn="l" defTabSz="713110" rtl="0" eaLnBrk="1" latinLnBrk="0" hangingPunct="1">
        <a:lnSpc>
          <a:spcPct val="90000"/>
        </a:lnSpc>
        <a:spcBef>
          <a:spcPct val="0"/>
        </a:spcBef>
        <a:buNone/>
        <a:defRPr lang="en-US" sz="3700" b="0" kern="1200" cap="none" spc="-156" baseline="0" dirty="0" smtClean="0">
          <a:ln w="3175">
            <a:noFill/>
          </a:ln>
          <a:gradFill flip="none" rotWithShape="1">
            <a:gsLst>
              <a:gs pos="0">
                <a:schemeClr val="tx1"/>
              </a:gs>
              <a:gs pos="86000">
                <a:schemeClr val="tx1"/>
              </a:gs>
            </a:gsLst>
            <a:lin ang="5400000" scaled="0"/>
            <a:tileRect/>
          </a:gradFill>
          <a:effectLst>
            <a:outerShdw blurRad="63500" algn="ctr" rotWithShape="0">
              <a:schemeClr val="tx1">
                <a:alpha val="50000"/>
              </a:schemeClr>
            </a:outerShdw>
          </a:effectLst>
          <a:latin typeface="+mj-lt"/>
          <a:ea typeface="+mn-ea"/>
          <a:cs typeface="Arial" charset="0"/>
        </a:defRPr>
      </a:lvl1pPr>
    </p:titleStyle>
    <p:bodyStyle>
      <a:lvl1pPr marL="311998" indent="-311998" algn="l" defTabSz="713110" rtl="0" eaLnBrk="1" latinLnBrk="0" hangingPunct="1">
        <a:lnSpc>
          <a:spcPct val="90000"/>
        </a:lnSpc>
        <a:spcBef>
          <a:spcPct val="20000"/>
        </a:spcBef>
        <a:buClr>
          <a:schemeClr val="tx2"/>
        </a:buClr>
        <a:buSzPct val="100000"/>
        <a:buFont typeface="Arial" pitchFamily="34" charset="0"/>
        <a:buChar char="•"/>
        <a:defRPr sz="2500" kern="1200">
          <a:gradFill>
            <a:gsLst>
              <a:gs pos="0">
                <a:schemeClr val="tx1"/>
              </a:gs>
              <a:gs pos="86000">
                <a:schemeClr val="tx1"/>
              </a:gs>
            </a:gsLst>
            <a:lin ang="5400000" scaled="0"/>
          </a:gradFill>
          <a:effectLst/>
          <a:latin typeface="+mn-lt"/>
          <a:ea typeface="+mn-ea"/>
          <a:cs typeface="+mn-cs"/>
        </a:defRPr>
      </a:lvl1pPr>
      <a:lvl2pPr marL="581900" indent="-269902" algn="l" defTabSz="713110" rtl="0" eaLnBrk="1" latinLnBrk="0" hangingPunct="1">
        <a:lnSpc>
          <a:spcPct val="90000"/>
        </a:lnSpc>
        <a:spcBef>
          <a:spcPct val="20000"/>
        </a:spcBef>
        <a:buClr>
          <a:schemeClr val="tx2"/>
        </a:buClr>
        <a:buSzPct val="100000"/>
        <a:buFont typeface="Arial" pitchFamily="34" charset="0"/>
        <a:buChar char="•"/>
        <a:defRPr sz="2200" kern="1200">
          <a:gradFill>
            <a:gsLst>
              <a:gs pos="0">
                <a:schemeClr val="tx1"/>
              </a:gs>
              <a:gs pos="86000">
                <a:schemeClr val="tx1"/>
              </a:gs>
            </a:gsLst>
            <a:lin ang="5400000" scaled="0"/>
          </a:gradFill>
          <a:effectLst/>
          <a:latin typeface="+mn-lt"/>
          <a:ea typeface="+mn-ea"/>
          <a:cs typeface="+mn-cs"/>
        </a:defRPr>
      </a:lvl2pPr>
      <a:lvl3pPr marL="844376" indent="-262474" algn="l" defTabSz="713110" rtl="0" eaLnBrk="1" latinLnBrk="0" hangingPunct="1">
        <a:lnSpc>
          <a:spcPct val="90000"/>
        </a:lnSpc>
        <a:spcBef>
          <a:spcPct val="20000"/>
        </a:spcBef>
        <a:buClr>
          <a:schemeClr val="tx2"/>
        </a:buClr>
        <a:buSzPct val="100000"/>
        <a:buFont typeface="Arial" pitchFamily="34" charset="0"/>
        <a:buChar char="•"/>
        <a:defRPr sz="1900" kern="1200">
          <a:gradFill>
            <a:gsLst>
              <a:gs pos="0">
                <a:schemeClr val="tx1"/>
              </a:gs>
              <a:gs pos="86000">
                <a:schemeClr val="tx1"/>
              </a:gs>
            </a:gsLst>
            <a:lin ang="5400000" scaled="0"/>
          </a:gradFill>
          <a:effectLst/>
          <a:latin typeface="+mn-lt"/>
          <a:ea typeface="+mn-ea"/>
          <a:cs typeface="+mn-cs"/>
        </a:defRPr>
      </a:lvl3pPr>
      <a:lvl4pPr marL="1072184" indent="-227808" algn="l" defTabSz="713110" rtl="0" eaLnBrk="1" latinLnBrk="0" hangingPunct="1">
        <a:lnSpc>
          <a:spcPct val="90000"/>
        </a:lnSpc>
        <a:spcBef>
          <a:spcPct val="20000"/>
        </a:spcBef>
        <a:buClr>
          <a:schemeClr val="tx2"/>
        </a:buClr>
        <a:buSzPct val="100000"/>
        <a:buFont typeface="Arial" pitchFamily="34" charset="0"/>
        <a:buChar char="•"/>
        <a:defRPr sz="1600" kern="1200">
          <a:gradFill>
            <a:gsLst>
              <a:gs pos="0">
                <a:schemeClr val="tx1"/>
              </a:gs>
              <a:gs pos="86000">
                <a:schemeClr val="tx1"/>
              </a:gs>
            </a:gsLst>
            <a:lin ang="5400000" scaled="0"/>
          </a:gradFill>
          <a:effectLst/>
          <a:latin typeface="+mn-lt"/>
          <a:ea typeface="+mn-ea"/>
          <a:cs typeface="+mn-cs"/>
        </a:defRPr>
      </a:lvl4pPr>
      <a:lvl5pPr marL="1295039" indent="-222857" algn="l" defTabSz="713110" rtl="0" eaLnBrk="1" latinLnBrk="0" hangingPunct="1">
        <a:lnSpc>
          <a:spcPct val="90000"/>
        </a:lnSpc>
        <a:spcBef>
          <a:spcPct val="20000"/>
        </a:spcBef>
        <a:buClr>
          <a:schemeClr val="tx2"/>
        </a:buClr>
        <a:buSzPct val="100000"/>
        <a:buFont typeface="Arial" pitchFamily="34" charset="0"/>
        <a:buChar char="•"/>
        <a:defRPr sz="1600" kern="1200">
          <a:gradFill>
            <a:gsLst>
              <a:gs pos="0">
                <a:schemeClr val="tx1"/>
              </a:gs>
              <a:gs pos="86000">
                <a:schemeClr val="tx1"/>
              </a:gs>
            </a:gsLst>
            <a:lin ang="5400000" scaled="0"/>
          </a:gradFill>
          <a:effectLst/>
          <a:latin typeface="+mn-lt"/>
          <a:ea typeface="+mn-ea"/>
          <a:cs typeface="+mn-cs"/>
        </a:defRPr>
      </a:lvl5pPr>
      <a:lvl6pPr marL="1961051" indent="-178277" algn="l" defTabSz="71311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317606" indent="-178277" algn="l" defTabSz="713110"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2674160" indent="-178277" algn="l" defTabSz="713110"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030717" indent="-178277" algn="l" defTabSz="713110" rtl="0" eaLnBrk="1" latinLnBrk="0" hangingPunct="1">
        <a:spcBef>
          <a:spcPct val="20000"/>
        </a:spcBef>
        <a:buFont typeface="Arial" pitchFamily="34" charset="0"/>
        <a:buChar char="•"/>
        <a:defRPr sz="1600" kern="1200">
          <a:solidFill>
            <a:schemeClr val="tx1"/>
          </a:solidFill>
          <a:latin typeface="+mn-lt"/>
          <a:ea typeface="+mn-ea"/>
          <a:cs typeface="+mn-cs"/>
        </a:defRPr>
      </a:lvl9pPr>
    </p:bodyStyle>
    <p:otherStyle>
      <a:defPPr>
        <a:defRPr lang="en-US"/>
      </a:defPPr>
      <a:lvl1pPr marL="0" algn="l" defTabSz="713110" rtl="0" eaLnBrk="1" latinLnBrk="0" hangingPunct="1">
        <a:defRPr sz="1400" kern="1200">
          <a:solidFill>
            <a:schemeClr val="tx1"/>
          </a:solidFill>
          <a:latin typeface="+mn-lt"/>
          <a:ea typeface="+mn-ea"/>
          <a:cs typeface="+mn-cs"/>
        </a:defRPr>
      </a:lvl1pPr>
      <a:lvl2pPr marL="356555" algn="l" defTabSz="713110" rtl="0" eaLnBrk="1" latinLnBrk="0" hangingPunct="1">
        <a:defRPr sz="1400" kern="1200">
          <a:solidFill>
            <a:schemeClr val="tx1"/>
          </a:solidFill>
          <a:latin typeface="+mn-lt"/>
          <a:ea typeface="+mn-ea"/>
          <a:cs typeface="+mn-cs"/>
        </a:defRPr>
      </a:lvl2pPr>
      <a:lvl3pPr marL="713110" algn="l" defTabSz="713110" rtl="0" eaLnBrk="1" latinLnBrk="0" hangingPunct="1">
        <a:defRPr sz="1400" kern="1200">
          <a:solidFill>
            <a:schemeClr val="tx1"/>
          </a:solidFill>
          <a:latin typeface="+mn-lt"/>
          <a:ea typeface="+mn-ea"/>
          <a:cs typeface="+mn-cs"/>
        </a:defRPr>
      </a:lvl3pPr>
      <a:lvl4pPr marL="1069664" algn="l" defTabSz="713110" rtl="0" eaLnBrk="1" latinLnBrk="0" hangingPunct="1">
        <a:defRPr sz="1400" kern="1200">
          <a:solidFill>
            <a:schemeClr val="tx1"/>
          </a:solidFill>
          <a:latin typeface="+mn-lt"/>
          <a:ea typeface="+mn-ea"/>
          <a:cs typeface="+mn-cs"/>
        </a:defRPr>
      </a:lvl4pPr>
      <a:lvl5pPr marL="1426219" algn="l" defTabSz="713110" rtl="0" eaLnBrk="1" latinLnBrk="0" hangingPunct="1">
        <a:defRPr sz="1400" kern="1200">
          <a:solidFill>
            <a:schemeClr val="tx1"/>
          </a:solidFill>
          <a:latin typeface="+mn-lt"/>
          <a:ea typeface="+mn-ea"/>
          <a:cs typeface="+mn-cs"/>
        </a:defRPr>
      </a:lvl5pPr>
      <a:lvl6pPr marL="1782775" algn="l" defTabSz="713110" rtl="0" eaLnBrk="1" latinLnBrk="0" hangingPunct="1">
        <a:defRPr sz="1400" kern="1200">
          <a:solidFill>
            <a:schemeClr val="tx1"/>
          </a:solidFill>
          <a:latin typeface="+mn-lt"/>
          <a:ea typeface="+mn-ea"/>
          <a:cs typeface="+mn-cs"/>
        </a:defRPr>
      </a:lvl6pPr>
      <a:lvl7pPr marL="2139329" algn="l" defTabSz="713110" rtl="0" eaLnBrk="1" latinLnBrk="0" hangingPunct="1">
        <a:defRPr sz="1400" kern="1200">
          <a:solidFill>
            <a:schemeClr val="tx1"/>
          </a:solidFill>
          <a:latin typeface="+mn-lt"/>
          <a:ea typeface="+mn-ea"/>
          <a:cs typeface="+mn-cs"/>
        </a:defRPr>
      </a:lvl7pPr>
      <a:lvl8pPr marL="2495884" algn="l" defTabSz="713110" rtl="0" eaLnBrk="1" latinLnBrk="0" hangingPunct="1">
        <a:defRPr sz="1400" kern="1200">
          <a:solidFill>
            <a:schemeClr val="tx1"/>
          </a:solidFill>
          <a:latin typeface="+mn-lt"/>
          <a:ea typeface="+mn-ea"/>
          <a:cs typeface="+mn-cs"/>
        </a:defRPr>
      </a:lvl8pPr>
      <a:lvl9pPr marL="2852438" algn="l" defTabSz="713110" rtl="0" eaLnBrk="1" latinLnBrk="0" hangingPunct="1">
        <a:defRPr sz="1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39"/>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925127594"/>
      </p:ext>
    </p:extLst>
  </p:cSld>
  <p:clrMap bg1="dk1" tx1="lt1" bg2="dk2" tx2="lt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 id="2147483804" r:id="rId12"/>
    <p:sldLayoutId id="2147483805" r:id="rId13"/>
    <p:sldLayoutId id="2147483806" r:id="rId14"/>
    <p:sldLayoutId id="2147483807" r:id="rId15"/>
    <p:sldLayoutId id="2147483808" r:id="rId16"/>
    <p:sldLayoutId id="2147483809" r:id="rId17"/>
    <p:sldLayoutId id="2147483810" r:id="rId18"/>
    <p:sldLayoutId id="2147483811" r:id="rId19"/>
    <p:sldLayoutId id="2147483812" r:id="rId20"/>
    <p:sldLayoutId id="2147483813" r:id="rId21"/>
    <p:sldLayoutId id="2147483814" r:id="rId22"/>
    <p:sldLayoutId id="2147483815" r:id="rId23"/>
    <p:sldLayoutId id="2147483816" r:id="rId24"/>
    <p:sldLayoutId id="2147483817" r:id="rId25"/>
    <p:sldLayoutId id="2147483818" r:id="rId26"/>
    <p:sldLayoutId id="2147483819" r:id="rId27"/>
    <p:sldLayoutId id="2147483820" r:id="rId28"/>
    <p:sldLayoutId id="2147483821" r:id="rId29"/>
    <p:sldLayoutId id="2147483822" r:id="rId30"/>
    <p:sldLayoutId id="2147483823" r:id="rId31"/>
    <p:sldLayoutId id="2147483824" r:id="rId32"/>
    <p:sldLayoutId id="2147483825" r:id="rId33"/>
    <p:sldLayoutId id="2147483826" r:id="rId34"/>
    <p:sldLayoutId id="2147483827" r:id="rId35"/>
    <p:sldLayoutId id="2147483828" r:id="rId36"/>
    <p:sldLayoutId id="2147483829" r:id="rId3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08140638"/>
      </p:ext>
    </p:extLst>
  </p:cSld>
  <p:clrMap bg1="dk1" tx1="lt1" bg2="dk2" tx2="lt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 id="2147483843" r:id="rId13"/>
    <p:sldLayoutId id="2147483844" r:id="rId14"/>
    <p:sldLayoutId id="2147483845" r:id="rId15"/>
    <p:sldLayoutId id="2147483846" r:id="rId16"/>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41"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1888141897"/>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0" r:id="rId10"/>
    <p:sldLayoutId id="2147483861" r:id="rId11"/>
    <p:sldLayoutId id="2147483862" r:id="rId12"/>
    <p:sldLayoutId id="2147483863" r:id="rId13"/>
    <p:sldLayoutId id="2147483864" r:id="rId14"/>
    <p:sldLayoutId id="2147483865" r:id="rId15"/>
    <p:sldLayoutId id="2147483866" r:id="rId16"/>
    <p:sldLayoutId id="2147483867" r:id="rId17"/>
    <p:sldLayoutId id="2147483868" r:id="rId18"/>
    <p:sldLayoutId id="2147483869" r:id="rId19"/>
    <p:sldLayoutId id="2147483870" r:id="rId20"/>
    <p:sldLayoutId id="2147483871" r:id="rId21"/>
    <p:sldLayoutId id="2147483872" r:id="rId22"/>
    <p:sldLayoutId id="2147483873" r:id="rId23"/>
    <p:sldLayoutId id="2147483874" r:id="rId24"/>
    <p:sldLayoutId id="2147483875" r:id="rId25"/>
    <p:sldLayoutId id="2147483876" r:id="rId26"/>
    <p:sldLayoutId id="2147483877" r:id="rId27"/>
    <p:sldLayoutId id="2147483878" r:id="rId28"/>
    <p:sldLayoutId id="2147483879" r:id="rId29"/>
    <p:sldLayoutId id="2147483880" r:id="rId30"/>
    <p:sldLayoutId id="2147483881" r:id="rId31"/>
    <p:sldLayoutId id="2147483882" r:id="rId32"/>
    <p:sldLayoutId id="2147483883" r:id="rId33"/>
    <p:sldLayoutId id="2147483884" r:id="rId34"/>
    <p:sldLayoutId id="2147483885" r:id="rId35"/>
    <p:sldLayoutId id="2147483886" r:id="rId36"/>
    <p:sldLayoutId id="2147483887" r:id="rId37"/>
    <p:sldLayoutId id="2147483888" r:id="rId38"/>
    <p:sldLayoutId id="2147483889" r:id="rId39"/>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ko-KR" altLang="en-US"/>
              <a:t>마스터 제목 스타일 편집</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endParaRPr lang="en-US" dirty="0"/>
          </a:p>
        </p:txBody>
      </p:sp>
      <p:pic>
        <p:nvPicPr>
          <p:cNvPr id="5" name="Picture 4"/>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2586091246"/>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 id="2147483894" r:id="rId4"/>
    <p:sldLayoutId id="2147483895" r:id="rId5"/>
    <p:sldLayoutId id="2147483896" r:id="rId6"/>
    <p:sldLayoutId id="2147483897" r:id="rId7"/>
    <p:sldLayoutId id="2147483898" r:id="rId8"/>
    <p:sldLayoutId id="2147483899" r:id="rId9"/>
    <p:sldLayoutId id="2147483900" r:id="rId10"/>
    <p:sldLayoutId id="2147483901" r:id="rId11"/>
    <p:sldLayoutId id="2147483902" r:id="rId12"/>
    <p:sldLayoutId id="2147483903" r:id="rId13"/>
    <p:sldLayoutId id="2147483904" r:id="rId14"/>
    <p:sldLayoutId id="2147483905" r:id="rId15"/>
    <p:sldLayoutId id="2147483906" r:id="rId16"/>
    <p:sldLayoutId id="2147483907" r:id="rId17"/>
    <p:sldLayoutId id="2147483908" r:id="rId18"/>
    <p:sldLayoutId id="2147483909" r:id="rId19"/>
    <p:sldLayoutId id="2147483910" r:id="rId20"/>
    <p:sldLayoutId id="2147483911" r:id="rId21"/>
    <p:sldLayoutId id="2147483912" r:id="rId22"/>
    <p:sldLayoutId id="2147483913" r:id="rId23"/>
    <p:sldLayoutId id="2147483914" r:id="rId24"/>
    <p:sldLayoutId id="2147483915" r:id="rId25"/>
    <p:sldLayoutId id="2147483916" r:id="rId26"/>
    <p:sldLayoutId id="2147483917" r:id="rId27"/>
    <p:sldLayoutId id="2147483918" r:id="rId28"/>
    <p:sldLayoutId id="2147483919" r:id="rId29"/>
    <p:sldLayoutId id="2147483920" r:id="rId30"/>
    <p:sldLayoutId id="2147483921" r:id="rId31"/>
    <p:sldLayoutId id="2147483922" r:id="rId32"/>
    <p:sldLayoutId id="2147483923" r:id="rId33"/>
    <p:sldLayoutId id="2147483924" r:id="rId34"/>
    <p:sldLayoutId id="2147483925" r:id="rId35"/>
    <p:sldLayoutId id="2147483926" r:id="rId36"/>
    <p:sldLayoutId id="2147483927" r:id="rId37"/>
    <p:sldLayoutId id="2147483928" r:id="rId38"/>
    <p:sldLayoutId id="2147483971" r:id="rId39"/>
  </p:sldLayoutIdLst>
  <p:transition>
    <p:fade/>
  </p:transition>
  <p:txStyles>
    <p:titleStyle>
      <a:lvl1pPr algn="l" defTabSz="914367" rtl="0" eaLnBrk="1" latinLnBrk="1"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1"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1"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1"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1"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1"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1"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1"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1"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1"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1" hangingPunct="1">
        <a:defRPr sz="1765" kern="1200">
          <a:solidFill>
            <a:schemeClr val="tx1"/>
          </a:solidFill>
          <a:latin typeface="+mn-lt"/>
          <a:ea typeface="+mn-ea"/>
          <a:cs typeface="+mn-cs"/>
        </a:defRPr>
      </a:lvl1pPr>
      <a:lvl2pPr marL="457183" algn="l" defTabSz="914367" rtl="0" eaLnBrk="1" latinLnBrk="1" hangingPunct="1">
        <a:defRPr sz="1765" kern="1200">
          <a:solidFill>
            <a:schemeClr val="tx1"/>
          </a:solidFill>
          <a:latin typeface="+mn-lt"/>
          <a:ea typeface="+mn-ea"/>
          <a:cs typeface="+mn-cs"/>
        </a:defRPr>
      </a:lvl2pPr>
      <a:lvl3pPr marL="914367" algn="l" defTabSz="914367" rtl="0" eaLnBrk="1" latinLnBrk="1" hangingPunct="1">
        <a:defRPr sz="1765" kern="1200">
          <a:solidFill>
            <a:schemeClr val="tx1"/>
          </a:solidFill>
          <a:latin typeface="+mn-lt"/>
          <a:ea typeface="+mn-ea"/>
          <a:cs typeface="+mn-cs"/>
        </a:defRPr>
      </a:lvl3pPr>
      <a:lvl4pPr marL="1371550" algn="l" defTabSz="914367" rtl="0" eaLnBrk="1" latinLnBrk="1" hangingPunct="1">
        <a:defRPr sz="1765" kern="1200">
          <a:solidFill>
            <a:schemeClr val="tx1"/>
          </a:solidFill>
          <a:latin typeface="+mn-lt"/>
          <a:ea typeface="+mn-ea"/>
          <a:cs typeface="+mn-cs"/>
        </a:defRPr>
      </a:lvl4pPr>
      <a:lvl5pPr marL="1828734" algn="l" defTabSz="914367" rtl="0" eaLnBrk="1" latinLnBrk="1" hangingPunct="1">
        <a:defRPr sz="1765" kern="1200">
          <a:solidFill>
            <a:schemeClr val="tx1"/>
          </a:solidFill>
          <a:latin typeface="+mn-lt"/>
          <a:ea typeface="+mn-ea"/>
          <a:cs typeface="+mn-cs"/>
        </a:defRPr>
      </a:lvl5pPr>
      <a:lvl6pPr marL="2285918" algn="l" defTabSz="914367" rtl="0" eaLnBrk="1" latinLnBrk="1" hangingPunct="1">
        <a:defRPr sz="1765" kern="1200">
          <a:solidFill>
            <a:schemeClr val="tx1"/>
          </a:solidFill>
          <a:latin typeface="+mn-lt"/>
          <a:ea typeface="+mn-ea"/>
          <a:cs typeface="+mn-cs"/>
        </a:defRPr>
      </a:lvl6pPr>
      <a:lvl7pPr marL="2743101" algn="l" defTabSz="914367" rtl="0" eaLnBrk="1" latinLnBrk="1" hangingPunct="1">
        <a:defRPr sz="1765" kern="1200">
          <a:solidFill>
            <a:schemeClr val="tx1"/>
          </a:solidFill>
          <a:latin typeface="+mn-lt"/>
          <a:ea typeface="+mn-ea"/>
          <a:cs typeface="+mn-cs"/>
        </a:defRPr>
      </a:lvl7pPr>
      <a:lvl8pPr marL="3200284" algn="l" defTabSz="914367" rtl="0" eaLnBrk="1" latinLnBrk="1" hangingPunct="1">
        <a:defRPr sz="1765" kern="1200">
          <a:solidFill>
            <a:schemeClr val="tx1"/>
          </a:solidFill>
          <a:latin typeface="+mn-lt"/>
          <a:ea typeface="+mn-ea"/>
          <a:cs typeface="+mn-cs"/>
        </a:defRPr>
      </a:lvl8pPr>
      <a:lvl9pPr marL="3657469" algn="l" defTabSz="914367" rtl="0" eaLnBrk="1" latinLnBrk="1"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00188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1"/>
            </p:custDataLst>
            <p:extLst/>
          </p:nvPr>
        </p:nvGraphicFramePr>
        <p:xfrm>
          <a:off x="1564" y="1559"/>
          <a:ext cx="1556" cy="1556"/>
        </p:xfrm>
        <a:graphic>
          <a:graphicData uri="http://schemas.openxmlformats.org/presentationml/2006/ole">
            <mc:AlternateContent xmlns:mc="http://schemas.openxmlformats.org/markup-compatibility/2006">
              <mc:Choice xmlns:v="urn:schemas-microsoft-com:vml" Requires="v">
                <p:oleObj spid="_x0000_s1064" name="think-cell Slide" r:id="rId23" imgW="270" imgH="270" progId="TCLayout.ActiveDocument.1">
                  <p:embed/>
                </p:oleObj>
              </mc:Choice>
              <mc:Fallback>
                <p:oleObj name="think-cell Slide" r:id="rId23" imgW="270" imgH="270" progId="TCLayout.ActiveDocument.1">
                  <p:embed/>
                  <p:pic>
                    <p:nvPicPr>
                      <p:cNvPr id="4" name="Object 3" hidden="1"/>
                      <p:cNvPicPr/>
                      <p:nvPr/>
                    </p:nvPicPr>
                    <p:blipFill>
                      <a:blip r:embed="rId24"/>
                      <a:stretch>
                        <a:fillRect/>
                      </a:stretch>
                    </p:blipFill>
                    <p:spPr>
                      <a:xfrm>
                        <a:off x="1564" y="1559"/>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457200" y="252216"/>
            <a:ext cx="10971867" cy="661720"/>
          </a:xfrm>
          <a:prstGeom prst="rect">
            <a:avLst/>
          </a:prstGeom>
        </p:spPr>
        <p:txBody>
          <a:bodyPr vert="horz" lIns="149143" tIns="0" rIns="149143" bIns="0" rtlCol="0" anchor="ctr">
            <a:spAutoFit/>
          </a:bodyPr>
          <a:lstStyle/>
          <a:p>
            <a:r>
              <a:rPr lang="en-US"/>
              <a:t>Click to edit Master title style</a:t>
            </a:r>
            <a:endParaRPr lang="en-US" dirty="0"/>
          </a:p>
        </p:txBody>
      </p:sp>
      <p:sp>
        <p:nvSpPr>
          <p:cNvPr id="3" name="Text Placeholder 2"/>
          <p:cNvSpPr>
            <a:spLocks noGrp="1"/>
          </p:cNvSpPr>
          <p:nvPr>
            <p:ph type="body" idx="1"/>
          </p:nvPr>
        </p:nvSpPr>
        <p:spPr>
          <a:xfrm>
            <a:off x="457200" y="1611534"/>
            <a:ext cx="10971867" cy="4526343"/>
          </a:xfrm>
          <a:prstGeom prst="rect">
            <a:avLst/>
          </a:prstGeom>
        </p:spPr>
        <p:txBody>
          <a:bodyPr vert="horz" lIns="93212" tIns="46607" rIns="93212" bIns="46607"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aphicFrame>
        <p:nvGraphicFramePr>
          <p:cNvPr id="5" name="Object 4" hidden="1"/>
          <p:cNvGraphicFramePr>
            <a:graphicFrameLocks noChangeAspect="1"/>
          </p:cNvGraphicFramePr>
          <p:nvPr>
            <p:custDataLst>
              <p:tags r:id="rId22"/>
            </p:custDataLst>
            <p:extLst/>
          </p:nvPr>
        </p:nvGraphicFramePr>
        <p:xfrm>
          <a:off x="1563" y="1558"/>
          <a:ext cx="1556" cy="1556"/>
        </p:xfrm>
        <a:graphic>
          <a:graphicData uri="http://schemas.openxmlformats.org/presentationml/2006/ole">
            <mc:AlternateContent xmlns:mc="http://schemas.openxmlformats.org/markup-compatibility/2006">
              <mc:Choice xmlns:v="urn:schemas-microsoft-com:vml" Requires="v">
                <p:oleObj spid="_x0000_s1065" name="think-cell Slide" r:id="rId25" imgW="270" imgH="270" progId="TCLayout.ActiveDocument.1">
                  <p:embed/>
                </p:oleObj>
              </mc:Choice>
              <mc:Fallback>
                <p:oleObj name="think-cell Slide" r:id="rId25" imgW="270" imgH="270" progId="TCLayout.ActiveDocument.1">
                  <p:embed/>
                  <p:pic>
                    <p:nvPicPr>
                      <p:cNvPr id="5" name="Object 4" hidden="1"/>
                      <p:cNvPicPr/>
                      <p:nvPr/>
                    </p:nvPicPr>
                    <p:blipFill>
                      <a:blip r:embed="rId24"/>
                      <a:stretch>
                        <a:fillRect/>
                      </a:stretch>
                    </p:blipFill>
                    <p:spPr>
                      <a:xfrm>
                        <a:off x="1563"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2947940518"/>
      </p:ext>
    </p:extLst>
  </p:cSld>
  <p:clrMap bg1="lt1" tx1="dk1" bg2="lt2" tx2="dk2" accent1="accent1" accent2="accent2" accent3="accent3" accent4="accent4" accent5="accent5" accent6="accent6" hlink="hlink" folHlink="folHlink"/>
  <p:sldLayoutIdLst>
    <p:sldLayoutId id="2147483930" r:id="rId1"/>
    <p:sldLayoutId id="2147483931" r:id="rId2"/>
    <p:sldLayoutId id="2147483932" r:id="rId3"/>
    <p:sldLayoutId id="2147483933" r:id="rId4"/>
    <p:sldLayoutId id="2147483934" r:id="rId5"/>
    <p:sldLayoutId id="2147483935" r:id="rId6"/>
    <p:sldLayoutId id="2147483936" r:id="rId7"/>
    <p:sldLayoutId id="2147483937" r:id="rId8"/>
    <p:sldLayoutId id="2147483938" r:id="rId9"/>
    <p:sldLayoutId id="2147483939" r:id="rId10"/>
    <p:sldLayoutId id="2147483940" r:id="rId11"/>
    <p:sldLayoutId id="2147483942" r:id="rId12"/>
    <p:sldLayoutId id="2147483943" r:id="rId13"/>
    <p:sldLayoutId id="2147483944" r:id="rId14"/>
    <p:sldLayoutId id="2147483945" r:id="rId15"/>
    <p:sldLayoutId id="2147483946" r:id="rId16"/>
    <p:sldLayoutId id="2147483947" r:id="rId17"/>
    <p:sldLayoutId id="2147483948" r:id="rId18"/>
  </p:sldLayoutIdLst>
  <p:transition>
    <p:fade/>
  </p:transition>
  <p:txStyles>
    <p:titleStyle>
      <a:lvl1pPr algn="l" defTabSz="895581" rtl="0" eaLnBrk="1" latinLnBrk="0" hangingPunct="1">
        <a:spcBef>
          <a:spcPct val="0"/>
        </a:spcBef>
        <a:buNone/>
        <a:defRPr sz="4313" kern="1200">
          <a:solidFill>
            <a:schemeClr val="bg1"/>
          </a:solidFill>
          <a:latin typeface="Segoe UI Light" pitchFamily="34" charset="0"/>
          <a:ea typeface="+mj-ea"/>
          <a:cs typeface="+mj-cs"/>
        </a:defRPr>
      </a:lvl1pPr>
    </p:titleStyle>
    <p:bodyStyle>
      <a:lvl1pPr marL="335842" indent="-335842" algn="l" defTabSz="895581" rtl="0" eaLnBrk="1" latinLnBrk="0" hangingPunct="1">
        <a:spcBef>
          <a:spcPct val="20000"/>
        </a:spcBef>
        <a:buFont typeface="Arial" pitchFamily="34" charset="0"/>
        <a:buChar char="•"/>
        <a:defRPr sz="3235" kern="1200">
          <a:solidFill>
            <a:schemeClr val="bg1"/>
          </a:solidFill>
          <a:latin typeface="Segoe UI" pitchFamily="34" charset="0"/>
          <a:ea typeface="Segoe UI" pitchFamily="34" charset="0"/>
          <a:cs typeface="Segoe UI" pitchFamily="34" charset="0"/>
        </a:defRPr>
      </a:lvl1pPr>
      <a:lvl2pPr marL="727659" indent="-279869" algn="l" defTabSz="895581" rtl="0" eaLnBrk="1" latinLnBrk="0" hangingPunct="1">
        <a:spcBef>
          <a:spcPct val="20000"/>
        </a:spcBef>
        <a:buFont typeface="Arial" pitchFamily="34" charset="0"/>
        <a:buChar char="–"/>
        <a:defRPr sz="2843" kern="1200">
          <a:solidFill>
            <a:schemeClr val="bg1"/>
          </a:solidFill>
          <a:latin typeface="Segoe UI" pitchFamily="34" charset="0"/>
          <a:ea typeface="Segoe UI" pitchFamily="34" charset="0"/>
          <a:cs typeface="Segoe UI" pitchFamily="34" charset="0"/>
        </a:defRPr>
      </a:lvl2pPr>
      <a:lvl3pPr marL="1119476" indent="-223897" algn="l" defTabSz="895581" rtl="0" eaLnBrk="1" latinLnBrk="0" hangingPunct="1">
        <a:spcBef>
          <a:spcPct val="20000"/>
        </a:spcBef>
        <a:buFont typeface="Arial" pitchFamily="34" charset="0"/>
        <a:buChar char="•"/>
        <a:defRPr sz="2353" kern="1200">
          <a:solidFill>
            <a:schemeClr val="bg1"/>
          </a:solidFill>
          <a:latin typeface="Segoe UI" pitchFamily="34" charset="0"/>
          <a:ea typeface="Segoe UI" pitchFamily="34" charset="0"/>
          <a:cs typeface="Segoe UI" pitchFamily="34" charset="0"/>
        </a:defRPr>
      </a:lvl3pPr>
      <a:lvl4pPr marL="1567264" indent="-223897" algn="l" defTabSz="895581" rtl="0" eaLnBrk="1" latinLnBrk="0" hangingPunct="1">
        <a:spcBef>
          <a:spcPct val="20000"/>
        </a:spcBef>
        <a:buFont typeface="Arial" pitchFamily="34" charset="0"/>
        <a:buChar char="–"/>
        <a:defRPr sz="1961" kern="1200">
          <a:solidFill>
            <a:schemeClr val="bg1"/>
          </a:solidFill>
          <a:latin typeface="Segoe UI" pitchFamily="34" charset="0"/>
          <a:ea typeface="Segoe UI" pitchFamily="34" charset="0"/>
          <a:cs typeface="Segoe UI" pitchFamily="34" charset="0"/>
        </a:defRPr>
      </a:lvl4pPr>
      <a:lvl5pPr marL="2015055" indent="-223897" algn="l" defTabSz="895581" rtl="0" eaLnBrk="1" latinLnBrk="0" hangingPunct="1">
        <a:spcBef>
          <a:spcPct val="20000"/>
        </a:spcBef>
        <a:buFont typeface="Arial" pitchFamily="34" charset="0"/>
        <a:buChar char="»"/>
        <a:defRPr sz="1961" kern="1200">
          <a:solidFill>
            <a:schemeClr val="bg1"/>
          </a:solidFill>
          <a:latin typeface="Segoe UI" pitchFamily="34" charset="0"/>
          <a:ea typeface="Segoe UI" pitchFamily="34" charset="0"/>
          <a:cs typeface="Segoe UI" pitchFamily="34" charset="0"/>
        </a:defRPr>
      </a:lvl5pPr>
      <a:lvl6pPr marL="2462848" indent="-223897" algn="l" defTabSz="895581"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10640" indent="-223897" algn="l" defTabSz="895581"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358428" indent="-223897" algn="l" defTabSz="895581"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06219" indent="-223897" algn="l" defTabSz="895581"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895581" rtl="0" eaLnBrk="1" latinLnBrk="0" hangingPunct="1">
        <a:defRPr sz="1667" kern="1200">
          <a:solidFill>
            <a:schemeClr val="tx1"/>
          </a:solidFill>
          <a:latin typeface="+mn-lt"/>
          <a:ea typeface="+mn-ea"/>
          <a:cs typeface="+mn-cs"/>
        </a:defRPr>
      </a:lvl1pPr>
      <a:lvl2pPr marL="447789" algn="l" defTabSz="895581" rtl="0" eaLnBrk="1" latinLnBrk="0" hangingPunct="1">
        <a:defRPr sz="1667" kern="1200">
          <a:solidFill>
            <a:schemeClr val="tx1"/>
          </a:solidFill>
          <a:latin typeface="+mn-lt"/>
          <a:ea typeface="+mn-ea"/>
          <a:cs typeface="+mn-cs"/>
        </a:defRPr>
      </a:lvl2pPr>
      <a:lvl3pPr marL="895581" algn="l" defTabSz="895581" rtl="0" eaLnBrk="1" latinLnBrk="0" hangingPunct="1">
        <a:defRPr sz="1667" kern="1200">
          <a:solidFill>
            <a:schemeClr val="tx1"/>
          </a:solidFill>
          <a:latin typeface="+mn-lt"/>
          <a:ea typeface="+mn-ea"/>
          <a:cs typeface="+mn-cs"/>
        </a:defRPr>
      </a:lvl3pPr>
      <a:lvl4pPr marL="1343372" algn="l" defTabSz="895581" rtl="0" eaLnBrk="1" latinLnBrk="0" hangingPunct="1">
        <a:defRPr sz="1667" kern="1200">
          <a:solidFill>
            <a:schemeClr val="tx1"/>
          </a:solidFill>
          <a:latin typeface="+mn-lt"/>
          <a:ea typeface="+mn-ea"/>
          <a:cs typeface="+mn-cs"/>
        </a:defRPr>
      </a:lvl4pPr>
      <a:lvl5pPr marL="1791164" algn="l" defTabSz="895581" rtl="0" eaLnBrk="1" latinLnBrk="0" hangingPunct="1">
        <a:defRPr sz="1667" kern="1200">
          <a:solidFill>
            <a:schemeClr val="tx1"/>
          </a:solidFill>
          <a:latin typeface="+mn-lt"/>
          <a:ea typeface="+mn-ea"/>
          <a:cs typeface="+mn-cs"/>
        </a:defRPr>
      </a:lvl5pPr>
      <a:lvl6pPr marL="2238952" algn="l" defTabSz="895581" rtl="0" eaLnBrk="1" latinLnBrk="0" hangingPunct="1">
        <a:defRPr sz="1667" kern="1200">
          <a:solidFill>
            <a:schemeClr val="tx1"/>
          </a:solidFill>
          <a:latin typeface="+mn-lt"/>
          <a:ea typeface="+mn-ea"/>
          <a:cs typeface="+mn-cs"/>
        </a:defRPr>
      </a:lvl6pPr>
      <a:lvl7pPr marL="2686743" algn="l" defTabSz="895581" rtl="0" eaLnBrk="1" latinLnBrk="0" hangingPunct="1">
        <a:defRPr sz="1667" kern="1200">
          <a:solidFill>
            <a:schemeClr val="tx1"/>
          </a:solidFill>
          <a:latin typeface="+mn-lt"/>
          <a:ea typeface="+mn-ea"/>
          <a:cs typeface="+mn-cs"/>
        </a:defRPr>
      </a:lvl7pPr>
      <a:lvl8pPr marL="3134533" algn="l" defTabSz="895581" rtl="0" eaLnBrk="1" latinLnBrk="0" hangingPunct="1">
        <a:defRPr sz="1667" kern="1200">
          <a:solidFill>
            <a:schemeClr val="tx1"/>
          </a:solidFill>
          <a:latin typeface="+mn-lt"/>
          <a:ea typeface="+mn-ea"/>
          <a:cs typeface="+mn-cs"/>
        </a:defRPr>
      </a:lvl8pPr>
      <a:lvl9pPr marL="3582322" algn="l" defTabSz="895581" rtl="0" eaLnBrk="1" latinLnBrk="0" hangingPunct="1">
        <a:defRPr sz="1667"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288">
          <p15:clr>
            <a:srgbClr val="F26B43"/>
          </p15:clr>
        </p15:guide>
        <p15:guide id="3" pos="3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0.jpg"/><Relationship Id="rId2" Type="http://schemas.openxmlformats.org/officeDocument/2006/relationships/notesSlide" Target="../notesSlides/notesSlide1.xml"/><Relationship Id="rId1" Type="http://schemas.openxmlformats.org/officeDocument/2006/relationships/slideLayout" Target="../slideLayouts/slideLayout197.xml"/></Relationships>
</file>

<file path=ppt/slides/_rels/slide10.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Layout" Target="../slideLayouts/slideLayout207.xml"/></Relationships>
</file>

<file path=ppt/slides/_rels/slide11.xml.rels><?xml version="1.0" encoding="UTF-8" standalone="yes"?>
<Relationships xmlns="http://schemas.openxmlformats.org/package/2006/relationships"><Relationship Id="rId2" Type="http://schemas.openxmlformats.org/officeDocument/2006/relationships/image" Target="../media/image111.jpg"/><Relationship Id="rId1" Type="http://schemas.openxmlformats.org/officeDocument/2006/relationships/slideLayout" Target="../slideLayouts/slideLayout304.xml"/></Relationships>
</file>

<file path=ppt/slides/_rels/slide12.xml.rels><?xml version="1.0" encoding="UTF-8" standalone="yes"?>
<Relationships xmlns="http://schemas.openxmlformats.org/package/2006/relationships"><Relationship Id="rId2" Type="http://schemas.openxmlformats.org/officeDocument/2006/relationships/image" Target="../media/image112.jpg"/><Relationship Id="rId1" Type="http://schemas.openxmlformats.org/officeDocument/2006/relationships/slideLayout" Target="../slideLayouts/slideLayout303.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21.xml"/><Relationship Id="rId1" Type="http://schemas.openxmlformats.org/officeDocument/2006/relationships/tags" Target="../tags/tag13.xml"/><Relationship Id="rId4" Type="http://schemas.openxmlformats.org/officeDocument/2006/relationships/image" Target="../media/image113.jpeg"/></Relationships>
</file>

<file path=ppt/slides/_rels/slide14.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3.xml"/><Relationship Id="rId1" Type="http://schemas.openxmlformats.org/officeDocument/2006/relationships/slideLayout" Target="../slideLayouts/slideLayout336.xml"/><Relationship Id="rId6" Type="http://schemas.openxmlformats.org/officeDocument/2006/relationships/image" Target="../media/image117.png"/><Relationship Id="rId5" Type="http://schemas.openxmlformats.org/officeDocument/2006/relationships/image" Target="../media/image116.png"/><Relationship Id="rId4" Type="http://schemas.openxmlformats.org/officeDocument/2006/relationships/image" Target="../media/image115.png"/></Relationships>
</file>

<file path=ppt/slides/_rels/slide15.xml.rels><?xml version="1.0" encoding="UTF-8" standalone="yes"?>
<Relationships xmlns="http://schemas.openxmlformats.org/package/2006/relationships"><Relationship Id="rId8" Type="http://schemas.openxmlformats.org/officeDocument/2006/relationships/image" Target="../media/image121.png"/><Relationship Id="rId13" Type="http://schemas.microsoft.com/office/2007/relationships/hdphoto" Target="../media/hdphoto10.wdp"/><Relationship Id="rId3" Type="http://schemas.openxmlformats.org/officeDocument/2006/relationships/image" Target="../media/image118.jpg"/><Relationship Id="rId7" Type="http://schemas.microsoft.com/office/2007/relationships/hdphoto" Target="../media/hdphoto7.wdp"/><Relationship Id="rId12" Type="http://schemas.openxmlformats.org/officeDocument/2006/relationships/image" Target="../media/image123.png"/><Relationship Id="rId2" Type="http://schemas.openxmlformats.org/officeDocument/2006/relationships/notesSlide" Target="../notesSlides/notesSlide4.xml"/><Relationship Id="rId1" Type="http://schemas.openxmlformats.org/officeDocument/2006/relationships/slideLayout" Target="../slideLayouts/slideLayout314.xml"/><Relationship Id="rId6" Type="http://schemas.openxmlformats.org/officeDocument/2006/relationships/image" Target="../media/image120.png"/><Relationship Id="rId11" Type="http://schemas.microsoft.com/office/2007/relationships/hdphoto" Target="../media/hdphoto9.wdp"/><Relationship Id="rId5" Type="http://schemas.microsoft.com/office/2007/relationships/hdphoto" Target="../media/hdphoto6.wdp"/><Relationship Id="rId15" Type="http://schemas.microsoft.com/office/2007/relationships/hdphoto" Target="../media/hdphoto11.wdp"/><Relationship Id="rId10" Type="http://schemas.openxmlformats.org/officeDocument/2006/relationships/image" Target="../media/image122.png"/><Relationship Id="rId4" Type="http://schemas.openxmlformats.org/officeDocument/2006/relationships/image" Target="../media/image119.png"/><Relationship Id="rId9" Type="http://schemas.microsoft.com/office/2007/relationships/hdphoto" Target="../media/hdphoto8.wdp"/><Relationship Id="rId14" Type="http://schemas.openxmlformats.org/officeDocument/2006/relationships/image" Target="../media/image124.png"/></Relationships>
</file>

<file path=ppt/slides/_rels/slide16.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5.xml"/><Relationship Id="rId1" Type="http://schemas.openxmlformats.org/officeDocument/2006/relationships/slideLayout" Target="../slideLayouts/slideLayout358.xml"/></Relationships>
</file>

<file path=ppt/slides/_rels/slide17.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6.xml"/><Relationship Id="rId1" Type="http://schemas.openxmlformats.org/officeDocument/2006/relationships/slideLayout" Target="../slideLayouts/slideLayout358.xml"/></Relationships>
</file>

<file path=ppt/slides/_rels/slide18.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7.xml"/><Relationship Id="rId1" Type="http://schemas.openxmlformats.org/officeDocument/2006/relationships/slideLayout" Target="../slideLayouts/slideLayout360.xml"/></Relationships>
</file>

<file path=ppt/slides/_rels/slide19.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image" Target="../media/image127.png"/><Relationship Id="rId1" Type="http://schemas.openxmlformats.org/officeDocument/2006/relationships/slideLayout" Target="../slideLayouts/slideLayout377.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01.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101.png"/></Relationships>
</file>

<file path=ppt/slides/_rels/slide20.xml.rels><?xml version="1.0" encoding="UTF-8" standalone="yes"?>
<Relationships xmlns="http://schemas.openxmlformats.org/package/2006/relationships"><Relationship Id="rId2" Type="http://schemas.openxmlformats.org/officeDocument/2006/relationships/image" Target="../media/image129.png"/><Relationship Id="rId1" Type="http://schemas.openxmlformats.org/officeDocument/2006/relationships/slideLayout" Target="../slideLayouts/slideLayout36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60.xml"/></Relationships>
</file>

<file path=ppt/slides/_rels/slide22.xml.rels><?xml version="1.0" encoding="UTF-8" standalone="yes"?>
<Relationships xmlns="http://schemas.openxmlformats.org/package/2006/relationships"><Relationship Id="rId2" Type="http://schemas.openxmlformats.org/officeDocument/2006/relationships/image" Target="../media/image130.png"/><Relationship Id="rId1" Type="http://schemas.openxmlformats.org/officeDocument/2006/relationships/slideLayout" Target="../slideLayouts/slideLayout303.xml"/></Relationships>
</file>

<file path=ppt/slides/_rels/slide23.xml.rels><?xml version="1.0" encoding="UTF-8" standalone="yes"?>
<Relationships xmlns="http://schemas.openxmlformats.org/package/2006/relationships"><Relationship Id="rId8" Type="http://schemas.openxmlformats.org/officeDocument/2006/relationships/image" Target="../media/image137.png"/><Relationship Id="rId3" Type="http://schemas.openxmlformats.org/officeDocument/2006/relationships/image" Target="../media/image132.png"/><Relationship Id="rId7" Type="http://schemas.openxmlformats.org/officeDocument/2006/relationships/image" Target="../media/image136.emf"/><Relationship Id="rId2" Type="http://schemas.openxmlformats.org/officeDocument/2006/relationships/image" Target="../media/image131.png"/><Relationship Id="rId1" Type="http://schemas.openxmlformats.org/officeDocument/2006/relationships/slideLayout" Target="../slideLayouts/slideLayout383.xml"/><Relationship Id="rId6" Type="http://schemas.openxmlformats.org/officeDocument/2006/relationships/image" Target="../media/image135.emf"/><Relationship Id="rId5" Type="http://schemas.openxmlformats.org/officeDocument/2006/relationships/image" Target="../media/image134.png"/><Relationship Id="rId4" Type="http://schemas.openxmlformats.org/officeDocument/2006/relationships/image" Target="../media/image133.png"/></Relationships>
</file>

<file path=ppt/slides/_rels/slide24.xml.rels><?xml version="1.0" encoding="UTF-8" standalone="yes"?>
<Relationships xmlns="http://schemas.openxmlformats.org/package/2006/relationships"><Relationship Id="rId8" Type="http://schemas.openxmlformats.org/officeDocument/2006/relationships/image" Target="../media/image141.png"/><Relationship Id="rId13" Type="http://schemas.openxmlformats.org/officeDocument/2006/relationships/image" Target="../media/image136.emf"/><Relationship Id="rId18" Type="http://schemas.openxmlformats.org/officeDocument/2006/relationships/image" Target="../media/image147.png"/><Relationship Id="rId3" Type="http://schemas.openxmlformats.org/officeDocument/2006/relationships/image" Target="../media/image135.emf"/><Relationship Id="rId7" Type="http://schemas.openxmlformats.org/officeDocument/2006/relationships/image" Target="../media/image140.png"/><Relationship Id="rId12" Type="http://schemas.openxmlformats.org/officeDocument/2006/relationships/image" Target="../media/image134.png"/><Relationship Id="rId17" Type="http://schemas.openxmlformats.org/officeDocument/2006/relationships/image" Target="../media/image146.png"/><Relationship Id="rId2" Type="http://schemas.openxmlformats.org/officeDocument/2006/relationships/image" Target="../media/image131.png"/><Relationship Id="rId16" Type="http://schemas.openxmlformats.org/officeDocument/2006/relationships/image" Target="../media/image145.png"/><Relationship Id="rId20" Type="http://schemas.openxmlformats.org/officeDocument/2006/relationships/image" Target="../media/image149.png"/><Relationship Id="rId1" Type="http://schemas.openxmlformats.org/officeDocument/2006/relationships/slideLayout" Target="../slideLayouts/slideLayout383.xml"/><Relationship Id="rId6" Type="http://schemas.openxmlformats.org/officeDocument/2006/relationships/image" Target="../media/image137.png"/><Relationship Id="rId11" Type="http://schemas.openxmlformats.org/officeDocument/2006/relationships/image" Target="../media/image133.png"/><Relationship Id="rId5" Type="http://schemas.openxmlformats.org/officeDocument/2006/relationships/image" Target="../media/image139.png"/><Relationship Id="rId15" Type="http://schemas.openxmlformats.org/officeDocument/2006/relationships/image" Target="../media/image144.png"/><Relationship Id="rId10" Type="http://schemas.openxmlformats.org/officeDocument/2006/relationships/image" Target="../media/image132.png"/><Relationship Id="rId19" Type="http://schemas.openxmlformats.org/officeDocument/2006/relationships/image" Target="../media/image148.png"/><Relationship Id="rId4" Type="http://schemas.openxmlformats.org/officeDocument/2006/relationships/image" Target="../media/image138.emf"/><Relationship Id="rId9" Type="http://schemas.openxmlformats.org/officeDocument/2006/relationships/image" Target="../media/image142.png"/><Relationship Id="rId14" Type="http://schemas.openxmlformats.org/officeDocument/2006/relationships/image" Target="../media/image143.png"/></Relationships>
</file>

<file path=ppt/slides/_rels/slide25.xml.rels><?xml version="1.0" encoding="UTF-8" standalone="yes"?>
<Relationships xmlns="http://schemas.openxmlformats.org/package/2006/relationships"><Relationship Id="rId2" Type="http://schemas.openxmlformats.org/officeDocument/2006/relationships/image" Target="../media/image150.jpeg"/><Relationship Id="rId1" Type="http://schemas.openxmlformats.org/officeDocument/2006/relationships/slideLayout" Target="../slideLayouts/slideLayout385.xml"/></Relationships>
</file>

<file path=ppt/slides/_rels/slide26.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image" Target="../media/image151.png"/><Relationship Id="rId1" Type="http://schemas.openxmlformats.org/officeDocument/2006/relationships/slideLayout" Target="../slideLayouts/slideLayout384.xml"/><Relationship Id="rId6" Type="http://schemas.openxmlformats.org/officeDocument/2006/relationships/image" Target="../media/image135.emf"/><Relationship Id="rId5" Type="http://schemas.openxmlformats.org/officeDocument/2006/relationships/image" Target="../media/image153.png"/><Relationship Id="rId4" Type="http://schemas.openxmlformats.org/officeDocument/2006/relationships/image" Target="../media/image145.png"/></Relationships>
</file>

<file path=ppt/slides/_rels/slide27.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9.xml"/><Relationship Id="rId1" Type="http://schemas.openxmlformats.org/officeDocument/2006/relationships/slideLayout" Target="../slideLayouts/slideLayout444.xml"/><Relationship Id="rId6" Type="http://schemas.openxmlformats.org/officeDocument/2006/relationships/image" Target="../media/image156.png"/><Relationship Id="rId5" Type="http://schemas.openxmlformats.org/officeDocument/2006/relationships/image" Target="../media/image155.png"/><Relationship Id="rId4" Type="http://schemas.openxmlformats.org/officeDocument/2006/relationships/image" Target="../media/image145.png"/></Relationships>
</file>

<file path=ppt/slides/_rels/slide28.xml.rels><?xml version="1.0" encoding="UTF-8" standalone="yes"?>
<Relationships xmlns="http://schemas.openxmlformats.org/package/2006/relationships"><Relationship Id="rId2" Type="http://schemas.openxmlformats.org/officeDocument/2006/relationships/image" Target="../media/image157.jpg"/><Relationship Id="rId1" Type="http://schemas.openxmlformats.org/officeDocument/2006/relationships/slideLayout" Target="../slideLayouts/slideLayout303.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457.xml"/><Relationship Id="rId2" Type="http://schemas.openxmlformats.org/officeDocument/2006/relationships/video" Target="../media/media2.mp4"/><Relationship Id="rId1" Type="http://schemas.microsoft.com/office/2007/relationships/media" Target="../media/media2.mp4"/><Relationship Id="rId4" Type="http://schemas.openxmlformats.org/officeDocument/2006/relationships/image" Target="../media/image158.png"/></Relationships>
</file>

<file path=ppt/slides/_rels/slide3.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291.xml"/></Relationships>
</file>

<file path=ppt/slides/_rels/slide30.xml.rels><?xml version="1.0" encoding="UTF-8" standalone="yes"?>
<Relationships xmlns="http://schemas.openxmlformats.org/package/2006/relationships"><Relationship Id="rId3" Type="http://schemas.openxmlformats.org/officeDocument/2006/relationships/image" Target="../media/image159.jpeg"/><Relationship Id="rId2" Type="http://schemas.openxmlformats.org/officeDocument/2006/relationships/notesSlide" Target="../notesSlides/notesSlide10.xml"/><Relationship Id="rId1" Type="http://schemas.openxmlformats.org/officeDocument/2006/relationships/slideLayout" Target="../slideLayouts/slideLayout467.xml"/></Relationships>
</file>

<file path=ppt/slides/_rels/slide31.xml.rels><?xml version="1.0" encoding="UTF-8" standalone="yes"?>
<Relationships xmlns="http://schemas.openxmlformats.org/package/2006/relationships"><Relationship Id="rId8" Type="http://schemas.openxmlformats.org/officeDocument/2006/relationships/image" Target="../media/image160.wmf"/><Relationship Id="rId3" Type="http://schemas.openxmlformats.org/officeDocument/2006/relationships/tags" Target="../tags/tag15.xml"/><Relationship Id="rId7" Type="http://schemas.openxmlformats.org/officeDocument/2006/relationships/image" Target="../media/image61.emf"/><Relationship Id="rId2" Type="http://schemas.openxmlformats.org/officeDocument/2006/relationships/tags" Target="../tags/tag14.xml"/><Relationship Id="rId1" Type="http://schemas.openxmlformats.org/officeDocument/2006/relationships/vmlDrawing" Target="../drawings/vmlDrawing11.vml"/><Relationship Id="rId6" Type="http://schemas.openxmlformats.org/officeDocument/2006/relationships/oleObject" Target="../embeddings/oleObject13.bin"/><Relationship Id="rId5" Type="http://schemas.openxmlformats.org/officeDocument/2006/relationships/notesSlide" Target="../notesSlides/notesSlide11.xml"/><Relationship Id="rId4" Type="http://schemas.openxmlformats.org/officeDocument/2006/relationships/slideLayout" Target="../slideLayouts/slideLayout467.xml"/><Relationship Id="rId9" Type="http://schemas.openxmlformats.org/officeDocument/2006/relationships/image" Target="../media/image161.png"/></Relationships>
</file>

<file path=ppt/slides/_rels/slide32.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12.xml"/><Relationship Id="rId1" Type="http://schemas.openxmlformats.org/officeDocument/2006/relationships/slideLayout" Target="../slideLayouts/slideLayout467.xml"/></Relationships>
</file>

<file path=ppt/slides/_rels/slide33.xml.rels><?xml version="1.0" encoding="UTF-8" standalone="yes"?>
<Relationships xmlns="http://schemas.openxmlformats.org/package/2006/relationships"><Relationship Id="rId3" Type="http://schemas.openxmlformats.org/officeDocument/2006/relationships/image" Target="../media/image163.jpeg"/><Relationship Id="rId2" Type="http://schemas.openxmlformats.org/officeDocument/2006/relationships/notesSlide" Target="../notesSlides/notesSlide13.xml"/><Relationship Id="rId1" Type="http://schemas.openxmlformats.org/officeDocument/2006/relationships/slideLayout" Target="../slideLayouts/slideLayout237.xml"/></Relationships>
</file>

<file path=ppt/slides/_rels/slide4.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jpeg"/><Relationship Id="rId1" Type="http://schemas.openxmlformats.org/officeDocument/2006/relationships/slideLayout" Target="../slideLayouts/slideLayout291.xml"/><Relationship Id="rId4" Type="http://schemas.microsoft.com/office/2007/relationships/hdphoto" Target="../media/hdphoto3.wdp"/></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03.xml"/></Relationships>
</file>

<file path=ppt/slides/_rels/slide6.xml.rels><?xml version="1.0" encoding="UTF-8" standalone="yes"?>
<Relationships xmlns="http://schemas.openxmlformats.org/package/2006/relationships"><Relationship Id="rId2" Type="http://schemas.openxmlformats.org/officeDocument/2006/relationships/image" Target="../media/image105.jpeg"/><Relationship Id="rId1" Type="http://schemas.openxmlformats.org/officeDocument/2006/relationships/slideLayout" Target="../slideLayouts/slideLayout207.xml"/></Relationships>
</file>

<file path=ppt/slides/_rels/slide7.xml.rels><?xml version="1.0" encoding="UTF-8" standalone="yes"?>
<Relationships xmlns="http://schemas.openxmlformats.org/package/2006/relationships"><Relationship Id="rId2" Type="http://schemas.openxmlformats.org/officeDocument/2006/relationships/image" Target="../media/image106.jpeg"/><Relationship Id="rId1" Type="http://schemas.openxmlformats.org/officeDocument/2006/relationships/slideLayout" Target="../slideLayouts/slideLayout207.xml"/></Relationships>
</file>

<file path=ppt/slides/_rels/slide8.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07.png"/><Relationship Id="rId1" Type="http://schemas.openxmlformats.org/officeDocument/2006/relationships/slideLayout" Target="../slideLayouts/slideLayout303.xml"/><Relationship Id="rId6" Type="http://schemas.microsoft.com/office/2007/relationships/hdphoto" Target="../media/hdphoto5.wdp"/><Relationship Id="rId5" Type="http://schemas.openxmlformats.org/officeDocument/2006/relationships/image" Target="../media/image109.png"/><Relationship Id="rId4" Type="http://schemas.openxmlformats.org/officeDocument/2006/relationships/image" Target="../media/image108.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0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그림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91409" y="-3147"/>
            <a:ext cx="9700591" cy="6861147"/>
          </a:xfrm>
          <a:prstGeom prst="rect">
            <a:avLst/>
          </a:prstGeom>
        </p:spPr>
      </p:pic>
      <p:sp>
        <p:nvSpPr>
          <p:cNvPr id="89" name="직사각형 88"/>
          <p:cNvSpPr/>
          <p:nvPr/>
        </p:nvSpPr>
        <p:spPr>
          <a:xfrm>
            <a:off x="402114" y="370454"/>
            <a:ext cx="6634916" cy="646331"/>
          </a:xfrm>
          <a:prstGeom prst="rect">
            <a:avLst/>
          </a:prstGeom>
        </p:spPr>
        <p:txBody>
          <a:bodyPr wrap="square">
            <a:spAutoFit/>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3600" b="1" noProof="0" dirty="0">
                <a:solidFill>
                  <a:srgbClr val="0072C6">
                    <a:lumMod val="75000"/>
                  </a:srgbClr>
                </a:solidFill>
                <a:latin typeface="Segoe UI"/>
              </a:rPr>
              <a:t>Cloud Service 100% </a:t>
            </a:r>
            <a:r>
              <a:rPr lang="ko-KR" altLang="en-US" sz="3600" b="1" noProof="0" dirty="0">
                <a:solidFill>
                  <a:srgbClr val="0072C6">
                    <a:lumMod val="75000"/>
                  </a:srgbClr>
                </a:solidFill>
                <a:latin typeface="Segoe UI"/>
              </a:rPr>
              <a:t>활용</a:t>
            </a:r>
            <a:endParaRPr kumimoji="0" lang="en-US" altLang="ko-KR" sz="3600" b="1" i="0" u="none" strike="noStrike" kern="1200" cap="none" spc="0" normalizeH="0" baseline="0" noProof="0" dirty="0">
              <a:ln>
                <a:noFill/>
              </a:ln>
              <a:solidFill>
                <a:srgbClr val="0072C6">
                  <a:lumMod val="75000"/>
                </a:srgbClr>
              </a:solidFill>
              <a:effectLst/>
              <a:uLnTx/>
              <a:uFillTx/>
              <a:latin typeface="Segoe UI"/>
              <a:ea typeface="+mn-ea"/>
              <a:cs typeface="+mn-cs"/>
            </a:endParaRPr>
          </a:p>
        </p:txBody>
      </p:sp>
      <p:sp>
        <p:nvSpPr>
          <p:cNvPr id="2" name="TextBox 1"/>
          <p:cNvSpPr txBox="1"/>
          <p:nvPr/>
        </p:nvSpPr>
        <p:spPr>
          <a:xfrm>
            <a:off x="402114" y="4028746"/>
            <a:ext cx="4387611" cy="2376035"/>
          </a:xfrm>
          <a:prstGeom prst="rect">
            <a:avLst/>
          </a:prstGeom>
          <a:noFill/>
        </p:spPr>
        <p:txBody>
          <a:bodyPr wrap="none" lIns="182880" tIns="146304" rIns="182880" bIns="146304" rtlCol="0">
            <a:spAutoFit/>
          </a:bodyPr>
          <a:lstStyle/>
          <a:p>
            <a:pPr marL="0" marR="0" lvl="0" indent="0" algn="l" defTabSz="914400" rtl="0" eaLnBrk="1" fontAlgn="auto" latinLnBrk="1" hangingPunct="1">
              <a:lnSpc>
                <a:spcPct val="90000"/>
              </a:lnSpc>
              <a:spcBef>
                <a:spcPts val="0"/>
              </a:spcBef>
              <a:spcAft>
                <a:spcPts val="600"/>
              </a:spcAft>
              <a:buClrTx/>
              <a:buSzTx/>
              <a:buFontTx/>
              <a:buNone/>
              <a:tabLst/>
              <a:defRPr/>
            </a:pPr>
            <a:r>
              <a:rPr kumimoji="0" lang="ko-KR" altLang="en-US" sz="3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김영욱 </a:t>
            </a:r>
            <a:r>
              <a:rPr kumimoji="0" lang="en-US" altLang="ko-KR"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Technical Evangelist</a:t>
            </a:r>
          </a:p>
          <a:p>
            <a:pPr marL="0" marR="0" lvl="0" indent="0" algn="l" defTabSz="914400" rtl="0" eaLnBrk="1" fontAlgn="auto" latinLnBrk="1" hangingPunct="1">
              <a:lnSpc>
                <a:spcPct val="90000"/>
              </a:lnSpc>
              <a:spcBef>
                <a:spcPts val="0"/>
              </a:spcBef>
              <a:spcAft>
                <a:spcPts val="600"/>
              </a:spcAft>
              <a:buClrTx/>
              <a:buSzTx/>
              <a:buFontTx/>
              <a:buNone/>
              <a:tabLst/>
              <a:defRPr/>
            </a:pPr>
            <a:r>
              <a:rPr kumimoji="0" lang="ko-KR" alt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부장</a:t>
            </a:r>
            <a:r>
              <a:rPr kumimoji="0" lang="en-US" altLang="ko-KR"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a:t>
            </a: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DX / Microsoft</a:t>
            </a:r>
          </a:p>
          <a:p>
            <a:pPr marL="0" marR="0" lvl="0" indent="0" algn="l" defTabSz="914400" rtl="0" eaLnBrk="1" fontAlgn="auto" latinLnBrk="1" hangingPunct="1">
              <a:lnSpc>
                <a:spcPct val="90000"/>
              </a:lnSpc>
              <a:spcBef>
                <a:spcPts val="0"/>
              </a:spcBef>
              <a:spcAft>
                <a:spcPts val="600"/>
              </a:spcAft>
              <a:buClrTx/>
              <a:buSzTx/>
              <a:buFontTx/>
              <a:buNone/>
              <a:tabLst/>
              <a:defRPr/>
            </a:pPr>
            <a:endPar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1"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youngwook@outlook.com</a:t>
            </a:r>
          </a:p>
          <a:p>
            <a:pPr marL="0" marR="0" lvl="0" indent="0" algn="l" defTabSz="914400" rtl="0" eaLnBrk="1" fontAlgn="auto" latinLnBrk="1"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Blog: Youngwook.com </a:t>
            </a:r>
          </a:p>
        </p:txBody>
      </p:sp>
    </p:spTree>
    <p:extLst>
      <p:ext uri="{BB962C8B-B14F-4D97-AF65-F5344CB8AC3E}">
        <p14:creationId xmlns:p14="http://schemas.microsoft.com/office/powerpoint/2010/main" val="256469757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 descr="https://msdnshared.blob.core.windows.net/media/MSDNBlogsFS/prod.evol.blogs.msdn.com/CommunityServer.Blogs.Components.WeblogFiles/00/00/01/62/62/4846.azure.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44604"/>
            <a:ext cx="13011150" cy="7315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74475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그림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0302826" cy="6868551"/>
          </a:xfrm>
          <a:prstGeom prst="rect">
            <a:avLst/>
          </a:prstGeom>
        </p:spPr>
      </p:pic>
      <p:sp>
        <p:nvSpPr>
          <p:cNvPr id="7" name="TextBox 6"/>
          <p:cNvSpPr txBox="1"/>
          <p:nvPr/>
        </p:nvSpPr>
        <p:spPr>
          <a:xfrm>
            <a:off x="8557189" y="1336700"/>
            <a:ext cx="835806" cy="627864"/>
          </a:xfrm>
          <a:prstGeom prst="rect">
            <a:avLst/>
          </a:prstGeom>
          <a:noFill/>
        </p:spPr>
        <p:txBody>
          <a:bodyPr wrap="none" lIns="182880" tIns="146304" rIns="182880" bIns="146304" rtlCol="0">
            <a:spAutoFit/>
          </a:bodyPr>
          <a:lstStyle/>
          <a:p>
            <a:pPr>
              <a:lnSpc>
                <a:spcPct val="90000"/>
              </a:lnSpc>
              <a:spcAft>
                <a:spcPts val="600"/>
              </a:spcAft>
            </a:pPr>
            <a:r>
              <a:rPr lang="en-US" altLang="ko-KR" sz="2400" b="1" dirty="0">
                <a:solidFill>
                  <a:schemeClr val="bg1"/>
                </a:solidFill>
              </a:rPr>
              <a:t>IoT</a:t>
            </a:r>
            <a:endParaRPr lang="ko-KR" altLang="en-US" sz="2400" b="1" dirty="0" err="1">
              <a:solidFill>
                <a:schemeClr val="bg1"/>
              </a:solidFill>
            </a:endParaRPr>
          </a:p>
        </p:txBody>
      </p:sp>
      <p:sp>
        <p:nvSpPr>
          <p:cNvPr id="8" name="TextBox 7"/>
          <p:cNvSpPr txBox="1"/>
          <p:nvPr/>
        </p:nvSpPr>
        <p:spPr>
          <a:xfrm>
            <a:off x="1818376" y="166166"/>
            <a:ext cx="1693797" cy="627864"/>
          </a:xfrm>
          <a:prstGeom prst="rect">
            <a:avLst/>
          </a:prstGeom>
          <a:noFill/>
        </p:spPr>
        <p:txBody>
          <a:bodyPr wrap="none" lIns="182880" tIns="146304" rIns="182880" bIns="146304" rtlCol="0">
            <a:spAutoFit/>
          </a:bodyPr>
          <a:lstStyle/>
          <a:p>
            <a:pPr>
              <a:lnSpc>
                <a:spcPct val="90000"/>
              </a:lnSpc>
              <a:spcAft>
                <a:spcPts val="600"/>
              </a:spcAft>
            </a:pPr>
            <a:r>
              <a:rPr lang="en-US" altLang="ko-KR" sz="2400" b="1" dirty="0">
                <a:solidFill>
                  <a:schemeClr val="bg1"/>
                </a:solidFill>
              </a:rPr>
              <a:t>Compute</a:t>
            </a:r>
            <a:endParaRPr lang="ko-KR" altLang="en-US" sz="2400" b="1" dirty="0" err="1">
              <a:solidFill>
                <a:schemeClr val="bg1"/>
              </a:solidFill>
            </a:endParaRPr>
          </a:p>
        </p:txBody>
      </p:sp>
      <p:sp>
        <p:nvSpPr>
          <p:cNvPr id="9" name="TextBox 8"/>
          <p:cNvSpPr txBox="1"/>
          <p:nvPr/>
        </p:nvSpPr>
        <p:spPr>
          <a:xfrm>
            <a:off x="332648" y="2255234"/>
            <a:ext cx="1485728" cy="627864"/>
          </a:xfrm>
          <a:prstGeom prst="rect">
            <a:avLst/>
          </a:prstGeom>
          <a:noFill/>
        </p:spPr>
        <p:txBody>
          <a:bodyPr wrap="none" lIns="182880" tIns="146304" rIns="182880" bIns="146304" rtlCol="0">
            <a:spAutoFit/>
          </a:bodyPr>
          <a:lstStyle/>
          <a:p>
            <a:pPr>
              <a:lnSpc>
                <a:spcPct val="90000"/>
              </a:lnSpc>
              <a:spcAft>
                <a:spcPts val="600"/>
              </a:spcAft>
            </a:pPr>
            <a:r>
              <a:rPr lang="en-US" altLang="ko-KR" sz="2400" b="1" dirty="0">
                <a:solidFill>
                  <a:schemeClr val="bg1"/>
                </a:solidFill>
              </a:rPr>
              <a:t>Storage</a:t>
            </a:r>
            <a:endParaRPr lang="ko-KR" altLang="en-US" sz="2400" b="1" dirty="0" err="1">
              <a:solidFill>
                <a:schemeClr val="bg1"/>
              </a:solidFill>
            </a:endParaRPr>
          </a:p>
        </p:txBody>
      </p:sp>
      <p:sp>
        <p:nvSpPr>
          <p:cNvPr id="10" name="TextBox 9"/>
          <p:cNvSpPr txBox="1"/>
          <p:nvPr/>
        </p:nvSpPr>
        <p:spPr>
          <a:xfrm>
            <a:off x="3709474" y="323132"/>
            <a:ext cx="1624612" cy="627864"/>
          </a:xfrm>
          <a:prstGeom prst="rect">
            <a:avLst/>
          </a:prstGeom>
          <a:noFill/>
        </p:spPr>
        <p:txBody>
          <a:bodyPr wrap="none" lIns="182880" tIns="146304" rIns="182880" bIns="146304" rtlCol="0">
            <a:spAutoFit/>
          </a:bodyPr>
          <a:lstStyle/>
          <a:p>
            <a:pPr>
              <a:lnSpc>
                <a:spcPct val="90000"/>
              </a:lnSpc>
              <a:spcAft>
                <a:spcPts val="600"/>
              </a:spcAft>
            </a:pPr>
            <a:r>
              <a:rPr lang="en-US" altLang="ko-KR" sz="2400" b="1" dirty="0">
                <a:solidFill>
                  <a:schemeClr val="bg1"/>
                </a:solidFill>
              </a:rPr>
              <a:t>Network</a:t>
            </a:r>
            <a:endParaRPr lang="ko-KR" altLang="en-US" sz="2400" b="1" dirty="0" err="1">
              <a:solidFill>
                <a:schemeClr val="bg1"/>
              </a:solidFill>
            </a:endParaRPr>
          </a:p>
        </p:txBody>
      </p:sp>
      <p:sp>
        <p:nvSpPr>
          <p:cNvPr id="11" name="TextBox 10"/>
          <p:cNvSpPr txBox="1"/>
          <p:nvPr/>
        </p:nvSpPr>
        <p:spPr>
          <a:xfrm>
            <a:off x="4780116" y="1964564"/>
            <a:ext cx="2350643" cy="627864"/>
          </a:xfrm>
          <a:prstGeom prst="rect">
            <a:avLst/>
          </a:prstGeom>
          <a:noFill/>
        </p:spPr>
        <p:txBody>
          <a:bodyPr wrap="none" lIns="182880" tIns="146304" rIns="182880" bIns="146304" rtlCol="0">
            <a:spAutoFit/>
          </a:bodyPr>
          <a:lstStyle/>
          <a:p>
            <a:pPr>
              <a:lnSpc>
                <a:spcPct val="90000"/>
              </a:lnSpc>
              <a:spcAft>
                <a:spcPts val="600"/>
              </a:spcAft>
            </a:pPr>
            <a:r>
              <a:rPr lang="en-US" altLang="ko-KR" sz="2400" b="1" dirty="0">
                <a:solidFill>
                  <a:schemeClr val="bg1"/>
                </a:solidFill>
              </a:rPr>
              <a:t>Data Analysis</a:t>
            </a:r>
            <a:endParaRPr lang="ko-KR" altLang="en-US" sz="2400" b="1" dirty="0" err="1">
              <a:solidFill>
                <a:schemeClr val="bg1"/>
              </a:solidFill>
            </a:endParaRPr>
          </a:p>
        </p:txBody>
      </p:sp>
      <p:sp>
        <p:nvSpPr>
          <p:cNvPr id="12" name="TextBox 11"/>
          <p:cNvSpPr txBox="1"/>
          <p:nvPr/>
        </p:nvSpPr>
        <p:spPr>
          <a:xfrm>
            <a:off x="6122323" y="202052"/>
            <a:ext cx="3019353" cy="627864"/>
          </a:xfrm>
          <a:prstGeom prst="rect">
            <a:avLst/>
          </a:prstGeom>
          <a:noFill/>
        </p:spPr>
        <p:txBody>
          <a:bodyPr wrap="none" lIns="182880" tIns="146304" rIns="182880" bIns="146304" rtlCol="0">
            <a:spAutoFit/>
          </a:bodyPr>
          <a:lstStyle/>
          <a:p>
            <a:pPr>
              <a:lnSpc>
                <a:spcPct val="90000"/>
              </a:lnSpc>
              <a:spcAft>
                <a:spcPts val="600"/>
              </a:spcAft>
            </a:pPr>
            <a:r>
              <a:rPr lang="en-US" altLang="ko-KR" sz="2400" b="1" dirty="0">
                <a:solidFill>
                  <a:schemeClr val="bg1"/>
                </a:solidFill>
              </a:rPr>
              <a:t>Developer Service</a:t>
            </a:r>
            <a:endParaRPr lang="ko-KR" altLang="en-US" sz="2400" b="1" dirty="0" err="1">
              <a:solidFill>
                <a:schemeClr val="bg1"/>
              </a:solidFill>
            </a:endParaRPr>
          </a:p>
        </p:txBody>
      </p:sp>
      <p:sp>
        <p:nvSpPr>
          <p:cNvPr id="13" name="TextBox 12"/>
          <p:cNvSpPr txBox="1"/>
          <p:nvPr/>
        </p:nvSpPr>
        <p:spPr>
          <a:xfrm>
            <a:off x="2244229" y="3434275"/>
            <a:ext cx="2535887" cy="627864"/>
          </a:xfrm>
          <a:prstGeom prst="rect">
            <a:avLst/>
          </a:prstGeom>
          <a:noFill/>
        </p:spPr>
        <p:txBody>
          <a:bodyPr wrap="none" lIns="182880" tIns="146304" rIns="182880" bIns="146304" rtlCol="0">
            <a:spAutoFit/>
          </a:bodyPr>
          <a:lstStyle/>
          <a:p>
            <a:pPr>
              <a:lnSpc>
                <a:spcPct val="90000"/>
              </a:lnSpc>
              <a:spcAft>
                <a:spcPts val="600"/>
              </a:spcAft>
            </a:pPr>
            <a:r>
              <a:rPr lang="en-US" altLang="ko-KR" sz="2400" b="1" dirty="0">
                <a:solidFill>
                  <a:schemeClr val="bg1"/>
                </a:solidFill>
              </a:rPr>
              <a:t>Web &amp; Mobile</a:t>
            </a:r>
            <a:endParaRPr lang="ko-KR" altLang="en-US" sz="2400" b="1" dirty="0" err="1">
              <a:solidFill>
                <a:schemeClr val="bg1"/>
              </a:solidFill>
            </a:endParaRPr>
          </a:p>
        </p:txBody>
      </p:sp>
      <p:sp>
        <p:nvSpPr>
          <p:cNvPr id="14" name="TextBox 13"/>
          <p:cNvSpPr txBox="1"/>
          <p:nvPr/>
        </p:nvSpPr>
        <p:spPr>
          <a:xfrm>
            <a:off x="7820609" y="3748207"/>
            <a:ext cx="2308965" cy="627864"/>
          </a:xfrm>
          <a:prstGeom prst="rect">
            <a:avLst/>
          </a:prstGeom>
          <a:noFill/>
        </p:spPr>
        <p:txBody>
          <a:bodyPr wrap="none" lIns="182880" tIns="146304" rIns="182880" bIns="146304" rtlCol="0">
            <a:spAutoFit/>
          </a:bodyPr>
          <a:lstStyle/>
          <a:p>
            <a:pPr>
              <a:lnSpc>
                <a:spcPct val="90000"/>
              </a:lnSpc>
              <a:spcAft>
                <a:spcPts val="600"/>
              </a:spcAft>
            </a:pPr>
            <a:r>
              <a:rPr lang="en-US" altLang="ko-KR" sz="2400" b="1" dirty="0">
                <a:solidFill>
                  <a:schemeClr val="bg1"/>
                </a:solidFill>
              </a:rPr>
              <a:t>Management</a:t>
            </a:r>
            <a:endParaRPr lang="ko-KR" altLang="en-US" sz="2400" b="1" dirty="0" err="1">
              <a:solidFill>
                <a:schemeClr val="bg1"/>
              </a:solidFill>
            </a:endParaRPr>
          </a:p>
        </p:txBody>
      </p:sp>
      <p:sp>
        <p:nvSpPr>
          <p:cNvPr id="15" name="TextBox 14"/>
          <p:cNvSpPr txBox="1"/>
          <p:nvPr/>
        </p:nvSpPr>
        <p:spPr>
          <a:xfrm>
            <a:off x="8723773" y="2945774"/>
            <a:ext cx="1543756" cy="627864"/>
          </a:xfrm>
          <a:prstGeom prst="rect">
            <a:avLst/>
          </a:prstGeom>
          <a:noFill/>
        </p:spPr>
        <p:txBody>
          <a:bodyPr wrap="none" lIns="182880" tIns="146304" rIns="182880" bIns="146304" rtlCol="0">
            <a:spAutoFit/>
          </a:bodyPr>
          <a:lstStyle/>
          <a:p>
            <a:pPr>
              <a:lnSpc>
                <a:spcPct val="90000"/>
              </a:lnSpc>
              <a:spcAft>
                <a:spcPts val="600"/>
              </a:spcAft>
            </a:pPr>
            <a:r>
              <a:rPr lang="en-US" altLang="ko-KR" sz="2400" b="1" dirty="0">
                <a:solidFill>
                  <a:schemeClr val="bg1"/>
                </a:solidFill>
              </a:rPr>
              <a:t>Security</a:t>
            </a:r>
            <a:endParaRPr lang="ko-KR" altLang="en-US" sz="2400" b="1" dirty="0" err="1">
              <a:solidFill>
                <a:schemeClr val="bg1"/>
              </a:solidFill>
            </a:endParaRPr>
          </a:p>
        </p:txBody>
      </p:sp>
    </p:spTree>
    <p:extLst>
      <p:ext uri="{BB962C8B-B14F-4D97-AF65-F5344CB8AC3E}">
        <p14:creationId xmlns:p14="http://schemas.microsoft.com/office/powerpoint/2010/main" val="29582201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500"/>
                                        <p:tgtEl>
                                          <p:spTgt spid="13"/>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500"/>
                                        <p:tgtEl>
                                          <p:spTgt spid="10"/>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500"/>
                                        <p:tgtEl>
                                          <p:spTgt spid="11"/>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fade">
                                      <p:cBhvr>
                                        <p:cTn id="27" dur="500"/>
                                        <p:tgtEl>
                                          <p:spTgt spid="12"/>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7"/>
                                        </p:tgtEl>
                                        <p:attrNameLst>
                                          <p:attrName>style.visibility</p:attrName>
                                        </p:attrNameLst>
                                      </p:cBhvr>
                                      <p:to>
                                        <p:strVal val="visible"/>
                                      </p:to>
                                    </p:set>
                                    <p:animEffect transition="in" filter="fade">
                                      <p:cBhvr>
                                        <p:cTn id="31" dur="500"/>
                                        <p:tgtEl>
                                          <p:spTgt spid="7"/>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15"/>
                                        </p:tgtEl>
                                        <p:attrNameLst>
                                          <p:attrName>style.visibility</p:attrName>
                                        </p:attrNameLst>
                                      </p:cBhvr>
                                      <p:to>
                                        <p:strVal val="visible"/>
                                      </p:to>
                                    </p:set>
                                    <p:animEffect transition="in" filter="fade">
                                      <p:cBhvr>
                                        <p:cTn id="35" dur="500"/>
                                        <p:tgtEl>
                                          <p:spTgt spid="15"/>
                                        </p:tgtEl>
                                      </p:cBhvr>
                                    </p:animEffect>
                                  </p:childTnLst>
                                </p:cTn>
                              </p:par>
                            </p:childTnLst>
                          </p:cTn>
                        </p:par>
                        <p:par>
                          <p:cTn id="36" fill="hold">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14"/>
                                        </p:tgtEl>
                                        <p:attrNameLst>
                                          <p:attrName>style.visibility</p:attrName>
                                        </p:attrNameLst>
                                      </p:cBhvr>
                                      <p:to>
                                        <p:strVal val="visible"/>
                                      </p:to>
                                    </p:set>
                                    <p:animEffect transition="in" filter="fade">
                                      <p:cBhvr>
                                        <p:cTn id="39"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P spid="10" grpId="0"/>
      <p:bldP spid="11" grpId="0"/>
      <p:bldP spid="12" grpId="0"/>
      <p:bldP spid="13" grpId="0"/>
      <p:bldP spid="14" grpId="0"/>
      <p:bldP spid="1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081335" y="791570"/>
            <a:ext cx="3139129" cy="960263"/>
          </a:xfrm>
          <a:prstGeom prst="rect">
            <a:avLst/>
          </a:prstGeom>
          <a:noFill/>
        </p:spPr>
        <p:txBody>
          <a:bodyPr wrap="none" lIns="182880" tIns="146304" rIns="182880" bIns="146304" rtlCol="0">
            <a:spAutoFit/>
          </a:bodyPr>
          <a:lstStyle/>
          <a:p>
            <a:pPr>
              <a:lnSpc>
                <a:spcPct val="90000"/>
              </a:lnSpc>
              <a:spcAft>
                <a:spcPts val="600"/>
              </a:spcAft>
            </a:pPr>
            <a:r>
              <a:rPr lang="en-US" altLang="ko-KR" sz="4800" b="1" dirty="0">
                <a:solidFill>
                  <a:schemeClr val="bg1"/>
                </a:solidFill>
              </a:rPr>
              <a:t>Cognitive</a:t>
            </a:r>
            <a:endParaRPr lang="ko-KR" altLang="en-US" sz="2400" dirty="0">
              <a:solidFill>
                <a:schemeClr val="bg1"/>
              </a:solidFill>
            </a:endParaRPr>
          </a:p>
        </p:txBody>
      </p:sp>
      <p:pic>
        <p:nvPicPr>
          <p:cNvPr id="3" name="그림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23109" y="2123861"/>
            <a:ext cx="7343775" cy="3838575"/>
          </a:xfrm>
          <a:prstGeom prst="rect">
            <a:avLst/>
          </a:prstGeom>
        </p:spPr>
      </p:pic>
    </p:spTree>
    <p:extLst>
      <p:ext uri="{BB962C8B-B14F-4D97-AF65-F5344CB8AC3E}">
        <p14:creationId xmlns:p14="http://schemas.microsoft.com/office/powerpoint/2010/main" val="21072589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4" cstate="screen">
            <a:grayscl/>
            <a:extLst>
              <a:ext uri="{28A0092B-C50C-407E-A947-70E740481C1C}">
                <a14:useLocalDpi xmlns:a14="http://schemas.microsoft.com/office/drawing/2010/main" val="0"/>
              </a:ext>
            </a:extLst>
          </a:blip>
          <a:srcRect l="16265" t="3005" r="6165" b="1684"/>
          <a:stretch/>
        </p:blipFill>
        <p:spPr>
          <a:xfrm>
            <a:off x="4751555" y="974"/>
            <a:ext cx="7439582" cy="6856055"/>
          </a:xfrm>
          <a:prstGeom prst="rect">
            <a:avLst/>
          </a:prstGeom>
        </p:spPr>
      </p:pic>
      <p:sp>
        <p:nvSpPr>
          <p:cNvPr id="11" name="Rectangle 10"/>
          <p:cNvSpPr/>
          <p:nvPr/>
        </p:nvSpPr>
        <p:spPr bwMode="auto">
          <a:xfrm>
            <a:off x="4751555" y="974"/>
            <a:ext cx="7439582" cy="6856540"/>
          </a:xfrm>
          <a:prstGeom prst="rect">
            <a:avLst/>
          </a:prstGeom>
          <a:gradFill flip="none" rotWithShape="1">
            <a:gsLst>
              <a:gs pos="2917">
                <a:srgbClr val="000000">
                  <a:alpha val="85000"/>
                </a:srgbClr>
              </a:gs>
              <a:gs pos="50000">
                <a:srgbClr val="000000">
                  <a:alpha val="70000"/>
                </a:srgbClr>
              </a:gs>
              <a:gs pos="76000">
                <a:srgbClr val="000000">
                  <a:alpha val="50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latinLnBrk="0">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Rectangle 1"/>
          <p:cNvSpPr/>
          <p:nvPr/>
        </p:nvSpPr>
        <p:spPr bwMode="auto">
          <a:xfrm>
            <a:off x="4751555" y="974"/>
            <a:ext cx="7439582" cy="6856540"/>
          </a:xfrm>
          <a:prstGeom prst="rect">
            <a:avLst/>
          </a:prstGeom>
          <a:solidFill>
            <a:schemeClr val="accent5">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latinLnBrk="0">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Rectangle 4"/>
          <p:cNvSpPr/>
          <p:nvPr/>
        </p:nvSpPr>
        <p:spPr>
          <a:xfrm>
            <a:off x="556553" y="1782663"/>
            <a:ext cx="3144829" cy="3590543"/>
          </a:xfrm>
          <a:prstGeom prst="rect">
            <a:avLst/>
          </a:prstGeom>
        </p:spPr>
        <p:txBody>
          <a:bodyPr wrap="square">
            <a:spAutoFit/>
          </a:bodyPr>
          <a:lstStyle/>
          <a:p>
            <a:pPr defTabSz="914225" latinLnBrk="0">
              <a:spcAft>
                <a:spcPts val="1175"/>
              </a:spcAft>
              <a:defRPr/>
            </a:pPr>
            <a:r>
              <a:rPr lang="en-US" altLang="en-US" sz="4902" kern="0" dirty="0">
                <a:solidFill>
                  <a:sysClr val="windowText" lastClr="000000"/>
                </a:solidFill>
                <a:latin typeface="Segoe UI Light"/>
              </a:rPr>
              <a:t>Microsoft </a:t>
            </a:r>
            <a:br>
              <a:rPr lang="en-US" altLang="en-US" sz="4902" kern="0" dirty="0">
                <a:solidFill>
                  <a:sysClr val="windowText" lastClr="000000"/>
                </a:solidFill>
                <a:latin typeface="Segoe UI Light"/>
              </a:rPr>
            </a:br>
            <a:r>
              <a:rPr lang="en-US" altLang="en-US" sz="4902" kern="0" dirty="0">
                <a:solidFill>
                  <a:sysClr val="windowText" lastClr="000000"/>
                </a:solidFill>
                <a:latin typeface="Segoe UI Light"/>
              </a:rPr>
              <a:t>Cognitive </a:t>
            </a:r>
            <a:br>
              <a:rPr lang="en-US" altLang="en-US" sz="4902" kern="0" dirty="0">
                <a:solidFill>
                  <a:sysClr val="windowText" lastClr="000000"/>
                </a:solidFill>
                <a:latin typeface="Segoe UI Light"/>
              </a:rPr>
            </a:br>
            <a:r>
              <a:rPr lang="en-US" altLang="en-US" sz="4902" kern="0" dirty="0">
                <a:solidFill>
                  <a:sysClr val="windowText" lastClr="000000"/>
                </a:solidFill>
                <a:latin typeface="Segoe UI Light"/>
              </a:rPr>
              <a:t>Services</a:t>
            </a:r>
          </a:p>
          <a:p>
            <a:pPr defTabSz="914225" latinLnBrk="0">
              <a:spcAft>
                <a:spcPts val="1175"/>
              </a:spcAft>
              <a:defRPr/>
            </a:pPr>
            <a:r>
              <a:rPr lang="en-US" sz="3529" kern="0" dirty="0">
                <a:gradFill>
                  <a:gsLst>
                    <a:gs pos="0">
                      <a:srgbClr val="008272"/>
                    </a:gs>
                    <a:gs pos="100000">
                      <a:srgbClr val="008272"/>
                    </a:gs>
                  </a:gsLst>
                  <a:lin ang="5400000" scaled="0"/>
                </a:gradFill>
                <a:latin typeface="Segoe UI Light"/>
              </a:rPr>
              <a:t>Give your apps </a:t>
            </a:r>
            <a:br>
              <a:rPr lang="en-US" sz="3529" kern="0" dirty="0">
                <a:gradFill>
                  <a:gsLst>
                    <a:gs pos="0">
                      <a:srgbClr val="008272"/>
                    </a:gs>
                    <a:gs pos="100000">
                      <a:srgbClr val="008272"/>
                    </a:gs>
                  </a:gsLst>
                  <a:lin ang="5400000" scaled="0"/>
                </a:gradFill>
                <a:latin typeface="Segoe UI Light"/>
              </a:rPr>
            </a:br>
            <a:r>
              <a:rPr lang="en-US" sz="3529" kern="0" dirty="0">
                <a:gradFill>
                  <a:gsLst>
                    <a:gs pos="0">
                      <a:srgbClr val="008272"/>
                    </a:gs>
                    <a:gs pos="100000">
                      <a:srgbClr val="008272"/>
                    </a:gs>
                  </a:gsLst>
                  <a:lin ang="5400000" scaled="0"/>
                </a:gradFill>
                <a:latin typeface="Segoe UI Light"/>
              </a:rPr>
              <a:t>a human side</a:t>
            </a:r>
          </a:p>
        </p:txBody>
      </p:sp>
      <p:sp>
        <p:nvSpPr>
          <p:cNvPr id="6" name="TextBox 5"/>
          <p:cNvSpPr txBox="1"/>
          <p:nvPr/>
        </p:nvSpPr>
        <p:spPr>
          <a:xfrm>
            <a:off x="6277847" y="949998"/>
            <a:ext cx="4571352" cy="1274087"/>
          </a:xfrm>
          <a:prstGeom prst="rect">
            <a:avLst/>
          </a:prstGeom>
          <a:noFill/>
        </p:spPr>
        <p:txBody>
          <a:bodyPr wrap="square" lIns="182854" tIns="146284" rIns="182854" bIns="146284" rtlCol="0">
            <a:spAutoFit/>
          </a:bodyPr>
          <a:lstStyle/>
          <a:p>
            <a:pPr defTabSz="914225" latinLnBrk="0">
              <a:lnSpc>
                <a:spcPct val="90000"/>
              </a:lnSpc>
              <a:spcAft>
                <a:spcPts val="600"/>
              </a:spcAft>
              <a:defRPr/>
            </a:pPr>
            <a:r>
              <a:rPr lang="en-US" sz="2600" kern="0" dirty="0">
                <a:gradFill>
                  <a:gsLst>
                    <a:gs pos="2917">
                      <a:srgbClr val="FFFFFF"/>
                    </a:gs>
                    <a:gs pos="30000">
                      <a:srgbClr val="FFFFFF"/>
                    </a:gs>
                  </a:gsLst>
                  <a:lin ang="5400000" scaled="0"/>
                </a:gradFill>
                <a:latin typeface="Segoe UI Semilight" panose="020B0402040204020203" pitchFamily="34" charset="0"/>
                <a:cs typeface="Segoe UI Semilight" panose="020B0402040204020203" pitchFamily="34" charset="0"/>
              </a:rPr>
              <a:t>Vision</a:t>
            </a:r>
          </a:p>
          <a:p>
            <a:pPr defTabSz="914225" latinLnBrk="0">
              <a:lnSpc>
                <a:spcPct val="90000"/>
              </a:lnSpc>
              <a:spcAft>
                <a:spcPts val="600"/>
              </a:spcAft>
              <a:defRPr/>
            </a:pPr>
            <a:r>
              <a:rPr lang="en-US" sz="1961" kern="0" dirty="0">
                <a:solidFill>
                  <a:srgbClr val="FFFFFF"/>
                </a:solidFill>
                <a:latin typeface="Segoe UI Light"/>
              </a:rPr>
              <a:t>From faces to feelings, allow your </a:t>
            </a:r>
            <a:br>
              <a:rPr lang="en-US" sz="1961" kern="0" dirty="0">
                <a:solidFill>
                  <a:srgbClr val="FFFFFF"/>
                </a:solidFill>
                <a:latin typeface="Segoe UI Light"/>
              </a:rPr>
            </a:br>
            <a:r>
              <a:rPr lang="en-US" sz="1961" kern="0" dirty="0">
                <a:solidFill>
                  <a:srgbClr val="FFFFFF"/>
                </a:solidFill>
                <a:latin typeface="Segoe UI Light"/>
              </a:rPr>
              <a:t>apps to understand images and video</a:t>
            </a:r>
          </a:p>
        </p:txBody>
      </p:sp>
      <p:sp>
        <p:nvSpPr>
          <p:cNvPr id="7" name="TextBox 6"/>
          <p:cNvSpPr txBox="1"/>
          <p:nvPr/>
        </p:nvSpPr>
        <p:spPr>
          <a:xfrm>
            <a:off x="6277847" y="2095262"/>
            <a:ext cx="5495511" cy="1274087"/>
          </a:xfrm>
          <a:prstGeom prst="rect">
            <a:avLst/>
          </a:prstGeom>
          <a:noFill/>
        </p:spPr>
        <p:txBody>
          <a:bodyPr wrap="square" lIns="182854" tIns="146284" rIns="182854" bIns="146284" rtlCol="0">
            <a:spAutoFit/>
          </a:bodyPr>
          <a:lstStyle/>
          <a:p>
            <a:pPr defTabSz="914225" latinLnBrk="0">
              <a:lnSpc>
                <a:spcPct val="90000"/>
              </a:lnSpc>
              <a:spcAft>
                <a:spcPts val="600"/>
              </a:spcAft>
              <a:defRPr/>
            </a:pPr>
            <a:r>
              <a:rPr lang="en-US" sz="2600" kern="0" dirty="0">
                <a:gradFill>
                  <a:gsLst>
                    <a:gs pos="2917">
                      <a:srgbClr val="FFFFFF"/>
                    </a:gs>
                    <a:gs pos="30000">
                      <a:srgbClr val="FFFFFF"/>
                    </a:gs>
                  </a:gsLst>
                  <a:lin ang="5400000" scaled="0"/>
                </a:gradFill>
                <a:latin typeface="Segoe UI Semilight" panose="020B0402040204020203" pitchFamily="34" charset="0"/>
                <a:cs typeface="Segoe UI Semilight" panose="020B0402040204020203" pitchFamily="34" charset="0"/>
              </a:rPr>
              <a:t>Speech</a:t>
            </a:r>
          </a:p>
          <a:p>
            <a:pPr defTabSz="914225" latinLnBrk="0">
              <a:lnSpc>
                <a:spcPct val="90000"/>
              </a:lnSpc>
              <a:spcAft>
                <a:spcPts val="600"/>
              </a:spcAft>
              <a:defRPr/>
            </a:pPr>
            <a:r>
              <a:rPr lang="en-US" sz="1961" kern="0" dirty="0">
                <a:solidFill>
                  <a:srgbClr val="FFFFFF"/>
                </a:solidFill>
                <a:latin typeface="Segoe UI Light"/>
              </a:rPr>
              <a:t>Hear and speak to your users by filtering noise, identifying speakers, and understanding intent</a:t>
            </a:r>
          </a:p>
        </p:txBody>
      </p:sp>
      <p:sp>
        <p:nvSpPr>
          <p:cNvPr id="8" name="TextBox 7"/>
          <p:cNvSpPr txBox="1"/>
          <p:nvPr/>
        </p:nvSpPr>
        <p:spPr>
          <a:xfrm>
            <a:off x="6277848" y="3240525"/>
            <a:ext cx="4225574" cy="1274087"/>
          </a:xfrm>
          <a:prstGeom prst="rect">
            <a:avLst/>
          </a:prstGeom>
          <a:noFill/>
        </p:spPr>
        <p:txBody>
          <a:bodyPr wrap="square" lIns="182854" tIns="146284" rIns="182854" bIns="146284" rtlCol="0">
            <a:spAutoFit/>
          </a:bodyPr>
          <a:lstStyle/>
          <a:p>
            <a:pPr defTabSz="914225" latinLnBrk="0">
              <a:lnSpc>
                <a:spcPct val="90000"/>
              </a:lnSpc>
              <a:spcAft>
                <a:spcPts val="600"/>
              </a:spcAft>
              <a:defRPr/>
            </a:pPr>
            <a:r>
              <a:rPr lang="en-US" sz="2600" kern="0" dirty="0">
                <a:gradFill>
                  <a:gsLst>
                    <a:gs pos="2917">
                      <a:srgbClr val="FFFFFF"/>
                    </a:gs>
                    <a:gs pos="30000">
                      <a:srgbClr val="FFFFFF"/>
                    </a:gs>
                  </a:gsLst>
                  <a:lin ang="5400000" scaled="0"/>
                </a:gradFill>
                <a:latin typeface="Segoe UI Semilight" panose="020B0402040204020203" pitchFamily="34" charset="0"/>
                <a:cs typeface="Segoe UI Semilight" panose="020B0402040204020203" pitchFamily="34" charset="0"/>
              </a:rPr>
              <a:t>Language</a:t>
            </a:r>
          </a:p>
          <a:p>
            <a:pPr defTabSz="914225" latinLnBrk="0">
              <a:lnSpc>
                <a:spcPct val="90000"/>
              </a:lnSpc>
              <a:spcAft>
                <a:spcPts val="600"/>
              </a:spcAft>
              <a:defRPr/>
            </a:pPr>
            <a:r>
              <a:rPr lang="en-US" sz="1961" kern="0" dirty="0">
                <a:solidFill>
                  <a:srgbClr val="FFFFFF"/>
                </a:solidFill>
                <a:latin typeface="Segoe UI Light"/>
              </a:rPr>
              <a:t>Process text and learn how to recognize what users want</a:t>
            </a:r>
          </a:p>
        </p:txBody>
      </p:sp>
      <p:sp>
        <p:nvSpPr>
          <p:cNvPr id="9" name="TextBox 8"/>
          <p:cNvSpPr txBox="1"/>
          <p:nvPr/>
        </p:nvSpPr>
        <p:spPr>
          <a:xfrm>
            <a:off x="6277847" y="4385789"/>
            <a:ext cx="4571352" cy="1274087"/>
          </a:xfrm>
          <a:prstGeom prst="rect">
            <a:avLst/>
          </a:prstGeom>
          <a:noFill/>
        </p:spPr>
        <p:txBody>
          <a:bodyPr wrap="square" lIns="182854" tIns="146284" rIns="182854" bIns="146284" rtlCol="0">
            <a:spAutoFit/>
          </a:bodyPr>
          <a:lstStyle/>
          <a:p>
            <a:pPr defTabSz="914225" latinLnBrk="0">
              <a:lnSpc>
                <a:spcPct val="90000"/>
              </a:lnSpc>
              <a:spcAft>
                <a:spcPts val="600"/>
              </a:spcAft>
              <a:defRPr/>
            </a:pPr>
            <a:r>
              <a:rPr lang="en-US" sz="2600" kern="0" dirty="0">
                <a:gradFill>
                  <a:gsLst>
                    <a:gs pos="2917">
                      <a:srgbClr val="FFFFFF"/>
                    </a:gs>
                    <a:gs pos="30000">
                      <a:srgbClr val="FFFFFF"/>
                    </a:gs>
                  </a:gsLst>
                  <a:lin ang="5400000" scaled="0"/>
                </a:gradFill>
                <a:latin typeface="Segoe UI Semilight" panose="020B0402040204020203" pitchFamily="34" charset="0"/>
                <a:cs typeface="Segoe UI Semilight" panose="020B0402040204020203" pitchFamily="34" charset="0"/>
              </a:rPr>
              <a:t>Knowledge</a:t>
            </a:r>
          </a:p>
          <a:p>
            <a:pPr defTabSz="914225" latinLnBrk="0">
              <a:lnSpc>
                <a:spcPct val="90000"/>
              </a:lnSpc>
              <a:spcAft>
                <a:spcPts val="600"/>
              </a:spcAft>
              <a:defRPr/>
            </a:pPr>
            <a:r>
              <a:rPr lang="en-US" sz="1961" kern="0" dirty="0">
                <a:solidFill>
                  <a:srgbClr val="FFFFFF"/>
                </a:solidFill>
                <a:latin typeface="Segoe UI Light"/>
              </a:rPr>
              <a:t>Tap into rich knowledge amassed from </a:t>
            </a:r>
            <a:br>
              <a:rPr lang="en-US" sz="1961" kern="0" dirty="0">
                <a:solidFill>
                  <a:srgbClr val="FFFFFF"/>
                </a:solidFill>
                <a:latin typeface="Segoe UI Light"/>
              </a:rPr>
            </a:br>
            <a:r>
              <a:rPr lang="en-US" sz="1961" kern="0" dirty="0">
                <a:solidFill>
                  <a:srgbClr val="FFFFFF"/>
                </a:solidFill>
                <a:latin typeface="Segoe UI Light"/>
              </a:rPr>
              <a:t>the web, academia, or your own data</a:t>
            </a:r>
          </a:p>
        </p:txBody>
      </p:sp>
      <p:sp>
        <p:nvSpPr>
          <p:cNvPr id="10" name="TextBox 9"/>
          <p:cNvSpPr txBox="1"/>
          <p:nvPr/>
        </p:nvSpPr>
        <p:spPr>
          <a:xfrm>
            <a:off x="6277848" y="5531050"/>
            <a:ext cx="5271403" cy="1274087"/>
          </a:xfrm>
          <a:prstGeom prst="rect">
            <a:avLst/>
          </a:prstGeom>
          <a:noFill/>
        </p:spPr>
        <p:txBody>
          <a:bodyPr wrap="square" lIns="182854" tIns="146284" rIns="91427" bIns="146284" rtlCol="0">
            <a:spAutoFit/>
          </a:bodyPr>
          <a:lstStyle/>
          <a:p>
            <a:pPr defTabSz="914225" latinLnBrk="0">
              <a:lnSpc>
                <a:spcPct val="90000"/>
              </a:lnSpc>
              <a:spcAft>
                <a:spcPts val="600"/>
              </a:spcAft>
              <a:defRPr/>
            </a:pPr>
            <a:r>
              <a:rPr lang="en-US" sz="2600" kern="0" dirty="0">
                <a:gradFill>
                  <a:gsLst>
                    <a:gs pos="2917">
                      <a:srgbClr val="FFFFFF"/>
                    </a:gs>
                    <a:gs pos="30000">
                      <a:srgbClr val="FFFFFF"/>
                    </a:gs>
                  </a:gsLst>
                  <a:lin ang="5400000" scaled="0"/>
                </a:gradFill>
                <a:latin typeface="Segoe UI Semilight" panose="020B0402040204020203" pitchFamily="34" charset="0"/>
                <a:cs typeface="Segoe UI Semilight" panose="020B0402040204020203" pitchFamily="34" charset="0"/>
              </a:rPr>
              <a:t>Search</a:t>
            </a:r>
          </a:p>
          <a:p>
            <a:pPr defTabSz="914225" latinLnBrk="0">
              <a:lnSpc>
                <a:spcPct val="90000"/>
              </a:lnSpc>
              <a:spcAft>
                <a:spcPts val="600"/>
              </a:spcAft>
              <a:defRPr/>
            </a:pPr>
            <a:r>
              <a:rPr lang="en-US" sz="1961" kern="0" dirty="0">
                <a:solidFill>
                  <a:srgbClr val="FFFFFF"/>
                </a:solidFill>
                <a:latin typeface="Segoe UI Light"/>
              </a:rPr>
              <a:t>Access billions of web pages, images, videos, and news with the power of Bing APIs</a:t>
            </a:r>
          </a:p>
        </p:txBody>
      </p:sp>
      <p:sp>
        <p:nvSpPr>
          <p:cNvPr id="3" name="Rectangle 2"/>
          <p:cNvSpPr/>
          <p:nvPr/>
        </p:nvSpPr>
        <p:spPr>
          <a:xfrm>
            <a:off x="5164823" y="302068"/>
            <a:ext cx="3658747" cy="589121"/>
          </a:xfrm>
          <a:prstGeom prst="rect">
            <a:avLst/>
          </a:prstGeom>
        </p:spPr>
        <p:txBody>
          <a:bodyPr wrap="none">
            <a:spAutoFit/>
          </a:bodyPr>
          <a:lstStyle/>
          <a:p>
            <a:pPr defTabSz="914225" latinLnBrk="0">
              <a:lnSpc>
                <a:spcPct val="90000"/>
              </a:lnSpc>
              <a:spcAft>
                <a:spcPts val="600"/>
              </a:spcAft>
              <a:defRPr/>
            </a:pPr>
            <a:r>
              <a:rPr lang="en-US" sz="3600" kern="0" dirty="0">
                <a:gradFill>
                  <a:gsLst>
                    <a:gs pos="2917">
                      <a:srgbClr val="FFFFFF"/>
                    </a:gs>
                    <a:gs pos="30000">
                      <a:srgbClr val="FFFFFF"/>
                    </a:gs>
                  </a:gsLst>
                  <a:lin ang="5400000" scaled="0"/>
                </a:gradFill>
                <a:latin typeface="Segoe UI Light"/>
              </a:rPr>
              <a:t>Cognitive Services</a:t>
            </a:r>
          </a:p>
        </p:txBody>
      </p:sp>
      <p:sp>
        <p:nvSpPr>
          <p:cNvPr id="40" name="Freeform 22"/>
          <p:cNvSpPr>
            <a:spLocks noChangeAspect="1"/>
          </p:cNvSpPr>
          <p:nvPr/>
        </p:nvSpPr>
        <p:spPr bwMode="auto">
          <a:xfrm>
            <a:off x="5403327" y="1332831"/>
            <a:ext cx="661251" cy="437566"/>
          </a:xfrm>
          <a:custGeom>
            <a:avLst/>
            <a:gdLst>
              <a:gd name="T0" fmla="*/ 4942 w 7181"/>
              <a:gd name="T1" fmla="*/ 414 h 4752"/>
              <a:gd name="T2" fmla="*/ 3024 w 7181"/>
              <a:gd name="T3" fmla="*/ 152 h 4752"/>
              <a:gd name="T4" fmla="*/ 0 w 7181"/>
              <a:gd name="T5" fmla="*/ 2353 h 4752"/>
              <a:gd name="T6" fmla="*/ 2201 w 7181"/>
              <a:gd name="T7" fmla="*/ 4282 h 4752"/>
              <a:gd name="T8" fmla="*/ 4848 w 7181"/>
              <a:gd name="T9" fmla="*/ 4351 h 4752"/>
              <a:gd name="T10" fmla="*/ 7102 w 7181"/>
              <a:gd name="T11" fmla="*/ 2474 h 4752"/>
              <a:gd name="T12" fmla="*/ 7181 w 7181"/>
              <a:gd name="T13" fmla="*/ 2350 h 4752"/>
              <a:gd name="T14" fmla="*/ 4942 w 7181"/>
              <a:gd name="T15" fmla="*/ 414 h 47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81" h="4752">
                <a:moveTo>
                  <a:pt x="4942" y="414"/>
                </a:moveTo>
                <a:cubicBezTo>
                  <a:pt x="4333" y="124"/>
                  <a:pt x="3691" y="0"/>
                  <a:pt x="3024" y="152"/>
                </a:cubicBezTo>
                <a:cubicBezTo>
                  <a:pt x="1710" y="456"/>
                  <a:pt x="812" y="1327"/>
                  <a:pt x="0" y="2353"/>
                </a:cubicBezTo>
                <a:cubicBezTo>
                  <a:pt x="608" y="3169"/>
                  <a:pt x="1306" y="3839"/>
                  <a:pt x="2201" y="4282"/>
                </a:cubicBezTo>
                <a:cubicBezTo>
                  <a:pt x="3069" y="4710"/>
                  <a:pt x="3957" y="4752"/>
                  <a:pt x="4848" y="4351"/>
                </a:cubicBezTo>
                <a:cubicBezTo>
                  <a:pt x="5771" y="3932"/>
                  <a:pt x="6490" y="3269"/>
                  <a:pt x="7102" y="2474"/>
                </a:cubicBezTo>
                <a:cubicBezTo>
                  <a:pt x="7129" y="2436"/>
                  <a:pt x="7154" y="2395"/>
                  <a:pt x="7181" y="2350"/>
                </a:cubicBezTo>
                <a:cubicBezTo>
                  <a:pt x="6570" y="1534"/>
                  <a:pt x="5861" y="853"/>
                  <a:pt x="4942" y="4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latinLnBrk="0">
              <a:defRPr/>
            </a:pPr>
            <a:endParaRPr lang="en-US" kern="0">
              <a:solidFill>
                <a:sysClr val="windowText" lastClr="000000"/>
              </a:solidFill>
              <a:latin typeface="Segoe UI"/>
            </a:endParaRPr>
          </a:p>
        </p:txBody>
      </p:sp>
      <p:sp>
        <p:nvSpPr>
          <p:cNvPr id="41" name="Freeform 18"/>
          <p:cNvSpPr>
            <a:spLocks noChangeAspect="1"/>
          </p:cNvSpPr>
          <p:nvPr/>
        </p:nvSpPr>
        <p:spPr bwMode="auto">
          <a:xfrm>
            <a:off x="5440688" y="2439980"/>
            <a:ext cx="586529" cy="513795"/>
          </a:xfrm>
          <a:custGeom>
            <a:avLst/>
            <a:gdLst>
              <a:gd name="T0" fmla="*/ 115 w 6349"/>
              <a:gd name="T1" fmla="*/ 1548 h 5575"/>
              <a:gd name="T2" fmla="*/ 1324 w 6349"/>
              <a:gd name="T3" fmla="*/ 225 h 5575"/>
              <a:gd name="T4" fmla="*/ 5039 w 6349"/>
              <a:gd name="T5" fmla="*/ 228 h 5575"/>
              <a:gd name="T6" fmla="*/ 6221 w 6349"/>
              <a:gd name="T7" fmla="*/ 1445 h 5575"/>
              <a:gd name="T8" fmla="*/ 6235 w 6349"/>
              <a:gd name="T9" fmla="*/ 3263 h 5575"/>
              <a:gd name="T10" fmla="*/ 4974 w 6349"/>
              <a:gd name="T11" fmla="*/ 4531 h 5575"/>
              <a:gd name="T12" fmla="*/ 3498 w 6349"/>
              <a:gd name="T13" fmla="*/ 4683 h 5575"/>
              <a:gd name="T14" fmla="*/ 3298 w 6349"/>
              <a:gd name="T15" fmla="*/ 4745 h 5575"/>
              <a:gd name="T16" fmla="*/ 2475 w 6349"/>
              <a:gd name="T17" fmla="*/ 5284 h 5575"/>
              <a:gd name="T18" fmla="*/ 1414 w 6349"/>
              <a:gd name="T19" fmla="*/ 5561 h 5575"/>
              <a:gd name="T20" fmla="*/ 1936 w 6349"/>
              <a:gd name="T21" fmla="*/ 4628 h 5575"/>
              <a:gd name="T22" fmla="*/ 1490 w 6349"/>
              <a:gd name="T23" fmla="*/ 4559 h 5575"/>
              <a:gd name="T24" fmla="*/ 118 w 6349"/>
              <a:gd name="T25" fmla="*/ 3270 h 5575"/>
              <a:gd name="T26" fmla="*/ 115 w 6349"/>
              <a:gd name="T27" fmla="*/ 1548 h 5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9" h="5575">
                <a:moveTo>
                  <a:pt x="115" y="1548"/>
                </a:moveTo>
                <a:cubicBezTo>
                  <a:pt x="211" y="957"/>
                  <a:pt x="595" y="353"/>
                  <a:pt x="1324" y="225"/>
                </a:cubicBezTo>
                <a:cubicBezTo>
                  <a:pt x="2565" y="10"/>
                  <a:pt x="3802" y="0"/>
                  <a:pt x="5039" y="228"/>
                </a:cubicBezTo>
                <a:cubicBezTo>
                  <a:pt x="5713" y="353"/>
                  <a:pt x="6086" y="792"/>
                  <a:pt x="6221" y="1445"/>
                </a:cubicBezTo>
                <a:cubicBezTo>
                  <a:pt x="6349" y="2050"/>
                  <a:pt x="6339" y="2658"/>
                  <a:pt x="6235" y="3263"/>
                </a:cubicBezTo>
                <a:cubicBezTo>
                  <a:pt x="6135" y="3847"/>
                  <a:pt x="5724" y="4438"/>
                  <a:pt x="4974" y="4531"/>
                </a:cubicBezTo>
                <a:cubicBezTo>
                  <a:pt x="4483" y="4590"/>
                  <a:pt x="3989" y="4631"/>
                  <a:pt x="3498" y="4683"/>
                </a:cubicBezTo>
                <a:cubicBezTo>
                  <a:pt x="3429" y="4690"/>
                  <a:pt x="3356" y="4707"/>
                  <a:pt x="3298" y="4745"/>
                </a:cubicBezTo>
                <a:cubicBezTo>
                  <a:pt x="3021" y="4921"/>
                  <a:pt x="2869" y="5125"/>
                  <a:pt x="2475" y="5284"/>
                </a:cubicBezTo>
                <a:cubicBezTo>
                  <a:pt x="2154" y="5423"/>
                  <a:pt x="1466" y="5575"/>
                  <a:pt x="1414" y="5561"/>
                </a:cubicBezTo>
                <a:cubicBezTo>
                  <a:pt x="1390" y="5523"/>
                  <a:pt x="1894" y="4963"/>
                  <a:pt x="1936" y="4628"/>
                </a:cubicBezTo>
                <a:cubicBezTo>
                  <a:pt x="1760" y="4600"/>
                  <a:pt x="1625" y="4579"/>
                  <a:pt x="1490" y="4559"/>
                </a:cubicBezTo>
                <a:cubicBezTo>
                  <a:pt x="719" y="4441"/>
                  <a:pt x="277" y="4013"/>
                  <a:pt x="118" y="3270"/>
                </a:cubicBezTo>
                <a:cubicBezTo>
                  <a:pt x="0" y="2665"/>
                  <a:pt x="35" y="2056"/>
                  <a:pt x="115" y="15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latinLnBrk="0">
              <a:defRPr/>
            </a:pPr>
            <a:endParaRPr lang="en-US" kern="0">
              <a:solidFill>
                <a:sysClr val="windowText" lastClr="000000"/>
              </a:solidFill>
              <a:latin typeface="Segoe UI"/>
            </a:endParaRPr>
          </a:p>
        </p:txBody>
      </p:sp>
      <p:sp>
        <p:nvSpPr>
          <p:cNvPr id="42" name="Freeform 9"/>
          <p:cNvSpPr>
            <a:spLocks noChangeAspect="1"/>
          </p:cNvSpPr>
          <p:nvPr/>
        </p:nvSpPr>
        <p:spPr bwMode="auto">
          <a:xfrm>
            <a:off x="5523844" y="3577935"/>
            <a:ext cx="420217" cy="528413"/>
          </a:xfrm>
          <a:custGeom>
            <a:avLst/>
            <a:gdLst>
              <a:gd name="T0" fmla="*/ 5153 w 5153"/>
              <a:gd name="T1" fmla="*/ 2353 h 6483"/>
              <a:gd name="T2" fmla="*/ 2799 w 5153"/>
              <a:gd name="T3" fmla="*/ 0 h 6483"/>
              <a:gd name="T4" fmla="*/ 445 w 5153"/>
              <a:gd name="T5" fmla="*/ 2353 h 6483"/>
              <a:gd name="T6" fmla="*/ 1852 w 5153"/>
              <a:gd name="T7" fmla="*/ 4507 h 6483"/>
              <a:gd name="T8" fmla="*/ 1399 w 5153"/>
              <a:gd name="T9" fmla="*/ 4932 h 6483"/>
              <a:gd name="T10" fmla="*/ 214 w 5153"/>
              <a:gd name="T11" fmla="*/ 5457 h 6483"/>
              <a:gd name="T12" fmla="*/ 41 w 5153"/>
              <a:gd name="T13" fmla="*/ 5578 h 6483"/>
              <a:gd name="T14" fmla="*/ 0 w 5153"/>
              <a:gd name="T15" fmla="*/ 6245 h 6483"/>
              <a:gd name="T16" fmla="*/ 96 w 5153"/>
              <a:gd name="T17" fmla="*/ 6276 h 6483"/>
              <a:gd name="T18" fmla="*/ 3145 w 5153"/>
              <a:gd name="T19" fmla="*/ 5637 h 6483"/>
              <a:gd name="T20" fmla="*/ 5153 w 5153"/>
              <a:gd name="T21" fmla="*/ 2353 h 6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53" h="6483">
                <a:moveTo>
                  <a:pt x="5153" y="2353"/>
                </a:moveTo>
                <a:cubicBezTo>
                  <a:pt x="5153" y="1054"/>
                  <a:pt x="4098" y="0"/>
                  <a:pt x="2799" y="0"/>
                </a:cubicBezTo>
                <a:cubicBezTo>
                  <a:pt x="1500" y="0"/>
                  <a:pt x="445" y="1054"/>
                  <a:pt x="445" y="2353"/>
                </a:cubicBezTo>
                <a:cubicBezTo>
                  <a:pt x="445" y="3314"/>
                  <a:pt x="1023" y="4144"/>
                  <a:pt x="1852" y="4507"/>
                </a:cubicBezTo>
                <a:cubicBezTo>
                  <a:pt x="1776" y="4634"/>
                  <a:pt x="1586" y="4814"/>
                  <a:pt x="1399" y="4932"/>
                </a:cubicBezTo>
                <a:cubicBezTo>
                  <a:pt x="1036" y="5167"/>
                  <a:pt x="611" y="5284"/>
                  <a:pt x="214" y="5457"/>
                </a:cubicBezTo>
                <a:cubicBezTo>
                  <a:pt x="148" y="5485"/>
                  <a:pt x="45" y="5530"/>
                  <a:pt x="41" y="5578"/>
                </a:cubicBezTo>
                <a:cubicBezTo>
                  <a:pt x="13" y="5799"/>
                  <a:pt x="10" y="6027"/>
                  <a:pt x="0" y="6245"/>
                </a:cubicBezTo>
                <a:cubicBezTo>
                  <a:pt x="48" y="6262"/>
                  <a:pt x="72" y="6273"/>
                  <a:pt x="96" y="6276"/>
                </a:cubicBezTo>
                <a:cubicBezTo>
                  <a:pt x="1213" y="6483"/>
                  <a:pt x="2229" y="6221"/>
                  <a:pt x="3145" y="5637"/>
                </a:cubicBezTo>
                <a:cubicBezTo>
                  <a:pt x="4095" y="5032"/>
                  <a:pt x="5153" y="4043"/>
                  <a:pt x="5153" y="23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latinLnBrk="0">
              <a:defRPr/>
            </a:pPr>
            <a:endParaRPr lang="en-US" kern="0">
              <a:solidFill>
                <a:sysClr val="windowText" lastClr="000000"/>
              </a:solidFill>
              <a:latin typeface="Segoe UI"/>
            </a:endParaRPr>
          </a:p>
        </p:txBody>
      </p:sp>
      <p:sp>
        <p:nvSpPr>
          <p:cNvPr id="43" name="Freeform 5"/>
          <p:cNvSpPr>
            <a:spLocks/>
          </p:cNvSpPr>
          <p:nvPr/>
        </p:nvSpPr>
        <p:spPr bwMode="auto">
          <a:xfrm>
            <a:off x="5470775" y="4724227"/>
            <a:ext cx="526355" cy="526355"/>
          </a:xfrm>
          <a:custGeom>
            <a:avLst/>
            <a:gdLst>
              <a:gd name="T0" fmla="*/ 5986 w 5986"/>
              <a:gd name="T1" fmla="*/ 3594 h 5985"/>
              <a:gd name="T2" fmla="*/ 5986 w 5986"/>
              <a:gd name="T3" fmla="*/ 2395 h 5985"/>
              <a:gd name="T4" fmla="*/ 5402 w 5986"/>
              <a:gd name="T5" fmla="*/ 2395 h 5985"/>
              <a:gd name="T6" fmla="*/ 5122 w 5986"/>
              <a:gd name="T7" fmla="*/ 1717 h 5985"/>
              <a:gd name="T8" fmla="*/ 5533 w 5986"/>
              <a:gd name="T9" fmla="*/ 1330 h 5985"/>
              <a:gd name="T10" fmla="*/ 4666 w 5986"/>
              <a:gd name="T11" fmla="*/ 463 h 5985"/>
              <a:gd name="T12" fmla="*/ 4282 w 5986"/>
              <a:gd name="T13" fmla="*/ 870 h 5985"/>
              <a:gd name="T14" fmla="*/ 3591 w 5986"/>
              <a:gd name="T15" fmla="*/ 584 h 5985"/>
              <a:gd name="T16" fmla="*/ 3591 w 5986"/>
              <a:gd name="T17" fmla="*/ 0 h 5985"/>
              <a:gd name="T18" fmla="*/ 2392 w 5986"/>
              <a:gd name="T19" fmla="*/ 0 h 5985"/>
              <a:gd name="T20" fmla="*/ 2392 w 5986"/>
              <a:gd name="T21" fmla="*/ 587 h 5985"/>
              <a:gd name="T22" fmla="*/ 1711 w 5986"/>
              <a:gd name="T23" fmla="*/ 870 h 5985"/>
              <a:gd name="T24" fmla="*/ 1327 w 5986"/>
              <a:gd name="T25" fmla="*/ 456 h 5985"/>
              <a:gd name="T26" fmla="*/ 453 w 5986"/>
              <a:gd name="T27" fmla="*/ 1323 h 5985"/>
              <a:gd name="T28" fmla="*/ 868 w 5986"/>
              <a:gd name="T29" fmla="*/ 1710 h 5985"/>
              <a:gd name="T30" fmla="*/ 584 w 5986"/>
              <a:gd name="T31" fmla="*/ 2395 h 5985"/>
              <a:gd name="T32" fmla="*/ 0 w 5986"/>
              <a:gd name="T33" fmla="*/ 2395 h 5985"/>
              <a:gd name="T34" fmla="*/ 0 w 5986"/>
              <a:gd name="T35" fmla="*/ 3587 h 5985"/>
              <a:gd name="T36" fmla="*/ 584 w 5986"/>
              <a:gd name="T37" fmla="*/ 3587 h 5985"/>
              <a:gd name="T38" fmla="*/ 871 w 5986"/>
              <a:gd name="T39" fmla="*/ 4275 h 5985"/>
              <a:gd name="T40" fmla="*/ 442 w 5986"/>
              <a:gd name="T41" fmla="*/ 4651 h 5985"/>
              <a:gd name="T42" fmla="*/ 1320 w 5986"/>
              <a:gd name="T43" fmla="*/ 5529 h 5985"/>
              <a:gd name="T44" fmla="*/ 1711 w 5986"/>
              <a:gd name="T45" fmla="*/ 5114 h 5985"/>
              <a:gd name="T46" fmla="*/ 2392 w 5986"/>
              <a:gd name="T47" fmla="*/ 5398 h 5985"/>
              <a:gd name="T48" fmla="*/ 2392 w 5986"/>
              <a:gd name="T49" fmla="*/ 5985 h 5985"/>
              <a:gd name="T50" fmla="*/ 3584 w 5986"/>
              <a:gd name="T51" fmla="*/ 5985 h 5985"/>
              <a:gd name="T52" fmla="*/ 3584 w 5986"/>
              <a:gd name="T53" fmla="*/ 5401 h 5985"/>
              <a:gd name="T54" fmla="*/ 4279 w 5986"/>
              <a:gd name="T55" fmla="*/ 5114 h 5985"/>
              <a:gd name="T56" fmla="*/ 4662 w 5986"/>
              <a:gd name="T57" fmla="*/ 5533 h 5985"/>
              <a:gd name="T58" fmla="*/ 5523 w 5986"/>
              <a:gd name="T59" fmla="*/ 4669 h 5985"/>
              <a:gd name="T60" fmla="*/ 5112 w 5986"/>
              <a:gd name="T61" fmla="*/ 4285 h 5985"/>
              <a:gd name="T62" fmla="*/ 5402 w 5986"/>
              <a:gd name="T63" fmla="*/ 3594 h 5985"/>
              <a:gd name="T64" fmla="*/ 5986 w 5986"/>
              <a:gd name="T65" fmla="*/ 3594 h 5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6" h="5985">
                <a:moveTo>
                  <a:pt x="5986" y="3594"/>
                </a:moveTo>
                <a:cubicBezTo>
                  <a:pt x="5986" y="3193"/>
                  <a:pt x="5986" y="2795"/>
                  <a:pt x="5986" y="2395"/>
                </a:cubicBezTo>
                <a:cubicBezTo>
                  <a:pt x="5789" y="2395"/>
                  <a:pt x="5595" y="2395"/>
                  <a:pt x="5402" y="2395"/>
                </a:cubicBezTo>
                <a:cubicBezTo>
                  <a:pt x="5343" y="2153"/>
                  <a:pt x="5246" y="1925"/>
                  <a:pt x="5122" y="1717"/>
                </a:cubicBezTo>
                <a:cubicBezTo>
                  <a:pt x="5257" y="1589"/>
                  <a:pt x="5395" y="1458"/>
                  <a:pt x="5533" y="1330"/>
                </a:cubicBezTo>
                <a:cubicBezTo>
                  <a:pt x="5232" y="1029"/>
                  <a:pt x="4956" y="753"/>
                  <a:pt x="4666" y="463"/>
                </a:cubicBezTo>
                <a:cubicBezTo>
                  <a:pt x="4541" y="597"/>
                  <a:pt x="4410" y="736"/>
                  <a:pt x="4282" y="870"/>
                </a:cubicBezTo>
                <a:cubicBezTo>
                  <a:pt x="4071" y="743"/>
                  <a:pt x="3836" y="642"/>
                  <a:pt x="3591" y="584"/>
                </a:cubicBezTo>
                <a:cubicBezTo>
                  <a:pt x="3591" y="397"/>
                  <a:pt x="3591" y="197"/>
                  <a:pt x="3591" y="0"/>
                </a:cubicBezTo>
                <a:cubicBezTo>
                  <a:pt x="3190" y="0"/>
                  <a:pt x="2793" y="0"/>
                  <a:pt x="2392" y="0"/>
                </a:cubicBezTo>
                <a:cubicBezTo>
                  <a:pt x="2392" y="197"/>
                  <a:pt x="2392" y="390"/>
                  <a:pt x="2392" y="587"/>
                </a:cubicBezTo>
                <a:cubicBezTo>
                  <a:pt x="2150" y="649"/>
                  <a:pt x="1918" y="746"/>
                  <a:pt x="1711" y="870"/>
                </a:cubicBezTo>
                <a:cubicBezTo>
                  <a:pt x="1586" y="736"/>
                  <a:pt x="1452" y="594"/>
                  <a:pt x="1327" y="456"/>
                </a:cubicBezTo>
                <a:cubicBezTo>
                  <a:pt x="1023" y="753"/>
                  <a:pt x="747" y="1029"/>
                  <a:pt x="453" y="1323"/>
                </a:cubicBezTo>
                <a:cubicBezTo>
                  <a:pt x="588" y="1451"/>
                  <a:pt x="729" y="1582"/>
                  <a:pt x="868" y="1710"/>
                </a:cubicBezTo>
                <a:cubicBezTo>
                  <a:pt x="740" y="1921"/>
                  <a:pt x="646" y="2149"/>
                  <a:pt x="584" y="2395"/>
                </a:cubicBezTo>
                <a:cubicBezTo>
                  <a:pt x="398" y="2395"/>
                  <a:pt x="201" y="2395"/>
                  <a:pt x="0" y="2395"/>
                </a:cubicBezTo>
                <a:cubicBezTo>
                  <a:pt x="0" y="2795"/>
                  <a:pt x="0" y="3183"/>
                  <a:pt x="0" y="3587"/>
                </a:cubicBezTo>
                <a:cubicBezTo>
                  <a:pt x="197" y="3587"/>
                  <a:pt x="391" y="3587"/>
                  <a:pt x="584" y="3587"/>
                </a:cubicBezTo>
                <a:cubicBezTo>
                  <a:pt x="646" y="3832"/>
                  <a:pt x="743" y="4064"/>
                  <a:pt x="871" y="4275"/>
                </a:cubicBezTo>
                <a:cubicBezTo>
                  <a:pt x="733" y="4396"/>
                  <a:pt x="584" y="4527"/>
                  <a:pt x="442" y="4651"/>
                </a:cubicBezTo>
                <a:cubicBezTo>
                  <a:pt x="750" y="4959"/>
                  <a:pt x="1027" y="5235"/>
                  <a:pt x="1320" y="5529"/>
                </a:cubicBezTo>
                <a:cubicBezTo>
                  <a:pt x="1448" y="5391"/>
                  <a:pt x="1583" y="5249"/>
                  <a:pt x="1711" y="5114"/>
                </a:cubicBezTo>
                <a:cubicBezTo>
                  <a:pt x="1918" y="5242"/>
                  <a:pt x="2150" y="5336"/>
                  <a:pt x="2392" y="5398"/>
                </a:cubicBezTo>
                <a:cubicBezTo>
                  <a:pt x="2392" y="5584"/>
                  <a:pt x="2392" y="5781"/>
                  <a:pt x="2392" y="5985"/>
                </a:cubicBezTo>
                <a:cubicBezTo>
                  <a:pt x="2793" y="5985"/>
                  <a:pt x="3180" y="5985"/>
                  <a:pt x="3584" y="5985"/>
                </a:cubicBezTo>
                <a:cubicBezTo>
                  <a:pt x="3584" y="5788"/>
                  <a:pt x="3584" y="5591"/>
                  <a:pt x="3584" y="5401"/>
                </a:cubicBezTo>
                <a:cubicBezTo>
                  <a:pt x="3833" y="5343"/>
                  <a:pt x="4064" y="5242"/>
                  <a:pt x="4279" y="5114"/>
                </a:cubicBezTo>
                <a:cubicBezTo>
                  <a:pt x="4403" y="5253"/>
                  <a:pt x="4534" y="5394"/>
                  <a:pt x="4662" y="5533"/>
                </a:cubicBezTo>
                <a:cubicBezTo>
                  <a:pt x="4956" y="5239"/>
                  <a:pt x="5232" y="4959"/>
                  <a:pt x="5523" y="4669"/>
                </a:cubicBezTo>
                <a:cubicBezTo>
                  <a:pt x="5388" y="4541"/>
                  <a:pt x="5246" y="4409"/>
                  <a:pt x="5112" y="4285"/>
                </a:cubicBezTo>
                <a:cubicBezTo>
                  <a:pt x="5239" y="4074"/>
                  <a:pt x="5340" y="3843"/>
                  <a:pt x="5402" y="3594"/>
                </a:cubicBezTo>
                <a:cubicBezTo>
                  <a:pt x="5588" y="3594"/>
                  <a:pt x="5785" y="3594"/>
                  <a:pt x="5986" y="35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latinLnBrk="0">
              <a:defRPr/>
            </a:pPr>
            <a:endParaRPr lang="en-US" kern="0">
              <a:solidFill>
                <a:sysClr val="windowText" lastClr="000000"/>
              </a:solidFill>
              <a:latin typeface="Segoe UI"/>
            </a:endParaRPr>
          </a:p>
        </p:txBody>
      </p:sp>
      <p:grpSp>
        <p:nvGrpSpPr>
          <p:cNvPr id="46" name="Group 45"/>
          <p:cNvGrpSpPr/>
          <p:nvPr/>
        </p:nvGrpSpPr>
        <p:grpSpPr>
          <a:xfrm>
            <a:off x="5465203" y="5868460"/>
            <a:ext cx="537500" cy="528413"/>
            <a:chOff x="10832823" y="3353836"/>
            <a:chExt cx="537576" cy="528488"/>
          </a:xfrm>
        </p:grpSpPr>
        <p:sp>
          <p:nvSpPr>
            <p:cNvPr id="44" name="Oval 13"/>
            <p:cNvSpPr>
              <a:spLocks noChangeArrowheads="1"/>
            </p:cNvSpPr>
            <p:nvPr/>
          </p:nvSpPr>
          <p:spPr bwMode="auto">
            <a:xfrm>
              <a:off x="10943701" y="3353836"/>
              <a:ext cx="426698" cy="42669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latinLnBrk="0">
                <a:defRPr/>
              </a:pPr>
              <a:endParaRPr lang="en-US" kern="0">
                <a:solidFill>
                  <a:sysClr val="windowText" lastClr="000000"/>
                </a:solidFill>
                <a:latin typeface="Segoe UI"/>
              </a:endParaRPr>
            </a:p>
          </p:txBody>
        </p:sp>
        <p:sp>
          <p:nvSpPr>
            <p:cNvPr id="45" name="Freeform 14"/>
            <p:cNvSpPr>
              <a:spLocks/>
            </p:cNvSpPr>
            <p:nvPr/>
          </p:nvSpPr>
          <p:spPr bwMode="auto">
            <a:xfrm>
              <a:off x="10832823" y="3702829"/>
              <a:ext cx="179495" cy="179495"/>
            </a:xfrm>
            <a:custGeom>
              <a:avLst/>
              <a:gdLst>
                <a:gd name="T0" fmla="*/ 1224 w 1980"/>
                <a:gd name="T1" fmla="*/ 0 h 1977"/>
                <a:gd name="T2" fmla="*/ 218 w 1980"/>
                <a:gd name="T3" fmla="*/ 985 h 1977"/>
                <a:gd name="T4" fmla="*/ 211 w 1980"/>
                <a:gd name="T5" fmla="*/ 1752 h 1977"/>
                <a:gd name="T6" fmla="*/ 218 w 1980"/>
                <a:gd name="T7" fmla="*/ 1759 h 1977"/>
                <a:gd name="T8" fmla="*/ 985 w 1980"/>
                <a:gd name="T9" fmla="*/ 1766 h 1977"/>
                <a:gd name="T10" fmla="*/ 1980 w 1980"/>
                <a:gd name="T11" fmla="*/ 788 h 1977"/>
                <a:gd name="T12" fmla="*/ 1224 w 1980"/>
                <a:gd name="T13" fmla="*/ 0 h 1977"/>
              </a:gdLst>
              <a:ahLst/>
              <a:cxnLst>
                <a:cxn ang="0">
                  <a:pos x="T0" y="T1"/>
                </a:cxn>
                <a:cxn ang="0">
                  <a:pos x="T2" y="T3"/>
                </a:cxn>
                <a:cxn ang="0">
                  <a:pos x="T4" y="T5"/>
                </a:cxn>
                <a:cxn ang="0">
                  <a:pos x="T6" y="T7"/>
                </a:cxn>
                <a:cxn ang="0">
                  <a:pos x="T8" y="T9"/>
                </a:cxn>
                <a:cxn ang="0">
                  <a:pos x="T10" y="T11"/>
                </a:cxn>
                <a:cxn ang="0">
                  <a:pos x="T12" y="T13"/>
                </a:cxn>
              </a:cxnLst>
              <a:rect l="0" t="0" r="r" b="b"/>
              <a:pathLst>
                <a:path w="1980" h="1977">
                  <a:moveTo>
                    <a:pt x="1224" y="0"/>
                  </a:moveTo>
                  <a:cubicBezTo>
                    <a:pt x="218" y="985"/>
                    <a:pt x="218" y="985"/>
                    <a:pt x="218" y="985"/>
                  </a:cubicBezTo>
                  <a:cubicBezTo>
                    <a:pt x="4" y="1196"/>
                    <a:pt x="0" y="1538"/>
                    <a:pt x="211" y="1752"/>
                  </a:cubicBezTo>
                  <a:cubicBezTo>
                    <a:pt x="218" y="1759"/>
                    <a:pt x="218" y="1759"/>
                    <a:pt x="218" y="1759"/>
                  </a:cubicBezTo>
                  <a:cubicBezTo>
                    <a:pt x="429" y="1974"/>
                    <a:pt x="771" y="1977"/>
                    <a:pt x="985" y="1766"/>
                  </a:cubicBezTo>
                  <a:cubicBezTo>
                    <a:pt x="1980" y="788"/>
                    <a:pt x="1980" y="788"/>
                    <a:pt x="1980" y="788"/>
                  </a:cubicBezTo>
                  <a:cubicBezTo>
                    <a:pt x="1683" y="581"/>
                    <a:pt x="1424" y="315"/>
                    <a:pt x="122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latinLnBrk="0">
                <a:defRPr/>
              </a:pPr>
              <a:endParaRPr lang="en-US" kern="0">
                <a:solidFill>
                  <a:sysClr val="windowText" lastClr="000000"/>
                </a:solidFill>
                <a:latin typeface="Segoe UI"/>
              </a:endParaRPr>
            </a:p>
          </p:txBody>
        </p:sp>
      </p:grpSp>
    </p:spTree>
    <p:custDataLst>
      <p:tags r:id="rId1"/>
    </p:custDataLst>
    <p:extLst>
      <p:ext uri="{BB962C8B-B14F-4D97-AF65-F5344CB8AC3E}">
        <p14:creationId xmlns:p14="http://schemas.microsoft.com/office/powerpoint/2010/main" val="337250020"/>
      </p:ext>
    </p:extLst>
  </p:cSld>
  <p:clrMapOvr>
    <a:masterClrMapping/>
  </p:clrMapOvr>
  <mc:AlternateContent xmlns:mc="http://schemas.openxmlformats.org/markup-compatibility/2006" xmlns:p14="http://schemas.microsoft.com/office/powerpoint/2010/main">
    <mc:Choice Requires="p14">
      <p:transition p14:dur="10" advTm="1033"/>
    </mc:Choice>
    <mc:Fallback xmlns="">
      <p:transition advTm="1033"/>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4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9" grpId="0"/>
      <p:bldP spid="10" grpId="0"/>
      <p:bldP spid="40" grpId="0" animBg="1"/>
      <p:bldP spid="41" grpId="0" animBg="1"/>
      <p:bldP spid="42" grpId="0" animBg="1"/>
      <p:bldP spid="43"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70068" y="290403"/>
            <a:ext cx="11736820" cy="899409"/>
          </a:xfrm>
        </p:spPr>
        <p:txBody>
          <a:bodyPr/>
          <a:lstStyle/>
          <a:p>
            <a:r>
              <a:rPr lang="en-US" dirty="0"/>
              <a:t>Apps Powered by MS Cognitive Services</a:t>
            </a:r>
          </a:p>
        </p:txBody>
      </p:sp>
      <p:grpSp>
        <p:nvGrpSpPr>
          <p:cNvPr id="15" name="Group 14"/>
          <p:cNvGrpSpPr/>
          <p:nvPr/>
        </p:nvGrpSpPr>
        <p:grpSpPr>
          <a:xfrm>
            <a:off x="8893662" y="1578422"/>
            <a:ext cx="2921618" cy="4461027"/>
            <a:chOff x="9072401" y="1229896"/>
            <a:chExt cx="2980626" cy="4551126"/>
          </a:xfrm>
        </p:grpSpPr>
        <p:pic>
          <p:nvPicPr>
            <p:cNvPr id="7" name="Picture 6"/>
            <p:cNvPicPr>
              <a:picLocks noChangeAspect="1"/>
            </p:cNvPicPr>
            <p:nvPr/>
          </p:nvPicPr>
          <p:blipFill>
            <a:blip r:embed="rId3"/>
            <a:stretch>
              <a:fillRect/>
            </a:stretch>
          </p:blipFill>
          <p:spPr>
            <a:xfrm>
              <a:off x="9081227" y="1229896"/>
              <a:ext cx="2971800" cy="4261138"/>
            </a:xfrm>
            <a:prstGeom prst="rect">
              <a:avLst/>
            </a:prstGeom>
            <a:ln>
              <a:solidFill>
                <a:schemeClr val="bg1"/>
              </a:solidFill>
            </a:ln>
          </p:spPr>
        </p:pic>
        <p:sp>
          <p:nvSpPr>
            <p:cNvPr id="8" name="Rectangle 7"/>
            <p:cNvSpPr/>
            <p:nvPr/>
          </p:nvSpPr>
          <p:spPr bwMode="auto">
            <a:xfrm>
              <a:off x="9072401" y="5298677"/>
              <a:ext cx="2980626" cy="48234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3927" fontAlgn="base" latinLnBrk="0">
                <a:lnSpc>
                  <a:spcPct val="90000"/>
                </a:lnSpc>
                <a:spcBef>
                  <a:spcPct val="0"/>
                </a:spcBef>
                <a:spcAft>
                  <a:spcPct val="0"/>
                </a:spcAft>
              </a:pPr>
              <a:r>
                <a:rPr lang="en-US" sz="2157" b="1" kern="0" dirty="0">
                  <a:gradFill>
                    <a:gsLst>
                      <a:gs pos="0">
                        <a:srgbClr val="FFFFFF"/>
                      </a:gs>
                      <a:gs pos="100000">
                        <a:srgbClr val="FFFFFF"/>
                      </a:gs>
                    </a:gsLst>
                    <a:lin ang="5400000" scaled="0"/>
                  </a:gradFill>
                  <a:latin typeface="Segoe UI"/>
                  <a:ea typeface="Segoe UI" pitchFamily="34" charset="0"/>
                  <a:cs typeface="Segoe UI" pitchFamily="34" charset="0"/>
                </a:rPr>
                <a:t>ProjectMurphy.net</a:t>
              </a:r>
            </a:p>
          </p:txBody>
        </p:sp>
      </p:grpSp>
      <p:grpSp>
        <p:nvGrpSpPr>
          <p:cNvPr id="13" name="Group 12"/>
          <p:cNvGrpSpPr/>
          <p:nvPr/>
        </p:nvGrpSpPr>
        <p:grpSpPr>
          <a:xfrm>
            <a:off x="270069" y="1561714"/>
            <a:ext cx="3774710" cy="4477737"/>
            <a:chOff x="274639" y="1212850"/>
            <a:chExt cx="3850948" cy="4568173"/>
          </a:xfrm>
        </p:grpSpPr>
        <p:pic>
          <p:nvPicPr>
            <p:cNvPr id="3" name="Picture 2"/>
            <p:cNvPicPr>
              <a:picLocks noChangeAspect="1"/>
            </p:cNvPicPr>
            <p:nvPr/>
          </p:nvPicPr>
          <p:blipFill>
            <a:blip r:embed="rId4"/>
            <a:stretch>
              <a:fillRect/>
            </a:stretch>
          </p:blipFill>
          <p:spPr>
            <a:xfrm>
              <a:off x="274639" y="1212850"/>
              <a:ext cx="3850948" cy="4486572"/>
            </a:xfrm>
            <a:prstGeom prst="rect">
              <a:avLst/>
            </a:prstGeom>
          </p:spPr>
        </p:pic>
        <p:sp>
          <p:nvSpPr>
            <p:cNvPr id="12" name="Rectangle 11"/>
            <p:cNvSpPr/>
            <p:nvPr/>
          </p:nvSpPr>
          <p:spPr bwMode="auto">
            <a:xfrm>
              <a:off x="274639" y="5298678"/>
              <a:ext cx="3850948" cy="48234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3927" fontAlgn="base" latinLnBrk="0">
                <a:lnSpc>
                  <a:spcPct val="90000"/>
                </a:lnSpc>
                <a:spcBef>
                  <a:spcPct val="0"/>
                </a:spcBef>
                <a:spcAft>
                  <a:spcPct val="0"/>
                </a:spcAft>
              </a:pPr>
              <a:r>
                <a:rPr lang="en-US" sz="2157" b="1" kern="0" dirty="0">
                  <a:gradFill>
                    <a:gsLst>
                      <a:gs pos="0">
                        <a:srgbClr val="FFFFFF"/>
                      </a:gs>
                      <a:gs pos="100000">
                        <a:srgbClr val="FFFFFF"/>
                      </a:gs>
                    </a:gsLst>
                    <a:lin ang="5400000" scaled="0"/>
                  </a:gradFill>
                  <a:latin typeface="Segoe UI"/>
                  <a:ea typeface="Segoe UI" pitchFamily="34" charset="0"/>
                  <a:cs typeface="Segoe UI" pitchFamily="34" charset="0"/>
                </a:rPr>
                <a:t>CaptionBot.ai</a:t>
              </a:r>
            </a:p>
          </p:txBody>
        </p:sp>
        <p:sp>
          <p:nvSpPr>
            <p:cNvPr id="9" name="Rectangle 8"/>
            <p:cNvSpPr/>
            <p:nvPr/>
          </p:nvSpPr>
          <p:spPr bwMode="auto">
            <a:xfrm>
              <a:off x="274639" y="1213667"/>
              <a:ext cx="3850948" cy="614075"/>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3927" fontAlgn="base" latinLnBrk="0">
                <a:lnSpc>
                  <a:spcPct val="90000"/>
                </a:lnSpc>
                <a:spcBef>
                  <a:spcPct val="0"/>
                </a:spcBef>
                <a:spcAft>
                  <a:spcPct val="0"/>
                </a:spcAft>
              </a:pPr>
              <a:r>
                <a:rPr lang="en-US" sz="1371" kern="0" dirty="0">
                  <a:gradFill>
                    <a:gsLst>
                      <a:gs pos="0">
                        <a:srgbClr val="FFFFFF"/>
                      </a:gs>
                      <a:gs pos="100000">
                        <a:srgbClr val="FFFFFF"/>
                      </a:gs>
                    </a:gsLst>
                    <a:lin ang="5400000" scaled="0"/>
                  </a:gradFill>
                  <a:latin typeface="Segoe UI"/>
                  <a:ea typeface="Segoe UI" pitchFamily="34" charset="0"/>
                  <a:cs typeface="Segoe UI" pitchFamily="34" charset="0"/>
                </a:rPr>
                <a:t>I think it’s a person sitting in front of a computer and he seems </a:t>
              </a:r>
              <a:r>
                <a:rPr lang="en-US" sz="1371" kern="0" dirty="0">
                  <a:gradFill>
                    <a:gsLst>
                      <a:gs pos="0">
                        <a:srgbClr val="FFFFFF"/>
                      </a:gs>
                      <a:gs pos="100000">
                        <a:srgbClr val="FFFFFF"/>
                      </a:gs>
                    </a:gsLst>
                    <a:lin ang="5400000" scaled="0"/>
                  </a:gradFill>
                  <a:latin typeface="Segoe UI"/>
                  <a:ea typeface="Segoe UI" pitchFamily="34" charset="0"/>
                  <a:cs typeface="Segoe UI" pitchFamily="34" charset="0"/>
                  <a:sym typeface="Wingdings" panose="05000000000000000000" pitchFamily="2" charset="2"/>
                </a:rPr>
                <a:t>. I am 99% sure that’s </a:t>
              </a:r>
              <a:r>
                <a:rPr lang="en-US" sz="1371" b="1" kern="0" dirty="0">
                  <a:gradFill>
                    <a:gsLst>
                      <a:gs pos="0">
                        <a:srgbClr val="FFFFFF"/>
                      </a:gs>
                      <a:gs pos="100000">
                        <a:srgbClr val="FFFFFF"/>
                      </a:gs>
                    </a:gsLst>
                    <a:lin ang="5400000" scaled="0"/>
                  </a:gradFill>
                  <a:latin typeface="Segoe UI"/>
                  <a:ea typeface="Segoe UI" pitchFamily="34" charset="0"/>
                  <a:cs typeface="Segoe UI" pitchFamily="34" charset="0"/>
                  <a:sym typeface="Wingdings" panose="05000000000000000000" pitchFamily="2" charset="2"/>
                </a:rPr>
                <a:t>Bill</a:t>
              </a:r>
              <a:r>
                <a:rPr lang="en-US" sz="1371" kern="0" dirty="0">
                  <a:gradFill>
                    <a:gsLst>
                      <a:gs pos="0">
                        <a:srgbClr val="FFFFFF"/>
                      </a:gs>
                      <a:gs pos="100000">
                        <a:srgbClr val="FFFFFF"/>
                      </a:gs>
                    </a:gsLst>
                    <a:lin ang="5400000" scaled="0"/>
                  </a:gradFill>
                  <a:latin typeface="Segoe UI"/>
                  <a:ea typeface="Segoe UI" pitchFamily="34" charset="0"/>
                  <a:cs typeface="Segoe UI" pitchFamily="34" charset="0"/>
                  <a:sym typeface="Wingdings" panose="05000000000000000000" pitchFamily="2" charset="2"/>
                </a:rPr>
                <a:t> </a:t>
              </a:r>
              <a:r>
                <a:rPr lang="en-US" sz="1371" b="1" kern="0" dirty="0">
                  <a:gradFill>
                    <a:gsLst>
                      <a:gs pos="0">
                        <a:srgbClr val="FFFFFF"/>
                      </a:gs>
                      <a:gs pos="100000">
                        <a:srgbClr val="FFFFFF"/>
                      </a:gs>
                    </a:gsLst>
                    <a:lin ang="5400000" scaled="0"/>
                  </a:gradFill>
                  <a:latin typeface="Segoe UI"/>
                  <a:ea typeface="Segoe UI" pitchFamily="34" charset="0"/>
                  <a:cs typeface="Segoe UI" pitchFamily="34" charset="0"/>
                  <a:sym typeface="Wingdings" panose="05000000000000000000" pitchFamily="2" charset="2"/>
                </a:rPr>
                <a:t>Gates</a:t>
              </a:r>
              <a:endParaRPr lang="en-US" sz="1371" b="1"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4" name="Group 13"/>
          <p:cNvGrpSpPr/>
          <p:nvPr/>
        </p:nvGrpSpPr>
        <p:grpSpPr>
          <a:xfrm>
            <a:off x="4151434" y="1578422"/>
            <a:ext cx="4524692" cy="4461029"/>
            <a:chOff x="4234397" y="1229896"/>
            <a:chExt cx="4616076" cy="4551128"/>
          </a:xfrm>
        </p:grpSpPr>
        <p:pic>
          <p:nvPicPr>
            <p:cNvPr id="4" name="Picture 3"/>
            <p:cNvPicPr>
              <a:picLocks noChangeAspect="1"/>
            </p:cNvPicPr>
            <p:nvPr/>
          </p:nvPicPr>
          <p:blipFill>
            <a:blip r:embed="rId5"/>
            <a:stretch>
              <a:fillRect/>
            </a:stretch>
          </p:blipFill>
          <p:spPr>
            <a:xfrm>
              <a:off x="4243224" y="1229896"/>
              <a:ext cx="4607249" cy="3005072"/>
            </a:xfrm>
            <a:prstGeom prst="rect">
              <a:avLst/>
            </a:prstGeom>
          </p:spPr>
        </p:pic>
        <p:sp>
          <p:nvSpPr>
            <p:cNvPr id="5" name="Rectangle 4"/>
            <p:cNvSpPr/>
            <p:nvPr/>
          </p:nvSpPr>
          <p:spPr bwMode="auto">
            <a:xfrm>
              <a:off x="4243223" y="4183062"/>
              <a:ext cx="4598424" cy="151636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latinLnBrk="0">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Rectangle 10"/>
            <p:cNvSpPr/>
            <p:nvPr/>
          </p:nvSpPr>
          <p:spPr bwMode="auto">
            <a:xfrm>
              <a:off x="4234397" y="5298679"/>
              <a:ext cx="4607250" cy="48234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3927" fontAlgn="base" latinLnBrk="0">
                <a:lnSpc>
                  <a:spcPct val="90000"/>
                </a:lnSpc>
                <a:spcBef>
                  <a:spcPct val="0"/>
                </a:spcBef>
                <a:spcAft>
                  <a:spcPct val="0"/>
                </a:spcAft>
              </a:pPr>
              <a:r>
                <a:rPr lang="en-US" sz="2157" b="1" kern="0" dirty="0">
                  <a:gradFill>
                    <a:gsLst>
                      <a:gs pos="0">
                        <a:srgbClr val="FFFFFF"/>
                      </a:gs>
                      <a:gs pos="100000">
                        <a:srgbClr val="FFFFFF"/>
                      </a:gs>
                    </a:gsLst>
                    <a:lin ang="5400000" scaled="0"/>
                  </a:gradFill>
                  <a:latin typeface="Segoe UI"/>
                  <a:ea typeface="Segoe UI" pitchFamily="34" charset="0"/>
                  <a:cs typeface="Segoe UI" pitchFamily="34" charset="0"/>
                </a:rPr>
                <a:t>Celebslike.me</a:t>
              </a:r>
            </a:p>
          </p:txBody>
        </p:sp>
        <p:pic>
          <p:nvPicPr>
            <p:cNvPr id="10" name="Picture 9"/>
            <p:cNvPicPr>
              <a:picLocks noChangeAspect="1"/>
            </p:cNvPicPr>
            <p:nvPr/>
          </p:nvPicPr>
          <p:blipFill>
            <a:blip r:embed="rId6"/>
            <a:stretch>
              <a:fillRect/>
            </a:stretch>
          </p:blipFill>
          <p:spPr>
            <a:xfrm>
              <a:off x="4282879" y="1849430"/>
              <a:ext cx="4510285" cy="3117765"/>
            </a:xfrm>
            <a:prstGeom prst="rect">
              <a:avLst/>
            </a:prstGeom>
          </p:spPr>
        </p:pic>
      </p:grpSp>
    </p:spTree>
    <p:extLst>
      <p:ext uri="{BB962C8B-B14F-4D97-AF65-F5344CB8AC3E}">
        <p14:creationId xmlns:p14="http://schemas.microsoft.com/office/powerpoint/2010/main" val="1998821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98" t="28636" r="709" b="26448"/>
          <a:stretch/>
        </p:blipFill>
        <p:spPr>
          <a:xfrm>
            <a:off x="-11165" y="487"/>
            <a:ext cx="12202301" cy="3676163"/>
          </a:xfrm>
          <a:prstGeom prst="rect">
            <a:avLst/>
          </a:prstGeom>
        </p:spPr>
      </p:pic>
      <p:sp>
        <p:nvSpPr>
          <p:cNvPr id="29" name="Rectangle 28"/>
          <p:cNvSpPr/>
          <p:nvPr/>
        </p:nvSpPr>
        <p:spPr bwMode="auto">
          <a:xfrm>
            <a:off x="865" y="486"/>
            <a:ext cx="12202301" cy="3683166"/>
          </a:xfrm>
          <a:prstGeom prst="rect">
            <a:avLst/>
          </a:prstGeom>
          <a:solidFill>
            <a:srgbClr val="000000">
              <a:alpha val="6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latinLnBrk="0">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Text Placeholder 14"/>
          <p:cNvSpPr txBox="1">
            <a:spLocks/>
          </p:cNvSpPr>
          <p:nvPr/>
        </p:nvSpPr>
        <p:spPr>
          <a:xfrm>
            <a:off x="270066" y="4204994"/>
            <a:ext cx="3884108" cy="1392707"/>
          </a:xfrm>
          <a:prstGeom prst="rect">
            <a:avLst/>
          </a:prstGeom>
        </p:spPr>
        <p:txBody>
          <a:bodyPr vert="horz" wrap="square" lIns="143407" tIns="89630" rIns="143407" bIns="8963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63">
              <a:spcBef>
                <a:spcPts val="588"/>
              </a:spcBef>
              <a:spcAft>
                <a:spcPts val="588"/>
              </a:spcAft>
              <a:buNone/>
              <a:defRPr/>
            </a:pPr>
            <a:r>
              <a:rPr lang="en-US" sz="1600" dirty="0">
                <a:gradFill>
                  <a:gsLst>
                    <a:gs pos="1250">
                      <a:srgbClr val="505050"/>
                    </a:gs>
                    <a:gs pos="100000">
                      <a:srgbClr val="505050"/>
                    </a:gs>
                  </a:gsLst>
                  <a:lin ang="5400000" scaled="0"/>
                </a:gradFill>
                <a:latin typeface="Segoe UI"/>
                <a:cs typeface="Segoe UI Semilight" panose="020B0402040204020203" pitchFamily="34" charset="0"/>
              </a:rPr>
              <a:t>Roll your own with REST APIs</a:t>
            </a:r>
          </a:p>
          <a:p>
            <a:pPr marL="0" indent="0" defTabSz="932563">
              <a:spcBef>
                <a:spcPts val="588"/>
              </a:spcBef>
              <a:spcAft>
                <a:spcPts val="588"/>
              </a:spcAft>
              <a:buNone/>
              <a:defRPr/>
            </a:pPr>
            <a:r>
              <a:rPr lang="en-US" sz="1600" dirty="0">
                <a:gradFill>
                  <a:gsLst>
                    <a:gs pos="1250">
                      <a:srgbClr val="505050"/>
                    </a:gs>
                    <a:gs pos="100000">
                      <a:srgbClr val="505050"/>
                    </a:gs>
                  </a:gsLst>
                  <a:lin ang="5400000" scaled="0"/>
                </a:gradFill>
                <a:latin typeface="Segoe UI"/>
                <a:cs typeface="Segoe UI Semilight" panose="020B0402040204020203" pitchFamily="34" charset="0"/>
              </a:rPr>
              <a:t>Simple to add: just a few lines </a:t>
            </a:r>
            <a:br>
              <a:rPr lang="en-US" sz="1600" dirty="0">
                <a:gradFill>
                  <a:gsLst>
                    <a:gs pos="1250">
                      <a:srgbClr val="505050"/>
                    </a:gs>
                    <a:gs pos="100000">
                      <a:srgbClr val="505050"/>
                    </a:gs>
                  </a:gsLst>
                  <a:lin ang="5400000" scaled="0"/>
                </a:gradFill>
                <a:latin typeface="Segoe UI"/>
                <a:cs typeface="Segoe UI Semilight" panose="020B0402040204020203" pitchFamily="34" charset="0"/>
              </a:rPr>
            </a:br>
            <a:r>
              <a:rPr lang="en-US" sz="1600" dirty="0">
                <a:gradFill>
                  <a:gsLst>
                    <a:gs pos="1250">
                      <a:srgbClr val="505050"/>
                    </a:gs>
                    <a:gs pos="100000">
                      <a:srgbClr val="505050"/>
                    </a:gs>
                  </a:gsLst>
                  <a:lin ang="5400000" scaled="0"/>
                </a:gradFill>
                <a:latin typeface="Segoe UI"/>
                <a:cs typeface="Segoe UI Semilight" panose="020B0402040204020203" pitchFamily="34" charset="0"/>
              </a:rPr>
              <a:t>of code required</a:t>
            </a:r>
          </a:p>
          <a:p>
            <a:pPr marL="0" indent="0" defTabSz="932563">
              <a:spcBef>
                <a:spcPts val="588"/>
              </a:spcBef>
              <a:spcAft>
                <a:spcPts val="588"/>
              </a:spcAft>
              <a:buNone/>
              <a:defRPr/>
            </a:pPr>
            <a:endParaRPr lang="en-US" sz="1600" dirty="0">
              <a:gradFill>
                <a:gsLst>
                  <a:gs pos="1250">
                    <a:srgbClr val="505050"/>
                  </a:gs>
                  <a:gs pos="100000">
                    <a:srgbClr val="505050"/>
                  </a:gs>
                </a:gsLst>
                <a:lin ang="5400000" scaled="0"/>
              </a:gradFill>
              <a:latin typeface="Segoe UI"/>
              <a:cs typeface="Segoe UI Semilight" panose="020B0402040204020203" pitchFamily="34" charset="0"/>
            </a:endParaRPr>
          </a:p>
        </p:txBody>
      </p:sp>
      <p:sp>
        <p:nvSpPr>
          <p:cNvPr id="32" name="Text Placeholder 14"/>
          <p:cNvSpPr txBox="1">
            <a:spLocks/>
          </p:cNvSpPr>
          <p:nvPr/>
        </p:nvSpPr>
        <p:spPr>
          <a:xfrm>
            <a:off x="4153948" y="4204994"/>
            <a:ext cx="3444360" cy="1618700"/>
          </a:xfrm>
          <a:prstGeom prst="rect">
            <a:avLst/>
          </a:prstGeom>
        </p:spPr>
        <p:txBody>
          <a:bodyPr vert="horz" wrap="square" lIns="143407" tIns="89630" rIns="143407" bIns="8963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63">
              <a:spcBef>
                <a:spcPts val="588"/>
              </a:spcBef>
              <a:spcAft>
                <a:spcPts val="588"/>
              </a:spcAft>
              <a:buNone/>
              <a:defRPr/>
            </a:pPr>
            <a:r>
              <a:rPr lang="en-US" sz="1600" dirty="0">
                <a:gradFill>
                  <a:gsLst>
                    <a:gs pos="1250">
                      <a:srgbClr val="505050"/>
                    </a:gs>
                    <a:gs pos="100000">
                      <a:srgbClr val="505050"/>
                    </a:gs>
                  </a:gsLst>
                  <a:lin ang="5400000" scaled="0"/>
                </a:gradFill>
                <a:latin typeface="Segoe UI"/>
                <a:cs typeface="Segoe UI Semilight" panose="020B0402040204020203" pitchFamily="34" charset="0"/>
              </a:rPr>
              <a:t>Make the same API code call on iOS, Android, and Windows</a:t>
            </a:r>
          </a:p>
          <a:p>
            <a:pPr marL="0" indent="0" defTabSz="932563">
              <a:spcBef>
                <a:spcPts val="588"/>
              </a:spcBef>
              <a:spcAft>
                <a:spcPts val="588"/>
              </a:spcAft>
              <a:buNone/>
              <a:defRPr/>
            </a:pPr>
            <a:r>
              <a:rPr lang="en-US" sz="1600" dirty="0">
                <a:gradFill>
                  <a:gsLst>
                    <a:gs pos="1250">
                      <a:srgbClr val="505050"/>
                    </a:gs>
                    <a:gs pos="100000">
                      <a:srgbClr val="505050"/>
                    </a:gs>
                  </a:gsLst>
                  <a:lin ang="5400000" scaled="0"/>
                </a:gradFill>
                <a:latin typeface="Segoe UI"/>
                <a:cs typeface="Segoe UI Semilight" panose="020B0402040204020203" pitchFamily="34" charset="0"/>
              </a:rPr>
              <a:t>Integrate into the language </a:t>
            </a:r>
            <a:br>
              <a:rPr lang="en-US" sz="1600" dirty="0">
                <a:gradFill>
                  <a:gsLst>
                    <a:gs pos="1250">
                      <a:srgbClr val="505050"/>
                    </a:gs>
                    <a:gs pos="100000">
                      <a:srgbClr val="505050"/>
                    </a:gs>
                  </a:gsLst>
                  <a:lin ang="5400000" scaled="0"/>
                </a:gradFill>
                <a:latin typeface="Segoe UI"/>
                <a:cs typeface="Segoe UI Semilight" panose="020B0402040204020203" pitchFamily="34" charset="0"/>
              </a:rPr>
            </a:br>
            <a:r>
              <a:rPr lang="en-US" sz="1600" dirty="0">
                <a:gradFill>
                  <a:gsLst>
                    <a:gs pos="1250">
                      <a:srgbClr val="505050"/>
                    </a:gs>
                    <a:gs pos="100000">
                      <a:srgbClr val="505050"/>
                    </a:gs>
                  </a:gsLst>
                  <a:lin ang="5400000" scaled="0"/>
                </a:gradFill>
                <a:latin typeface="Segoe UI"/>
                <a:cs typeface="Segoe UI Semilight" panose="020B0402040204020203" pitchFamily="34" charset="0"/>
              </a:rPr>
              <a:t>and platform of your choice</a:t>
            </a:r>
          </a:p>
          <a:p>
            <a:pPr marL="0" indent="0" defTabSz="932563">
              <a:spcBef>
                <a:spcPts val="588"/>
              </a:spcBef>
              <a:spcAft>
                <a:spcPts val="588"/>
              </a:spcAft>
              <a:buNone/>
              <a:defRPr/>
            </a:pPr>
            <a:endParaRPr lang="en-US" sz="1600" dirty="0">
              <a:gradFill>
                <a:gsLst>
                  <a:gs pos="1250">
                    <a:srgbClr val="505050"/>
                  </a:gs>
                  <a:gs pos="100000">
                    <a:srgbClr val="505050"/>
                  </a:gs>
                </a:gsLst>
                <a:lin ang="5400000" scaled="0"/>
              </a:gradFill>
              <a:latin typeface="Segoe UI"/>
              <a:cs typeface="Segoe UI Semilight" panose="020B0402040204020203" pitchFamily="34" charset="0"/>
            </a:endParaRPr>
          </a:p>
        </p:txBody>
      </p:sp>
      <p:sp>
        <p:nvSpPr>
          <p:cNvPr id="33" name="Text Placeholder 14"/>
          <p:cNvSpPr txBox="1">
            <a:spLocks/>
          </p:cNvSpPr>
          <p:nvPr/>
        </p:nvSpPr>
        <p:spPr>
          <a:xfrm>
            <a:off x="8037828" y="4204993"/>
            <a:ext cx="3973673" cy="2224548"/>
          </a:xfrm>
          <a:prstGeom prst="rect">
            <a:avLst/>
          </a:prstGeom>
        </p:spPr>
        <p:txBody>
          <a:bodyPr vert="horz" wrap="square" lIns="143407" tIns="89630" rIns="143407" bIns="8963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63">
              <a:spcBef>
                <a:spcPts val="588"/>
              </a:spcBef>
              <a:spcAft>
                <a:spcPts val="588"/>
              </a:spcAft>
              <a:buNone/>
              <a:defRPr/>
            </a:pPr>
            <a:r>
              <a:rPr lang="en-US" sz="1600" dirty="0">
                <a:gradFill>
                  <a:gsLst>
                    <a:gs pos="1250">
                      <a:srgbClr val="505050"/>
                    </a:gs>
                    <a:gs pos="100000">
                      <a:srgbClr val="505050"/>
                    </a:gs>
                  </a:gsLst>
                  <a:lin ang="5400000" scaled="0"/>
                </a:gradFill>
                <a:latin typeface="Segoe UI"/>
                <a:cs typeface="Segoe UI Semilight" panose="020B0402040204020203" pitchFamily="34" charset="0"/>
              </a:rPr>
              <a:t>Built by experts in their field from Microsoft Research, Bing, and Azure Machine Learning</a:t>
            </a:r>
          </a:p>
          <a:p>
            <a:pPr marL="0" indent="0" defTabSz="932563">
              <a:spcBef>
                <a:spcPts val="588"/>
              </a:spcBef>
              <a:spcAft>
                <a:spcPts val="588"/>
              </a:spcAft>
              <a:buNone/>
              <a:defRPr/>
            </a:pPr>
            <a:r>
              <a:rPr lang="en-US" sz="1600" dirty="0">
                <a:gradFill>
                  <a:gsLst>
                    <a:gs pos="1250">
                      <a:srgbClr val="505050"/>
                    </a:gs>
                    <a:gs pos="100000">
                      <a:srgbClr val="505050"/>
                    </a:gs>
                  </a:gsLst>
                  <a:lin ang="5400000" scaled="0"/>
                </a:gradFill>
                <a:latin typeface="Segoe UI"/>
                <a:cs typeface="Segoe UI Semilight" panose="020B0402040204020203" pitchFamily="34" charset="0"/>
              </a:rPr>
              <a:t>Quality documentation, sample code, and community support</a:t>
            </a:r>
          </a:p>
          <a:p>
            <a:pPr marL="0" indent="0" defTabSz="932563">
              <a:spcBef>
                <a:spcPts val="588"/>
              </a:spcBef>
              <a:spcAft>
                <a:spcPts val="588"/>
              </a:spcAft>
              <a:buNone/>
              <a:defRPr/>
            </a:pPr>
            <a:endParaRPr lang="en-US" sz="1600" dirty="0">
              <a:gradFill>
                <a:gsLst>
                  <a:gs pos="1250">
                    <a:srgbClr val="505050"/>
                  </a:gs>
                  <a:gs pos="100000">
                    <a:srgbClr val="505050"/>
                  </a:gs>
                </a:gsLst>
                <a:lin ang="5400000" scaled="0"/>
              </a:gradFill>
              <a:latin typeface="Segoe UI"/>
              <a:cs typeface="Segoe UI Semilight" panose="020B0402040204020203" pitchFamily="34" charset="0"/>
            </a:endParaRPr>
          </a:p>
          <a:p>
            <a:pPr marL="0" indent="0" defTabSz="932563">
              <a:spcBef>
                <a:spcPts val="588"/>
              </a:spcBef>
              <a:spcAft>
                <a:spcPts val="588"/>
              </a:spcAft>
              <a:buNone/>
              <a:defRPr/>
            </a:pPr>
            <a:endParaRPr lang="en-US" sz="1600" dirty="0">
              <a:gradFill>
                <a:gsLst>
                  <a:gs pos="1250">
                    <a:srgbClr val="505050"/>
                  </a:gs>
                  <a:gs pos="100000">
                    <a:srgbClr val="505050"/>
                  </a:gs>
                </a:gsLst>
                <a:lin ang="5400000" scaled="0"/>
              </a:gradFill>
              <a:latin typeface="Segoe UI"/>
              <a:cs typeface="Segoe UI Semilight" panose="020B0402040204020203" pitchFamily="34" charset="0"/>
            </a:endParaRPr>
          </a:p>
        </p:txBody>
      </p:sp>
      <p:grpSp>
        <p:nvGrpSpPr>
          <p:cNvPr id="19" name="Group 18"/>
          <p:cNvGrpSpPr/>
          <p:nvPr/>
        </p:nvGrpSpPr>
        <p:grpSpPr>
          <a:xfrm>
            <a:off x="4739707" y="6295252"/>
            <a:ext cx="2648726" cy="374743"/>
            <a:chOff x="4708300" y="6295658"/>
            <a:chExt cx="2649101" cy="374796"/>
          </a:xfrm>
        </p:grpSpPr>
        <p:pic>
          <p:nvPicPr>
            <p:cNvPr id="7" name="Picture 6"/>
            <p:cNvPicPr>
              <a:picLocks noChangeAspect="1"/>
            </p:cNvPicPr>
            <p:nvPr/>
          </p:nvPicPr>
          <p:blipFill rotWithShape="1">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b="11922"/>
            <a:stretch/>
          </p:blipFill>
          <p:spPr>
            <a:xfrm>
              <a:off x="4708300" y="6354134"/>
              <a:ext cx="1211252" cy="316320"/>
            </a:xfrm>
            <a:prstGeom prst="rect">
              <a:avLst/>
            </a:prstGeom>
          </p:spPr>
        </p:pic>
        <p:pic>
          <p:nvPicPr>
            <p:cNvPr id="9" name="Picture 8"/>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247311" y="6295658"/>
              <a:ext cx="1110090" cy="298614"/>
            </a:xfrm>
            <a:prstGeom prst="rect">
              <a:avLst/>
            </a:prstGeom>
          </p:spPr>
        </p:pic>
      </p:grpSp>
      <p:grpSp>
        <p:nvGrpSpPr>
          <p:cNvPr id="25" name="Group 24"/>
          <p:cNvGrpSpPr/>
          <p:nvPr/>
        </p:nvGrpSpPr>
        <p:grpSpPr>
          <a:xfrm>
            <a:off x="8858764" y="5819277"/>
            <a:ext cx="2122578" cy="378275"/>
            <a:chOff x="8446309" y="5819616"/>
            <a:chExt cx="2122879" cy="378328"/>
          </a:xfrm>
        </p:grpSpPr>
        <p:pic>
          <p:nvPicPr>
            <p:cNvPr id="13" name="Picture 12"/>
            <p:cNvPicPr>
              <a:picLocks noChangeAspect="1"/>
            </p:cNvPicPr>
            <p:nvPr/>
          </p:nvPicPr>
          <p:blipFill>
            <a:blip r:embed="rId8">
              <a:extLst>
                <a:ext uri="{BEBA8EAE-BF5A-486C-A8C5-ECC9F3942E4B}">
                  <a14:imgProps xmlns:a14="http://schemas.microsoft.com/office/drawing/2010/main">
                    <a14:imgLayer r:embed="rId9">
                      <a14:imgEffect>
                        <a14:brightnessContrast bright="-100000"/>
                      </a14:imgEffect>
                    </a14:imgLayer>
                  </a14:imgProps>
                </a:ext>
              </a:extLst>
            </a:blip>
            <a:stretch>
              <a:fillRect/>
            </a:stretch>
          </p:blipFill>
          <p:spPr>
            <a:xfrm>
              <a:off x="8446309" y="5819616"/>
              <a:ext cx="922751" cy="378328"/>
            </a:xfrm>
            <a:prstGeom prst="rect">
              <a:avLst/>
            </a:prstGeom>
            <a:noFill/>
          </p:spPr>
        </p:pic>
        <p:pic>
          <p:nvPicPr>
            <p:cNvPr id="12" name="Picture 11"/>
            <p:cNvPicPr>
              <a:picLocks noChangeAspect="1"/>
            </p:cNvPicPr>
            <p:nvPr/>
          </p:nvPicPr>
          <p:blipFill rotWithShape="1">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t="30800" b="30800"/>
            <a:stretch/>
          </p:blipFill>
          <p:spPr>
            <a:xfrm>
              <a:off x="9503481" y="5823349"/>
              <a:ext cx="1065707" cy="306921"/>
            </a:xfrm>
            <a:prstGeom prst="rect">
              <a:avLst/>
            </a:prstGeom>
          </p:spPr>
        </p:pic>
      </p:grpSp>
      <p:grpSp>
        <p:nvGrpSpPr>
          <p:cNvPr id="55" name="Group 54"/>
          <p:cNvGrpSpPr/>
          <p:nvPr/>
        </p:nvGrpSpPr>
        <p:grpSpPr>
          <a:xfrm>
            <a:off x="8381398" y="6215197"/>
            <a:ext cx="3077308" cy="423664"/>
            <a:chOff x="8157755" y="6215592"/>
            <a:chExt cx="3077744" cy="423724"/>
          </a:xfrm>
        </p:grpSpPr>
        <p:pic>
          <p:nvPicPr>
            <p:cNvPr id="14" name="Picture 13"/>
            <p:cNvPicPr>
              <a:picLocks noChangeAspect="1"/>
            </p:cNvPicPr>
            <p:nvPr/>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157755" y="6278870"/>
              <a:ext cx="1441785" cy="360446"/>
            </a:xfrm>
            <a:prstGeom prst="rect">
              <a:avLst/>
            </a:prstGeom>
          </p:spPr>
        </p:pic>
        <p:pic>
          <p:nvPicPr>
            <p:cNvPr id="16" name="Picture 15"/>
            <p:cNvPicPr>
              <a:picLocks noChangeAspect="1"/>
            </p:cNvPicPr>
            <p:nvPr/>
          </p:nvPicPr>
          <p:blipFill>
            <a:blip r:embed="rId14" cstate="print">
              <a:extLst>
                <a:ext uri="{BEBA8EAE-BF5A-486C-A8C5-ECC9F3942E4B}">
                  <a14:imgProps xmlns:a14="http://schemas.microsoft.com/office/drawing/2010/main">
                    <a14:imgLayer r:embed="rId1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771302" y="6215592"/>
              <a:ext cx="1464197" cy="367479"/>
            </a:xfrm>
            <a:prstGeom prst="rect">
              <a:avLst/>
            </a:prstGeom>
          </p:spPr>
        </p:pic>
      </p:grpSp>
      <p:cxnSp>
        <p:nvCxnSpPr>
          <p:cNvPr id="45" name="Straight Connector 44"/>
          <p:cNvCxnSpPr/>
          <p:nvPr/>
        </p:nvCxnSpPr>
        <p:spPr>
          <a:xfrm>
            <a:off x="325863" y="5664043"/>
            <a:ext cx="3764450" cy="0"/>
          </a:xfrm>
          <a:prstGeom prst="line">
            <a:avLst/>
          </a:prstGeom>
          <a:ln w="190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4181845" y="5664043"/>
            <a:ext cx="3764450" cy="0"/>
          </a:xfrm>
          <a:prstGeom prst="line">
            <a:avLst/>
          </a:prstGeom>
          <a:ln w="190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8037827" y="5664043"/>
            <a:ext cx="3764450" cy="0"/>
          </a:xfrm>
          <a:prstGeom prst="line">
            <a:avLst/>
          </a:prstGeom>
          <a:ln w="190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1827269" y="3750212"/>
            <a:ext cx="761639" cy="468972"/>
          </a:xfrm>
          <a:prstGeom prst="rect">
            <a:avLst/>
          </a:prstGeom>
          <a:noFill/>
        </p:spPr>
        <p:txBody>
          <a:bodyPr wrap="none" rtlCol="0">
            <a:spAutoFit/>
          </a:bodyPr>
          <a:lstStyle/>
          <a:p>
            <a:pPr algn="ctr" defTabSz="914225" latinLnBrk="0">
              <a:defRPr/>
            </a:pPr>
            <a:r>
              <a:rPr lang="en-US" sz="2400" kern="0" dirty="0">
                <a:gradFill>
                  <a:gsLst>
                    <a:gs pos="2917">
                      <a:srgbClr val="505050"/>
                    </a:gs>
                    <a:gs pos="30000">
                      <a:srgbClr val="505050"/>
                    </a:gs>
                  </a:gsLst>
                  <a:lin ang="5400000" scaled="0"/>
                </a:gradFill>
                <a:latin typeface="Segoe UI Light"/>
                <a:cs typeface="Segoe UI Semilight" panose="020B0402040204020203" pitchFamily="34" charset="0"/>
              </a:rPr>
              <a:t>Easy</a:t>
            </a:r>
          </a:p>
        </p:txBody>
      </p:sp>
      <p:sp>
        <p:nvSpPr>
          <p:cNvPr id="26" name="TextBox 25"/>
          <p:cNvSpPr txBox="1"/>
          <p:nvPr/>
        </p:nvSpPr>
        <p:spPr>
          <a:xfrm>
            <a:off x="5490115" y="3767864"/>
            <a:ext cx="1147908" cy="468972"/>
          </a:xfrm>
          <a:prstGeom prst="rect">
            <a:avLst/>
          </a:prstGeom>
          <a:noFill/>
        </p:spPr>
        <p:txBody>
          <a:bodyPr wrap="none" rtlCol="0">
            <a:spAutoFit/>
          </a:bodyPr>
          <a:lstStyle/>
          <a:p>
            <a:pPr algn="ctr" defTabSz="914225" latinLnBrk="0">
              <a:defRPr/>
            </a:pPr>
            <a:r>
              <a:rPr lang="en-US" sz="2400" kern="0" dirty="0">
                <a:gradFill>
                  <a:gsLst>
                    <a:gs pos="2917">
                      <a:srgbClr val="505050"/>
                    </a:gs>
                    <a:gs pos="30000">
                      <a:srgbClr val="505050"/>
                    </a:gs>
                  </a:gsLst>
                  <a:lin ang="5400000" scaled="0"/>
                </a:gradFill>
                <a:latin typeface="Segoe UI Light"/>
                <a:cs typeface="Segoe UI Semilight" panose="020B0402040204020203" pitchFamily="34" charset="0"/>
              </a:rPr>
              <a:t>Flexible</a:t>
            </a:r>
          </a:p>
        </p:txBody>
      </p:sp>
      <p:sp>
        <p:nvSpPr>
          <p:cNvPr id="27" name="TextBox 26"/>
          <p:cNvSpPr txBox="1"/>
          <p:nvPr/>
        </p:nvSpPr>
        <p:spPr>
          <a:xfrm>
            <a:off x="9393380" y="3761075"/>
            <a:ext cx="1053344" cy="468972"/>
          </a:xfrm>
          <a:prstGeom prst="rect">
            <a:avLst/>
          </a:prstGeom>
          <a:noFill/>
        </p:spPr>
        <p:txBody>
          <a:bodyPr wrap="none" rtlCol="0">
            <a:spAutoFit/>
          </a:bodyPr>
          <a:lstStyle/>
          <a:p>
            <a:pPr algn="ctr" defTabSz="914225" latinLnBrk="0">
              <a:defRPr/>
            </a:pPr>
            <a:r>
              <a:rPr lang="en-US" sz="2400" kern="0" dirty="0">
                <a:gradFill>
                  <a:gsLst>
                    <a:gs pos="2917">
                      <a:srgbClr val="505050"/>
                    </a:gs>
                    <a:gs pos="30000">
                      <a:srgbClr val="505050"/>
                    </a:gs>
                  </a:gsLst>
                  <a:lin ang="5400000" scaled="0"/>
                </a:gradFill>
                <a:latin typeface="Segoe UI Light"/>
                <a:cs typeface="Segoe UI Semilight" panose="020B0402040204020203" pitchFamily="34" charset="0"/>
              </a:rPr>
              <a:t>Tested</a:t>
            </a:r>
          </a:p>
        </p:txBody>
      </p:sp>
      <p:grpSp>
        <p:nvGrpSpPr>
          <p:cNvPr id="20" name="Group 19"/>
          <p:cNvGrpSpPr/>
          <p:nvPr/>
        </p:nvGrpSpPr>
        <p:grpSpPr>
          <a:xfrm>
            <a:off x="5117631" y="5870277"/>
            <a:ext cx="1892876" cy="394358"/>
            <a:chOff x="4718671" y="5870624"/>
            <a:chExt cx="1893144" cy="394414"/>
          </a:xfrm>
        </p:grpSpPr>
        <p:sp>
          <p:nvSpPr>
            <p:cNvPr id="44" name="Freeform 11"/>
            <p:cNvSpPr>
              <a:spLocks noEditPoints="1"/>
            </p:cNvSpPr>
            <p:nvPr/>
          </p:nvSpPr>
          <p:spPr bwMode="black">
            <a:xfrm>
              <a:off x="5488487" y="5870624"/>
              <a:ext cx="320356" cy="394414"/>
            </a:xfrm>
            <a:custGeom>
              <a:avLst/>
              <a:gdLst>
                <a:gd name="T0" fmla="*/ 574 w 618"/>
                <a:gd name="T1" fmla="*/ 227 h 723"/>
                <a:gd name="T2" fmla="*/ 530 w 618"/>
                <a:gd name="T3" fmla="*/ 272 h 723"/>
                <a:gd name="T4" fmla="*/ 530 w 618"/>
                <a:gd name="T5" fmla="*/ 446 h 723"/>
                <a:gd name="T6" fmla="*/ 574 w 618"/>
                <a:gd name="T7" fmla="*/ 491 h 723"/>
                <a:gd name="T8" fmla="*/ 618 w 618"/>
                <a:gd name="T9" fmla="*/ 446 h 723"/>
                <a:gd name="T10" fmla="*/ 618 w 618"/>
                <a:gd name="T11" fmla="*/ 272 h 723"/>
                <a:gd name="T12" fmla="*/ 574 w 618"/>
                <a:gd name="T13" fmla="*/ 227 h 723"/>
                <a:gd name="T14" fmla="*/ 44 w 618"/>
                <a:gd name="T15" fmla="*/ 227 h 723"/>
                <a:gd name="T16" fmla="*/ 0 w 618"/>
                <a:gd name="T17" fmla="*/ 272 h 723"/>
                <a:gd name="T18" fmla="*/ 0 w 618"/>
                <a:gd name="T19" fmla="*/ 446 h 723"/>
                <a:gd name="T20" fmla="*/ 44 w 618"/>
                <a:gd name="T21" fmla="*/ 491 h 723"/>
                <a:gd name="T22" fmla="*/ 88 w 618"/>
                <a:gd name="T23" fmla="*/ 446 h 723"/>
                <a:gd name="T24" fmla="*/ 88 w 618"/>
                <a:gd name="T25" fmla="*/ 272 h 723"/>
                <a:gd name="T26" fmla="*/ 44 w 618"/>
                <a:gd name="T27" fmla="*/ 227 h 723"/>
                <a:gd name="T28" fmla="*/ 505 w 618"/>
                <a:gd name="T29" fmla="*/ 228 h 723"/>
                <a:gd name="T30" fmla="*/ 505 w 618"/>
                <a:gd name="T31" fmla="*/ 547 h 723"/>
                <a:gd name="T32" fmla="*/ 471 w 618"/>
                <a:gd name="T33" fmla="*/ 581 h 723"/>
                <a:gd name="T34" fmla="*/ 432 w 618"/>
                <a:gd name="T35" fmla="*/ 581 h 723"/>
                <a:gd name="T36" fmla="*/ 432 w 618"/>
                <a:gd name="T37" fmla="*/ 678 h 723"/>
                <a:gd name="T38" fmla="*/ 388 w 618"/>
                <a:gd name="T39" fmla="*/ 723 h 723"/>
                <a:gd name="T40" fmla="*/ 344 w 618"/>
                <a:gd name="T41" fmla="*/ 678 h 723"/>
                <a:gd name="T42" fmla="*/ 344 w 618"/>
                <a:gd name="T43" fmla="*/ 581 h 723"/>
                <a:gd name="T44" fmla="*/ 276 w 618"/>
                <a:gd name="T45" fmla="*/ 581 h 723"/>
                <a:gd name="T46" fmla="*/ 276 w 618"/>
                <a:gd name="T47" fmla="*/ 678 h 723"/>
                <a:gd name="T48" fmla="*/ 232 w 618"/>
                <a:gd name="T49" fmla="*/ 723 h 723"/>
                <a:gd name="T50" fmla="*/ 188 w 618"/>
                <a:gd name="T51" fmla="*/ 678 h 723"/>
                <a:gd name="T52" fmla="*/ 188 w 618"/>
                <a:gd name="T53" fmla="*/ 581 h 723"/>
                <a:gd name="T54" fmla="*/ 149 w 618"/>
                <a:gd name="T55" fmla="*/ 581 h 723"/>
                <a:gd name="T56" fmla="*/ 115 w 618"/>
                <a:gd name="T57" fmla="*/ 547 h 723"/>
                <a:gd name="T58" fmla="*/ 115 w 618"/>
                <a:gd name="T59" fmla="*/ 228 h 723"/>
                <a:gd name="T60" fmla="*/ 505 w 618"/>
                <a:gd name="T61" fmla="*/ 228 h 723"/>
                <a:gd name="T62" fmla="*/ 402 w 618"/>
                <a:gd name="T63" fmla="*/ 63 h 723"/>
                <a:gd name="T64" fmla="*/ 438 w 618"/>
                <a:gd name="T65" fmla="*/ 11 h 723"/>
                <a:gd name="T66" fmla="*/ 437 w 618"/>
                <a:gd name="T67" fmla="*/ 2 h 723"/>
                <a:gd name="T68" fmla="*/ 428 w 618"/>
                <a:gd name="T69" fmla="*/ 4 h 723"/>
                <a:gd name="T70" fmla="*/ 390 w 618"/>
                <a:gd name="T71" fmla="*/ 59 h 723"/>
                <a:gd name="T72" fmla="*/ 309 w 618"/>
                <a:gd name="T73" fmla="*/ 43 h 723"/>
                <a:gd name="T74" fmla="*/ 228 w 618"/>
                <a:gd name="T75" fmla="*/ 59 h 723"/>
                <a:gd name="T76" fmla="*/ 190 w 618"/>
                <a:gd name="T77" fmla="*/ 4 h 723"/>
                <a:gd name="T78" fmla="*/ 181 w 618"/>
                <a:gd name="T79" fmla="*/ 2 h 723"/>
                <a:gd name="T80" fmla="*/ 180 w 618"/>
                <a:gd name="T81" fmla="*/ 11 h 723"/>
                <a:gd name="T82" fmla="*/ 216 w 618"/>
                <a:gd name="T83" fmla="*/ 63 h 723"/>
                <a:gd name="T84" fmla="*/ 114 w 618"/>
                <a:gd name="T85" fmla="*/ 200 h 723"/>
                <a:gd name="T86" fmla="*/ 504 w 618"/>
                <a:gd name="T87" fmla="*/ 200 h 723"/>
                <a:gd name="T88" fmla="*/ 402 w 618"/>
                <a:gd name="T89" fmla="*/ 63 h 723"/>
                <a:gd name="T90" fmla="*/ 227 w 618"/>
                <a:gd name="T91" fmla="*/ 146 h 723"/>
                <a:gd name="T92" fmla="*/ 205 w 618"/>
                <a:gd name="T93" fmla="*/ 124 h 723"/>
                <a:gd name="T94" fmla="*/ 227 w 618"/>
                <a:gd name="T95" fmla="*/ 103 h 723"/>
                <a:gd name="T96" fmla="*/ 248 w 618"/>
                <a:gd name="T97" fmla="*/ 124 h 723"/>
                <a:gd name="T98" fmla="*/ 227 w 618"/>
                <a:gd name="T99" fmla="*/ 146 h 723"/>
                <a:gd name="T100" fmla="*/ 394 w 618"/>
                <a:gd name="T101" fmla="*/ 146 h 723"/>
                <a:gd name="T102" fmla="*/ 373 w 618"/>
                <a:gd name="T103" fmla="*/ 124 h 723"/>
                <a:gd name="T104" fmla="*/ 394 w 618"/>
                <a:gd name="T105" fmla="*/ 103 h 723"/>
                <a:gd name="T106" fmla="*/ 416 w 618"/>
                <a:gd name="T107" fmla="*/ 124 h 723"/>
                <a:gd name="T108" fmla="*/ 394 w 618"/>
                <a:gd name="T109" fmla="*/ 146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18" h="723">
                  <a:moveTo>
                    <a:pt x="574" y="227"/>
                  </a:moveTo>
                  <a:cubicBezTo>
                    <a:pt x="550" y="227"/>
                    <a:pt x="530" y="247"/>
                    <a:pt x="530" y="272"/>
                  </a:cubicBezTo>
                  <a:cubicBezTo>
                    <a:pt x="530" y="446"/>
                    <a:pt x="530" y="446"/>
                    <a:pt x="530" y="446"/>
                  </a:cubicBezTo>
                  <a:cubicBezTo>
                    <a:pt x="530" y="471"/>
                    <a:pt x="550" y="491"/>
                    <a:pt x="574" y="491"/>
                  </a:cubicBezTo>
                  <a:cubicBezTo>
                    <a:pt x="598" y="491"/>
                    <a:pt x="618" y="471"/>
                    <a:pt x="618" y="446"/>
                  </a:cubicBezTo>
                  <a:cubicBezTo>
                    <a:pt x="618" y="272"/>
                    <a:pt x="618" y="272"/>
                    <a:pt x="618" y="272"/>
                  </a:cubicBezTo>
                  <a:cubicBezTo>
                    <a:pt x="618" y="247"/>
                    <a:pt x="598" y="227"/>
                    <a:pt x="574" y="227"/>
                  </a:cubicBezTo>
                  <a:close/>
                  <a:moveTo>
                    <a:pt x="44" y="227"/>
                  </a:moveTo>
                  <a:cubicBezTo>
                    <a:pt x="20" y="227"/>
                    <a:pt x="0" y="247"/>
                    <a:pt x="0" y="272"/>
                  </a:cubicBezTo>
                  <a:cubicBezTo>
                    <a:pt x="0" y="446"/>
                    <a:pt x="0" y="446"/>
                    <a:pt x="0" y="446"/>
                  </a:cubicBezTo>
                  <a:cubicBezTo>
                    <a:pt x="0" y="471"/>
                    <a:pt x="20" y="491"/>
                    <a:pt x="44" y="491"/>
                  </a:cubicBezTo>
                  <a:cubicBezTo>
                    <a:pt x="68" y="491"/>
                    <a:pt x="88" y="471"/>
                    <a:pt x="88" y="446"/>
                  </a:cubicBezTo>
                  <a:cubicBezTo>
                    <a:pt x="88" y="272"/>
                    <a:pt x="88" y="272"/>
                    <a:pt x="88" y="272"/>
                  </a:cubicBezTo>
                  <a:cubicBezTo>
                    <a:pt x="88" y="247"/>
                    <a:pt x="68" y="227"/>
                    <a:pt x="44" y="227"/>
                  </a:cubicBezTo>
                  <a:close/>
                  <a:moveTo>
                    <a:pt x="505" y="228"/>
                  </a:moveTo>
                  <a:cubicBezTo>
                    <a:pt x="505" y="547"/>
                    <a:pt x="505" y="547"/>
                    <a:pt x="505" y="547"/>
                  </a:cubicBezTo>
                  <a:cubicBezTo>
                    <a:pt x="505" y="566"/>
                    <a:pt x="490" y="581"/>
                    <a:pt x="471" y="581"/>
                  </a:cubicBezTo>
                  <a:cubicBezTo>
                    <a:pt x="432" y="581"/>
                    <a:pt x="432" y="581"/>
                    <a:pt x="432" y="581"/>
                  </a:cubicBezTo>
                  <a:cubicBezTo>
                    <a:pt x="432" y="678"/>
                    <a:pt x="432" y="678"/>
                    <a:pt x="432" y="678"/>
                  </a:cubicBezTo>
                  <a:cubicBezTo>
                    <a:pt x="432" y="703"/>
                    <a:pt x="412" y="723"/>
                    <a:pt x="388" y="723"/>
                  </a:cubicBezTo>
                  <a:cubicBezTo>
                    <a:pt x="364" y="723"/>
                    <a:pt x="344" y="703"/>
                    <a:pt x="344" y="678"/>
                  </a:cubicBezTo>
                  <a:cubicBezTo>
                    <a:pt x="344" y="581"/>
                    <a:pt x="344" y="581"/>
                    <a:pt x="344" y="581"/>
                  </a:cubicBezTo>
                  <a:cubicBezTo>
                    <a:pt x="276" y="581"/>
                    <a:pt x="276" y="581"/>
                    <a:pt x="276" y="581"/>
                  </a:cubicBezTo>
                  <a:cubicBezTo>
                    <a:pt x="276" y="678"/>
                    <a:pt x="276" y="678"/>
                    <a:pt x="276" y="678"/>
                  </a:cubicBezTo>
                  <a:cubicBezTo>
                    <a:pt x="276" y="703"/>
                    <a:pt x="256" y="723"/>
                    <a:pt x="232" y="723"/>
                  </a:cubicBezTo>
                  <a:cubicBezTo>
                    <a:pt x="208" y="723"/>
                    <a:pt x="188" y="703"/>
                    <a:pt x="188" y="678"/>
                  </a:cubicBezTo>
                  <a:cubicBezTo>
                    <a:pt x="188" y="581"/>
                    <a:pt x="188" y="581"/>
                    <a:pt x="188" y="581"/>
                  </a:cubicBezTo>
                  <a:cubicBezTo>
                    <a:pt x="149" y="581"/>
                    <a:pt x="149" y="581"/>
                    <a:pt x="149" y="581"/>
                  </a:cubicBezTo>
                  <a:cubicBezTo>
                    <a:pt x="130" y="581"/>
                    <a:pt x="115" y="566"/>
                    <a:pt x="115" y="547"/>
                  </a:cubicBezTo>
                  <a:cubicBezTo>
                    <a:pt x="115" y="228"/>
                    <a:pt x="115" y="228"/>
                    <a:pt x="115" y="228"/>
                  </a:cubicBezTo>
                  <a:lnTo>
                    <a:pt x="505" y="228"/>
                  </a:lnTo>
                  <a:close/>
                  <a:moveTo>
                    <a:pt x="402" y="63"/>
                  </a:moveTo>
                  <a:cubicBezTo>
                    <a:pt x="438" y="11"/>
                    <a:pt x="438" y="11"/>
                    <a:pt x="438" y="11"/>
                  </a:cubicBezTo>
                  <a:cubicBezTo>
                    <a:pt x="440" y="8"/>
                    <a:pt x="439" y="4"/>
                    <a:pt x="437" y="2"/>
                  </a:cubicBezTo>
                  <a:cubicBezTo>
                    <a:pt x="434" y="0"/>
                    <a:pt x="430" y="1"/>
                    <a:pt x="428" y="4"/>
                  </a:cubicBezTo>
                  <a:cubicBezTo>
                    <a:pt x="390" y="59"/>
                    <a:pt x="390" y="59"/>
                    <a:pt x="390" y="59"/>
                  </a:cubicBezTo>
                  <a:cubicBezTo>
                    <a:pt x="365" y="49"/>
                    <a:pt x="338" y="43"/>
                    <a:pt x="309" y="43"/>
                  </a:cubicBezTo>
                  <a:cubicBezTo>
                    <a:pt x="280" y="43"/>
                    <a:pt x="253" y="49"/>
                    <a:pt x="228" y="59"/>
                  </a:cubicBezTo>
                  <a:cubicBezTo>
                    <a:pt x="190" y="4"/>
                    <a:pt x="190" y="4"/>
                    <a:pt x="190" y="4"/>
                  </a:cubicBezTo>
                  <a:cubicBezTo>
                    <a:pt x="188" y="1"/>
                    <a:pt x="184" y="0"/>
                    <a:pt x="181" y="2"/>
                  </a:cubicBezTo>
                  <a:cubicBezTo>
                    <a:pt x="179" y="4"/>
                    <a:pt x="178" y="8"/>
                    <a:pt x="180" y="11"/>
                  </a:cubicBezTo>
                  <a:cubicBezTo>
                    <a:pt x="216" y="63"/>
                    <a:pt x="216" y="63"/>
                    <a:pt x="216" y="63"/>
                  </a:cubicBezTo>
                  <a:cubicBezTo>
                    <a:pt x="159" y="90"/>
                    <a:pt x="119" y="141"/>
                    <a:pt x="114" y="200"/>
                  </a:cubicBezTo>
                  <a:cubicBezTo>
                    <a:pt x="504" y="200"/>
                    <a:pt x="504" y="200"/>
                    <a:pt x="504" y="200"/>
                  </a:cubicBezTo>
                  <a:cubicBezTo>
                    <a:pt x="499" y="141"/>
                    <a:pt x="459" y="90"/>
                    <a:pt x="402" y="63"/>
                  </a:cubicBezTo>
                  <a:close/>
                  <a:moveTo>
                    <a:pt x="227" y="146"/>
                  </a:moveTo>
                  <a:cubicBezTo>
                    <a:pt x="215" y="146"/>
                    <a:pt x="205" y="136"/>
                    <a:pt x="205" y="124"/>
                  </a:cubicBezTo>
                  <a:cubicBezTo>
                    <a:pt x="205" y="113"/>
                    <a:pt x="215" y="103"/>
                    <a:pt x="227" y="103"/>
                  </a:cubicBezTo>
                  <a:cubicBezTo>
                    <a:pt x="239" y="103"/>
                    <a:pt x="248" y="113"/>
                    <a:pt x="248" y="124"/>
                  </a:cubicBezTo>
                  <a:cubicBezTo>
                    <a:pt x="248" y="136"/>
                    <a:pt x="239" y="146"/>
                    <a:pt x="227" y="146"/>
                  </a:cubicBezTo>
                  <a:close/>
                  <a:moveTo>
                    <a:pt x="394" y="146"/>
                  </a:moveTo>
                  <a:cubicBezTo>
                    <a:pt x="382" y="146"/>
                    <a:pt x="373" y="136"/>
                    <a:pt x="373" y="124"/>
                  </a:cubicBezTo>
                  <a:cubicBezTo>
                    <a:pt x="373" y="113"/>
                    <a:pt x="382" y="103"/>
                    <a:pt x="394" y="103"/>
                  </a:cubicBezTo>
                  <a:cubicBezTo>
                    <a:pt x="406" y="103"/>
                    <a:pt x="416" y="113"/>
                    <a:pt x="416" y="124"/>
                  </a:cubicBezTo>
                  <a:cubicBezTo>
                    <a:pt x="416" y="136"/>
                    <a:pt x="406" y="146"/>
                    <a:pt x="394" y="146"/>
                  </a:cubicBezTo>
                  <a:close/>
                </a:path>
              </a:pathLst>
            </a:custGeom>
            <a:solidFill>
              <a:srgbClr val="000000"/>
            </a:solidFill>
            <a:ln>
              <a:noFill/>
            </a:ln>
          </p:spPr>
          <p:txBody>
            <a:bodyPr vert="horz" wrap="square" lIns="91427" tIns="45713" rIns="91427" bIns="45713" numCol="1" anchor="t" anchorCtr="0" compatLnSpc="1">
              <a:prstTxWarp prst="textNoShape">
                <a:avLst/>
              </a:prstTxWarp>
            </a:bodyPr>
            <a:lstStyle/>
            <a:p>
              <a:pPr defTabSz="914225" latinLnBrk="0">
                <a:defRPr/>
              </a:pPr>
              <a:endParaRPr lang="en-US" kern="0">
                <a:solidFill>
                  <a:sysClr val="windowText" lastClr="000000"/>
                </a:solidFill>
                <a:latin typeface="Segoe UI"/>
              </a:endParaRPr>
            </a:p>
          </p:txBody>
        </p:sp>
        <p:sp>
          <p:nvSpPr>
            <p:cNvPr id="48" name="Freeform 47"/>
            <p:cNvSpPr>
              <a:spLocks noChangeAspect="1" noEditPoints="1"/>
            </p:cNvSpPr>
            <p:nvPr/>
          </p:nvSpPr>
          <p:spPr bwMode="black">
            <a:xfrm>
              <a:off x="4718671" y="5918276"/>
              <a:ext cx="300330" cy="299110"/>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00000"/>
            </a:solidFill>
            <a:ln>
              <a:noFill/>
            </a:ln>
            <a:extLst/>
          </p:spPr>
          <p:txBody>
            <a:bodyPr vert="horz" wrap="square" lIns="91427" tIns="45713" rIns="91427" bIns="45713" numCol="1" anchor="t" anchorCtr="0" compatLnSpc="1">
              <a:prstTxWarp prst="textNoShape">
                <a:avLst/>
              </a:prstTxWarp>
            </a:bodyPr>
            <a:lstStyle/>
            <a:p>
              <a:pPr defTabSz="914225" latinLnBrk="0">
                <a:defRPr/>
              </a:pPr>
              <a:endParaRPr lang="en-US" kern="0" dirty="0">
                <a:solidFill>
                  <a:sysClr val="windowText" lastClr="000000"/>
                </a:solidFill>
                <a:latin typeface="Segoe UI"/>
              </a:endParaRPr>
            </a:p>
          </p:txBody>
        </p:sp>
        <p:grpSp>
          <p:nvGrpSpPr>
            <p:cNvPr id="49" name="Group 48"/>
            <p:cNvGrpSpPr>
              <a:grpSpLocks noChangeAspect="1"/>
            </p:cNvGrpSpPr>
            <p:nvPr/>
          </p:nvGrpSpPr>
          <p:grpSpPr bwMode="black">
            <a:xfrm>
              <a:off x="6278329" y="5873298"/>
              <a:ext cx="333486" cy="389066"/>
              <a:chOff x="396875" y="1300163"/>
              <a:chExt cx="1162051" cy="1355725"/>
            </a:xfrm>
          </p:grpSpPr>
          <p:sp>
            <p:nvSpPr>
              <p:cNvPr id="50" name="Freeform 49"/>
              <p:cNvSpPr>
                <a:spLocks/>
              </p:cNvSpPr>
              <p:nvPr/>
            </p:nvSpPr>
            <p:spPr bwMode="black">
              <a:xfrm>
                <a:off x="396875" y="1616075"/>
                <a:ext cx="1162051" cy="1039813"/>
              </a:xfrm>
              <a:custGeom>
                <a:avLst/>
                <a:gdLst>
                  <a:gd name="T0" fmla="*/ 455 w 539"/>
                  <a:gd name="T1" fmla="*/ 186 h 482"/>
                  <a:gd name="T2" fmla="*/ 522 w 539"/>
                  <a:gd name="T3" fmla="*/ 67 h 482"/>
                  <a:gd name="T4" fmla="*/ 408 w 539"/>
                  <a:gd name="T5" fmla="*/ 5 h 482"/>
                  <a:gd name="T6" fmla="*/ 288 w 539"/>
                  <a:gd name="T7" fmla="*/ 34 h 482"/>
                  <a:gd name="T8" fmla="*/ 184 w 539"/>
                  <a:gd name="T9" fmla="*/ 7 h 482"/>
                  <a:gd name="T10" fmla="*/ 55 w 539"/>
                  <a:gd name="T11" fmla="*/ 86 h 482"/>
                  <a:gd name="T12" fmla="*/ 95 w 539"/>
                  <a:gd name="T13" fmla="*/ 401 h 482"/>
                  <a:gd name="T14" fmla="*/ 194 w 539"/>
                  <a:gd name="T15" fmla="*/ 480 h 482"/>
                  <a:gd name="T16" fmla="*/ 296 w 539"/>
                  <a:gd name="T17" fmla="*/ 455 h 482"/>
                  <a:gd name="T18" fmla="*/ 400 w 539"/>
                  <a:gd name="T19" fmla="*/ 479 h 482"/>
                  <a:gd name="T20" fmla="*/ 496 w 539"/>
                  <a:gd name="T21" fmla="*/ 402 h 482"/>
                  <a:gd name="T22" fmla="*/ 539 w 539"/>
                  <a:gd name="T23" fmla="*/ 313 h 482"/>
                  <a:gd name="T24" fmla="*/ 455 w 539"/>
                  <a:gd name="T25" fmla="*/ 186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9" h="482">
                    <a:moveTo>
                      <a:pt x="455" y="186"/>
                    </a:moveTo>
                    <a:cubicBezTo>
                      <a:pt x="454" y="107"/>
                      <a:pt x="519" y="69"/>
                      <a:pt x="522" y="67"/>
                    </a:cubicBezTo>
                    <a:cubicBezTo>
                      <a:pt x="485" y="13"/>
                      <a:pt x="428" y="6"/>
                      <a:pt x="408" y="5"/>
                    </a:cubicBezTo>
                    <a:cubicBezTo>
                      <a:pt x="359" y="0"/>
                      <a:pt x="312" y="34"/>
                      <a:pt x="288" y="34"/>
                    </a:cubicBezTo>
                    <a:cubicBezTo>
                      <a:pt x="263" y="34"/>
                      <a:pt x="225" y="6"/>
                      <a:pt x="184" y="7"/>
                    </a:cubicBezTo>
                    <a:cubicBezTo>
                      <a:pt x="131" y="8"/>
                      <a:pt x="82" y="38"/>
                      <a:pt x="55" y="86"/>
                    </a:cubicBezTo>
                    <a:cubicBezTo>
                      <a:pt x="0" y="182"/>
                      <a:pt x="41" y="323"/>
                      <a:pt x="95" y="401"/>
                    </a:cubicBezTo>
                    <a:cubicBezTo>
                      <a:pt x="121" y="439"/>
                      <a:pt x="153" y="482"/>
                      <a:pt x="194" y="480"/>
                    </a:cubicBezTo>
                    <a:cubicBezTo>
                      <a:pt x="234" y="479"/>
                      <a:pt x="248" y="455"/>
                      <a:pt x="296" y="455"/>
                    </a:cubicBezTo>
                    <a:cubicBezTo>
                      <a:pt x="344" y="454"/>
                      <a:pt x="358" y="480"/>
                      <a:pt x="400" y="479"/>
                    </a:cubicBezTo>
                    <a:cubicBezTo>
                      <a:pt x="443" y="478"/>
                      <a:pt x="470" y="440"/>
                      <a:pt x="496" y="402"/>
                    </a:cubicBezTo>
                    <a:cubicBezTo>
                      <a:pt x="526" y="358"/>
                      <a:pt x="538" y="315"/>
                      <a:pt x="539" y="313"/>
                    </a:cubicBezTo>
                    <a:cubicBezTo>
                      <a:pt x="538" y="313"/>
                      <a:pt x="456" y="281"/>
                      <a:pt x="455" y="186"/>
                    </a:cubicBezTo>
                  </a:path>
                </a:pathLst>
              </a:custGeom>
              <a:solidFill>
                <a:srgbClr val="000000"/>
              </a:solidFill>
              <a:ln>
                <a:noFill/>
              </a:ln>
              <a:extLst/>
            </p:spPr>
            <p:txBody>
              <a:bodyPr vert="horz" wrap="square" lIns="91427" tIns="45713" rIns="91427" bIns="45713" numCol="1" anchor="t" anchorCtr="0" compatLnSpc="1">
                <a:prstTxWarp prst="textNoShape">
                  <a:avLst/>
                </a:prstTxWarp>
              </a:bodyPr>
              <a:lstStyle/>
              <a:p>
                <a:pPr defTabSz="914225" latinLnBrk="0">
                  <a:defRPr/>
                </a:pPr>
                <a:endParaRPr lang="en-US" kern="0">
                  <a:solidFill>
                    <a:sysClr val="windowText" lastClr="000000"/>
                  </a:solidFill>
                  <a:latin typeface="Segoe UI"/>
                </a:endParaRPr>
              </a:p>
            </p:txBody>
          </p:sp>
          <p:sp>
            <p:nvSpPr>
              <p:cNvPr id="51" name="Freeform 50"/>
              <p:cNvSpPr>
                <a:spLocks/>
              </p:cNvSpPr>
              <p:nvPr/>
            </p:nvSpPr>
            <p:spPr bwMode="black">
              <a:xfrm>
                <a:off x="996950" y="1300163"/>
                <a:ext cx="288925" cy="317500"/>
              </a:xfrm>
              <a:custGeom>
                <a:avLst/>
                <a:gdLst>
                  <a:gd name="T0" fmla="*/ 98 w 134"/>
                  <a:gd name="T1" fmla="*/ 100 h 147"/>
                  <a:gd name="T2" fmla="*/ 130 w 134"/>
                  <a:gd name="T3" fmla="*/ 0 h 147"/>
                  <a:gd name="T4" fmla="*/ 38 w 134"/>
                  <a:gd name="T5" fmla="*/ 47 h 147"/>
                  <a:gd name="T6" fmla="*/ 5 w 134"/>
                  <a:gd name="T7" fmla="*/ 144 h 147"/>
                  <a:gd name="T8" fmla="*/ 98 w 134"/>
                  <a:gd name="T9" fmla="*/ 100 h 147"/>
                </a:gdLst>
                <a:ahLst/>
                <a:cxnLst>
                  <a:cxn ang="0">
                    <a:pos x="T0" y="T1"/>
                  </a:cxn>
                  <a:cxn ang="0">
                    <a:pos x="T2" y="T3"/>
                  </a:cxn>
                  <a:cxn ang="0">
                    <a:pos x="T4" y="T5"/>
                  </a:cxn>
                  <a:cxn ang="0">
                    <a:pos x="T6" y="T7"/>
                  </a:cxn>
                  <a:cxn ang="0">
                    <a:pos x="T8" y="T9"/>
                  </a:cxn>
                </a:cxnLst>
                <a:rect l="0" t="0" r="r" b="b"/>
                <a:pathLst>
                  <a:path w="134" h="147">
                    <a:moveTo>
                      <a:pt x="98" y="100"/>
                    </a:moveTo>
                    <a:cubicBezTo>
                      <a:pt x="120" y="73"/>
                      <a:pt x="134" y="36"/>
                      <a:pt x="130" y="0"/>
                    </a:cubicBezTo>
                    <a:cubicBezTo>
                      <a:pt x="99" y="1"/>
                      <a:pt x="61" y="21"/>
                      <a:pt x="38" y="47"/>
                    </a:cubicBezTo>
                    <a:cubicBezTo>
                      <a:pt x="18" y="71"/>
                      <a:pt x="0" y="108"/>
                      <a:pt x="5" y="144"/>
                    </a:cubicBezTo>
                    <a:cubicBezTo>
                      <a:pt x="40" y="147"/>
                      <a:pt x="76" y="126"/>
                      <a:pt x="98" y="100"/>
                    </a:cubicBezTo>
                  </a:path>
                </a:pathLst>
              </a:custGeom>
              <a:solidFill>
                <a:srgbClr val="000000"/>
              </a:solidFill>
              <a:ln>
                <a:noFill/>
              </a:ln>
              <a:extLst/>
            </p:spPr>
            <p:txBody>
              <a:bodyPr vert="horz" wrap="square" lIns="91427" tIns="45713" rIns="91427" bIns="45713" numCol="1" anchor="t" anchorCtr="0" compatLnSpc="1">
                <a:prstTxWarp prst="textNoShape">
                  <a:avLst/>
                </a:prstTxWarp>
              </a:bodyPr>
              <a:lstStyle/>
              <a:p>
                <a:pPr defTabSz="914225" latinLnBrk="0">
                  <a:defRPr/>
                </a:pPr>
                <a:endParaRPr lang="en-US" kern="0">
                  <a:solidFill>
                    <a:sysClr val="windowText" lastClr="000000"/>
                  </a:solidFill>
                  <a:latin typeface="Segoe UI"/>
                </a:endParaRPr>
              </a:p>
            </p:txBody>
          </p:sp>
        </p:grpSp>
      </p:grpSp>
      <p:grpSp>
        <p:nvGrpSpPr>
          <p:cNvPr id="24" name="Group 23"/>
          <p:cNvGrpSpPr/>
          <p:nvPr/>
        </p:nvGrpSpPr>
        <p:grpSpPr>
          <a:xfrm>
            <a:off x="1387750" y="5619948"/>
            <a:ext cx="1640678" cy="1268864"/>
            <a:chOff x="1415867" y="5572152"/>
            <a:chExt cx="1622001" cy="1254419"/>
          </a:xfrm>
        </p:grpSpPr>
        <p:grpSp>
          <p:nvGrpSpPr>
            <p:cNvPr id="22" name="Group 21"/>
            <p:cNvGrpSpPr/>
            <p:nvPr/>
          </p:nvGrpSpPr>
          <p:grpSpPr>
            <a:xfrm rot="264667" flipH="1" flipV="1">
              <a:off x="1573177" y="5572152"/>
              <a:ext cx="1232370" cy="1254419"/>
              <a:chOff x="1689290" y="5634216"/>
              <a:chExt cx="1110860" cy="1130733"/>
            </a:xfrm>
          </p:grpSpPr>
          <p:grpSp>
            <p:nvGrpSpPr>
              <p:cNvPr id="6" name="Group 4"/>
              <p:cNvGrpSpPr>
                <a:grpSpLocks noChangeAspect="1"/>
              </p:cNvGrpSpPr>
              <p:nvPr/>
            </p:nvGrpSpPr>
            <p:grpSpPr bwMode="auto">
              <a:xfrm rot="19703189">
                <a:off x="1689290" y="5634216"/>
                <a:ext cx="1110860" cy="1130733"/>
                <a:chOff x="766" y="3573"/>
                <a:chExt cx="559" cy="569"/>
              </a:xfrm>
            </p:grpSpPr>
            <p:sp>
              <p:nvSpPr>
                <p:cNvPr id="17" name="Freeform 5"/>
                <p:cNvSpPr>
                  <a:spLocks noEditPoints="1"/>
                </p:cNvSpPr>
                <p:nvPr/>
              </p:nvSpPr>
              <p:spPr bwMode="auto">
                <a:xfrm>
                  <a:off x="977" y="3794"/>
                  <a:ext cx="348" cy="348"/>
                </a:xfrm>
                <a:custGeom>
                  <a:avLst/>
                  <a:gdLst>
                    <a:gd name="T0" fmla="*/ 52 w 56"/>
                    <a:gd name="T1" fmla="*/ 24 h 56"/>
                    <a:gd name="T2" fmla="*/ 48 w 56"/>
                    <a:gd name="T3" fmla="*/ 14 h 56"/>
                    <a:gd name="T4" fmla="*/ 51 w 56"/>
                    <a:gd name="T5" fmla="*/ 11 h 56"/>
                    <a:gd name="T6" fmla="*/ 45 w 56"/>
                    <a:gd name="T7" fmla="*/ 5 h 56"/>
                    <a:gd name="T8" fmla="*/ 42 w 56"/>
                    <a:gd name="T9" fmla="*/ 8 h 56"/>
                    <a:gd name="T10" fmla="*/ 32 w 56"/>
                    <a:gd name="T11" fmla="*/ 4 h 56"/>
                    <a:gd name="T12" fmla="*/ 32 w 56"/>
                    <a:gd name="T13" fmla="*/ 0 h 56"/>
                    <a:gd name="T14" fmla="*/ 24 w 56"/>
                    <a:gd name="T15" fmla="*/ 0 h 56"/>
                    <a:gd name="T16" fmla="*/ 24 w 56"/>
                    <a:gd name="T17" fmla="*/ 4 h 56"/>
                    <a:gd name="T18" fmla="*/ 14 w 56"/>
                    <a:gd name="T19" fmla="*/ 8 h 56"/>
                    <a:gd name="T20" fmla="*/ 11 w 56"/>
                    <a:gd name="T21" fmla="*/ 5 h 56"/>
                    <a:gd name="T22" fmla="*/ 5 w 56"/>
                    <a:gd name="T23" fmla="*/ 11 h 56"/>
                    <a:gd name="T24" fmla="*/ 8 w 56"/>
                    <a:gd name="T25" fmla="*/ 14 h 56"/>
                    <a:gd name="T26" fmla="*/ 4 w 56"/>
                    <a:gd name="T27" fmla="*/ 24 h 56"/>
                    <a:gd name="T28" fmla="*/ 0 w 56"/>
                    <a:gd name="T29" fmla="*/ 24 h 56"/>
                    <a:gd name="T30" fmla="*/ 0 w 56"/>
                    <a:gd name="T31" fmla="*/ 32 h 56"/>
                    <a:gd name="T32" fmla="*/ 4 w 56"/>
                    <a:gd name="T33" fmla="*/ 32 h 56"/>
                    <a:gd name="T34" fmla="*/ 8 w 56"/>
                    <a:gd name="T35" fmla="*/ 42 h 56"/>
                    <a:gd name="T36" fmla="*/ 5 w 56"/>
                    <a:gd name="T37" fmla="*/ 45 h 56"/>
                    <a:gd name="T38" fmla="*/ 11 w 56"/>
                    <a:gd name="T39" fmla="*/ 51 h 56"/>
                    <a:gd name="T40" fmla="*/ 14 w 56"/>
                    <a:gd name="T41" fmla="*/ 48 h 56"/>
                    <a:gd name="T42" fmla="*/ 24 w 56"/>
                    <a:gd name="T43" fmla="*/ 52 h 56"/>
                    <a:gd name="T44" fmla="*/ 24 w 56"/>
                    <a:gd name="T45" fmla="*/ 56 h 56"/>
                    <a:gd name="T46" fmla="*/ 32 w 56"/>
                    <a:gd name="T47" fmla="*/ 56 h 56"/>
                    <a:gd name="T48" fmla="*/ 32 w 56"/>
                    <a:gd name="T49" fmla="*/ 52 h 56"/>
                    <a:gd name="T50" fmla="*/ 42 w 56"/>
                    <a:gd name="T51" fmla="*/ 48 h 56"/>
                    <a:gd name="T52" fmla="*/ 45 w 56"/>
                    <a:gd name="T53" fmla="*/ 51 h 56"/>
                    <a:gd name="T54" fmla="*/ 51 w 56"/>
                    <a:gd name="T55" fmla="*/ 45 h 56"/>
                    <a:gd name="T56" fmla="*/ 48 w 56"/>
                    <a:gd name="T57" fmla="*/ 42 h 56"/>
                    <a:gd name="T58" fmla="*/ 52 w 56"/>
                    <a:gd name="T59" fmla="*/ 32 h 56"/>
                    <a:gd name="T60" fmla="*/ 56 w 56"/>
                    <a:gd name="T61" fmla="*/ 32 h 56"/>
                    <a:gd name="T62" fmla="*/ 56 w 56"/>
                    <a:gd name="T63" fmla="*/ 24 h 56"/>
                    <a:gd name="T64" fmla="*/ 52 w 56"/>
                    <a:gd name="T65" fmla="*/ 24 h 56"/>
                    <a:gd name="T66" fmla="*/ 28 w 56"/>
                    <a:gd name="T67" fmla="*/ 44 h 56"/>
                    <a:gd name="T68" fmla="*/ 12 w 56"/>
                    <a:gd name="T69" fmla="*/ 28 h 56"/>
                    <a:gd name="T70" fmla="*/ 28 w 56"/>
                    <a:gd name="T71" fmla="*/ 12 h 56"/>
                    <a:gd name="T72" fmla="*/ 44 w 56"/>
                    <a:gd name="T73" fmla="*/ 28 h 56"/>
                    <a:gd name="T74" fmla="*/ 28 w 56"/>
                    <a:gd name="T75" fmla="*/ 4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6" h="56">
                      <a:moveTo>
                        <a:pt x="52" y="24"/>
                      </a:moveTo>
                      <a:cubicBezTo>
                        <a:pt x="51" y="20"/>
                        <a:pt x="50" y="17"/>
                        <a:pt x="48" y="14"/>
                      </a:cubicBezTo>
                      <a:cubicBezTo>
                        <a:pt x="51" y="11"/>
                        <a:pt x="51" y="11"/>
                        <a:pt x="51" y="11"/>
                      </a:cubicBezTo>
                      <a:cubicBezTo>
                        <a:pt x="45" y="5"/>
                        <a:pt x="45" y="5"/>
                        <a:pt x="45" y="5"/>
                      </a:cubicBezTo>
                      <a:cubicBezTo>
                        <a:pt x="42" y="8"/>
                        <a:pt x="42" y="8"/>
                        <a:pt x="42" y="8"/>
                      </a:cubicBezTo>
                      <a:cubicBezTo>
                        <a:pt x="39" y="6"/>
                        <a:pt x="36" y="5"/>
                        <a:pt x="32" y="4"/>
                      </a:cubicBezTo>
                      <a:cubicBezTo>
                        <a:pt x="32" y="0"/>
                        <a:pt x="32" y="0"/>
                        <a:pt x="32" y="0"/>
                      </a:cubicBezTo>
                      <a:cubicBezTo>
                        <a:pt x="24" y="0"/>
                        <a:pt x="24" y="0"/>
                        <a:pt x="24" y="0"/>
                      </a:cubicBezTo>
                      <a:cubicBezTo>
                        <a:pt x="24" y="4"/>
                        <a:pt x="24" y="4"/>
                        <a:pt x="24" y="4"/>
                      </a:cubicBezTo>
                      <a:cubicBezTo>
                        <a:pt x="20" y="5"/>
                        <a:pt x="17" y="6"/>
                        <a:pt x="14" y="8"/>
                      </a:cubicBezTo>
                      <a:cubicBezTo>
                        <a:pt x="11" y="5"/>
                        <a:pt x="11" y="5"/>
                        <a:pt x="11" y="5"/>
                      </a:cubicBezTo>
                      <a:cubicBezTo>
                        <a:pt x="5" y="11"/>
                        <a:pt x="5" y="11"/>
                        <a:pt x="5" y="11"/>
                      </a:cubicBezTo>
                      <a:cubicBezTo>
                        <a:pt x="8" y="14"/>
                        <a:pt x="8" y="14"/>
                        <a:pt x="8" y="14"/>
                      </a:cubicBezTo>
                      <a:cubicBezTo>
                        <a:pt x="6" y="17"/>
                        <a:pt x="5" y="20"/>
                        <a:pt x="4" y="24"/>
                      </a:cubicBezTo>
                      <a:cubicBezTo>
                        <a:pt x="0" y="24"/>
                        <a:pt x="0" y="24"/>
                        <a:pt x="0" y="24"/>
                      </a:cubicBezTo>
                      <a:cubicBezTo>
                        <a:pt x="0" y="32"/>
                        <a:pt x="0" y="32"/>
                        <a:pt x="0" y="32"/>
                      </a:cubicBezTo>
                      <a:cubicBezTo>
                        <a:pt x="4" y="32"/>
                        <a:pt x="4" y="32"/>
                        <a:pt x="4" y="32"/>
                      </a:cubicBezTo>
                      <a:cubicBezTo>
                        <a:pt x="5" y="36"/>
                        <a:pt x="6" y="39"/>
                        <a:pt x="8" y="42"/>
                      </a:cubicBezTo>
                      <a:cubicBezTo>
                        <a:pt x="5" y="45"/>
                        <a:pt x="5" y="45"/>
                        <a:pt x="5" y="45"/>
                      </a:cubicBezTo>
                      <a:cubicBezTo>
                        <a:pt x="11" y="51"/>
                        <a:pt x="11" y="51"/>
                        <a:pt x="11" y="51"/>
                      </a:cubicBezTo>
                      <a:cubicBezTo>
                        <a:pt x="14" y="48"/>
                        <a:pt x="14" y="48"/>
                        <a:pt x="14" y="48"/>
                      </a:cubicBezTo>
                      <a:cubicBezTo>
                        <a:pt x="17" y="50"/>
                        <a:pt x="20" y="51"/>
                        <a:pt x="24" y="52"/>
                      </a:cubicBezTo>
                      <a:cubicBezTo>
                        <a:pt x="24" y="56"/>
                        <a:pt x="24" y="56"/>
                        <a:pt x="24" y="56"/>
                      </a:cubicBezTo>
                      <a:cubicBezTo>
                        <a:pt x="32" y="56"/>
                        <a:pt x="32" y="56"/>
                        <a:pt x="32" y="56"/>
                      </a:cubicBezTo>
                      <a:cubicBezTo>
                        <a:pt x="32" y="52"/>
                        <a:pt x="32" y="52"/>
                        <a:pt x="32" y="52"/>
                      </a:cubicBezTo>
                      <a:cubicBezTo>
                        <a:pt x="36" y="51"/>
                        <a:pt x="39" y="50"/>
                        <a:pt x="42" y="48"/>
                      </a:cubicBezTo>
                      <a:cubicBezTo>
                        <a:pt x="45" y="51"/>
                        <a:pt x="45" y="51"/>
                        <a:pt x="45" y="51"/>
                      </a:cubicBezTo>
                      <a:cubicBezTo>
                        <a:pt x="51" y="45"/>
                        <a:pt x="51" y="45"/>
                        <a:pt x="51" y="45"/>
                      </a:cubicBezTo>
                      <a:cubicBezTo>
                        <a:pt x="48" y="42"/>
                        <a:pt x="48" y="42"/>
                        <a:pt x="48" y="42"/>
                      </a:cubicBezTo>
                      <a:cubicBezTo>
                        <a:pt x="50" y="39"/>
                        <a:pt x="51" y="36"/>
                        <a:pt x="52" y="32"/>
                      </a:cubicBezTo>
                      <a:cubicBezTo>
                        <a:pt x="56" y="32"/>
                        <a:pt x="56" y="32"/>
                        <a:pt x="56" y="32"/>
                      </a:cubicBezTo>
                      <a:cubicBezTo>
                        <a:pt x="56" y="24"/>
                        <a:pt x="56" y="24"/>
                        <a:pt x="56" y="24"/>
                      </a:cubicBezTo>
                      <a:lnTo>
                        <a:pt x="52" y="24"/>
                      </a:lnTo>
                      <a:close/>
                      <a:moveTo>
                        <a:pt x="28" y="44"/>
                      </a:moveTo>
                      <a:cubicBezTo>
                        <a:pt x="19" y="44"/>
                        <a:pt x="12" y="37"/>
                        <a:pt x="12" y="28"/>
                      </a:cubicBezTo>
                      <a:cubicBezTo>
                        <a:pt x="12" y="19"/>
                        <a:pt x="19" y="12"/>
                        <a:pt x="28" y="12"/>
                      </a:cubicBezTo>
                      <a:cubicBezTo>
                        <a:pt x="37" y="12"/>
                        <a:pt x="44" y="19"/>
                        <a:pt x="44" y="28"/>
                      </a:cubicBezTo>
                      <a:cubicBezTo>
                        <a:pt x="44" y="37"/>
                        <a:pt x="37" y="44"/>
                        <a:pt x="28" y="4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latinLnBrk="0">
                    <a:defRPr/>
                  </a:pPr>
                  <a:endParaRPr lang="en-US" kern="0">
                    <a:solidFill>
                      <a:sysClr val="windowText" lastClr="000000"/>
                    </a:solidFill>
                    <a:latin typeface="Segoe UI"/>
                  </a:endParaRPr>
                </a:p>
              </p:txBody>
            </p:sp>
            <p:sp>
              <p:nvSpPr>
                <p:cNvPr id="18" name="Freeform 6"/>
                <p:cNvSpPr>
                  <a:spLocks noEditPoints="1"/>
                </p:cNvSpPr>
                <p:nvPr/>
              </p:nvSpPr>
              <p:spPr bwMode="auto">
                <a:xfrm>
                  <a:off x="766" y="3573"/>
                  <a:ext cx="312" cy="312"/>
                </a:xfrm>
                <a:custGeom>
                  <a:avLst/>
                  <a:gdLst>
                    <a:gd name="T0" fmla="*/ 47 w 54"/>
                    <a:gd name="T1" fmla="*/ 14 h 54"/>
                    <a:gd name="T2" fmla="*/ 40 w 54"/>
                    <a:gd name="T3" fmla="*/ 7 h 54"/>
                    <a:gd name="T4" fmla="*/ 41 w 54"/>
                    <a:gd name="T5" fmla="*/ 3 h 54"/>
                    <a:gd name="T6" fmla="*/ 34 w 54"/>
                    <a:gd name="T7" fmla="*/ 0 h 54"/>
                    <a:gd name="T8" fmla="*/ 32 w 54"/>
                    <a:gd name="T9" fmla="*/ 4 h 54"/>
                    <a:gd name="T10" fmla="*/ 22 w 54"/>
                    <a:gd name="T11" fmla="*/ 4 h 54"/>
                    <a:gd name="T12" fmla="*/ 20 w 54"/>
                    <a:gd name="T13" fmla="*/ 0 h 54"/>
                    <a:gd name="T14" fmla="*/ 13 w 54"/>
                    <a:gd name="T15" fmla="*/ 3 h 54"/>
                    <a:gd name="T16" fmla="*/ 14 w 54"/>
                    <a:gd name="T17" fmla="*/ 7 h 54"/>
                    <a:gd name="T18" fmla="*/ 7 w 54"/>
                    <a:gd name="T19" fmla="*/ 14 h 54"/>
                    <a:gd name="T20" fmla="*/ 3 w 54"/>
                    <a:gd name="T21" fmla="*/ 13 h 54"/>
                    <a:gd name="T22" fmla="*/ 0 w 54"/>
                    <a:gd name="T23" fmla="*/ 20 h 54"/>
                    <a:gd name="T24" fmla="*/ 4 w 54"/>
                    <a:gd name="T25" fmla="*/ 22 h 54"/>
                    <a:gd name="T26" fmla="*/ 4 w 54"/>
                    <a:gd name="T27" fmla="*/ 32 h 54"/>
                    <a:gd name="T28" fmla="*/ 0 w 54"/>
                    <a:gd name="T29" fmla="*/ 34 h 54"/>
                    <a:gd name="T30" fmla="*/ 3 w 54"/>
                    <a:gd name="T31" fmla="*/ 41 h 54"/>
                    <a:gd name="T32" fmla="*/ 7 w 54"/>
                    <a:gd name="T33" fmla="*/ 40 h 54"/>
                    <a:gd name="T34" fmla="*/ 14 w 54"/>
                    <a:gd name="T35" fmla="*/ 47 h 54"/>
                    <a:gd name="T36" fmla="*/ 13 w 54"/>
                    <a:gd name="T37" fmla="*/ 51 h 54"/>
                    <a:gd name="T38" fmla="*/ 20 w 54"/>
                    <a:gd name="T39" fmla="*/ 54 h 54"/>
                    <a:gd name="T40" fmla="*/ 22 w 54"/>
                    <a:gd name="T41" fmla="*/ 50 h 54"/>
                    <a:gd name="T42" fmla="*/ 32 w 54"/>
                    <a:gd name="T43" fmla="*/ 50 h 54"/>
                    <a:gd name="T44" fmla="*/ 34 w 54"/>
                    <a:gd name="T45" fmla="*/ 54 h 54"/>
                    <a:gd name="T46" fmla="*/ 41 w 54"/>
                    <a:gd name="T47" fmla="*/ 51 h 54"/>
                    <a:gd name="T48" fmla="*/ 40 w 54"/>
                    <a:gd name="T49" fmla="*/ 47 h 54"/>
                    <a:gd name="T50" fmla="*/ 47 w 54"/>
                    <a:gd name="T51" fmla="*/ 40 h 54"/>
                    <a:gd name="T52" fmla="*/ 51 w 54"/>
                    <a:gd name="T53" fmla="*/ 41 h 54"/>
                    <a:gd name="T54" fmla="*/ 54 w 54"/>
                    <a:gd name="T55" fmla="*/ 34 h 54"/>
                    <a:gd name="T56" fmla="*/ 50 w 54"/>
                    <a:gd name="T57" fmla="*/ 32 h 54"/>
                    <a:gd name="T58" fmla="*/ 50 w 54"/>
                    <a:gd name="T59" fmla="*/ 22 h 54"/>
                    <a:gd name="T60" fmla="*/ 54 w 54"/>
                    <a:gd name="T61" fmla="*/ 20 h 54"/>
                    <a:gd name="T62" fmla="*/ 51 w 54"/>
                    <a:gd name="T63" fmla="*/ 13 h 54"/>
                    <a:gd name="T64" fmla="*/ 47 w 54"/>
                    <a:gd name="T65" fmla="*/ 14 h 54"/>
                    <a:gd name="T66" fmla="*/ 33 w 54"/>
                    <a:gd name="T67" fmla="*/ 42 h 54"/>
                    <a:gd name="T68" fmla="*/ 12 w 54"/>
                    <a:gd name="T69" fmla="*/ 33 h 54"/>
                    <a:gd name="T70" fmla="*/ 21 w 54"/>
                    <a:gd name="T71" fmla="*/ 12 h 54"/>
                    <a:gd name="T72" fmla="*/ 42 w 54"/>
                    <a:gd name="T73" fmla="*/ 21 h 54"/>
                    <a:gd name="T74" fmla="*/ 33 w 54"/>
                    <a:gd name="T75"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 h="54">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latinLnBrk="0">
                    <a:defRPr/>
                  </a:pPr>
                  <a:endParaRPr lang="en-US" kern="0">
                    <a:solidFill>
                      <a:sysClr val="windowText" lastClr="000000"/>
                    </a:solidFill>
                    <a:latin typeface="Segoe UI"/>
                  </a:endParaRPr>
                </a:p>
              </p:txBody>
            </p:sp>
          </p:grpSp>
          <p:sp>
            <p:nvSpPr>
              <p:cNvPr id="21" name="Oval 20"/>
              <p:cNvSpPr/>
              <p:nvPr/>
            </p:nvSpPr>
            <p:spPr bwMode="auto">
              <a:xfrm>
                <a:off x="1702592" y="5899333"/>
                <a:ext cx="410452" cy="410452"/>
              </a:xfrm>
              <a:prstGeom prst="ellipse">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latinLnBrk="0">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2" name="Oval 51"/>
              <p:cNvSpPr/>
              <p:nvPr/>
            </p:nvSpPr>
            <p:spPr bwMode="auto">
              <a:xfrm>
                <a:off x="2330555" y="6048393"/>
                <a:ext cx="447553" cy="447553"/>
              </a:xfrm>
              <a:prstGeom prst="ellipse">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latinLnBrk="0">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3" name="TextBox 22"/>
            <p:cNvSpPr txBox="1"/>
            <p:nvPr/>
          </p:nvSpPr>
          <p:spPr>
            <a:xfrm>
              <a:off x="1415867" y="5777408"/>
              <a:ext cx="880427" cy="683264"/>
            </a:xfrm>
            <a:prstGeom prst="rect">
              <a:avLst/>
            </a:prstGeom>
            <a:noFill/>
          </p:spPr>
          <p:txBody>
            <a:bodyPr wrap="square" lIns="182854" tIns="146284" rIns="182854" bIns="146284" rtlCol="0">
              <a:spAutoFit/>
            </a:bodyPr>
            <a:lstStyle/>
            <a:p>
              <a:pPr algn="ctr" defTabSz="914225" latinLnBrk="0">
                <a:lnSpc>
                  <a:spcPct val="90000"/>
                </a:lnSpc>
                <a:spcAft>
                  <a:spcPts val="600"/>
                </a:spcAft>
                <a:defRPr/>
              </a:pPr>
              <a:r>
                <a:rPr lang="en-US" sz="1400" b="1" kern="0" dirty="0">
                  <a:gradFill>
                    <a:gsLst>
                      <a:gs pos="2917">
                        <a:srgbClr val="FFFFFF"/>
                      </a:gs>
                      <a:gs pos="30000">
                        <a:srgbClr val="FFFFFF"/>
                      </a:gs>
                    </a:gsLst>
                    <a:lin ang="5400000" scaled="0"/>
                  </a:gradFill>
                  <a:latin typeface="Segoe UI"/>
                  <a:cs typeface="Segoe UI Semibold" panose="020B0702040204020203" pitchFamily="34" charset="0"/>
                </a:rPr>
                <a:t>GET A</a:t>
              </a:r>
              <a:br>
                <a:rPr lang="en-US" sz="1400" b="1" kern="0" dirty="0">
                  <a:gradFill>
                    <a:gsLst>
                      <a:gs pos="2917">
                        <a:srgbClr val="FFFFFF"/>
                      </a:gs>
                      <a:gs pos="30000">
                        <a:srgbClr val="FFFFFF"/>
                      </a:gs>
                    </a:gsLst>
                    <a:lin ang="5400000" scaled="0"/>
                  </a:gradFill>
                  <a:latin typeface="Segoe UI"/>
                  <a:cs typeface="Segoe UI Semibold" panose="020B0702040204020203" pitchFamily="34" charset="0"/>
                </a:rPr>
              </a:br>
              <a:r>
                <a:rPr lang="en-US" sz="1400" b="1" kern="0" dirty="0">
                  <a:gradFill>
                    <a:gsLst>
                      <a:gs pos="2917">
                        <a:srgbClr val="FFFFFF"/>
                      </a:gs>
                      <a:gs pos="30000">
                        <a:srgbClr val="FFFFFF"/>
                      </a:gs>
                    </a:gsLst>
                    <a:lin ang="5400000" scaled="0"/>
                  </a:gradFill>
                  <a:latin typeface="Segoe UI"/>
                  <a:cs typeface="Segoe UI Semibold" panose="020B0702040204020203" pitchFamily="34" charset="0"/>
                </a:rPr>
                <a:t> KEY</a:t>
              </a:r>
            </a:p>
          </p:txBody>
        </p:sp>
        <p:sp>
          <p:nvSpPr>
            <p:cNvPr id="53" name="TextBox 52"/>
            <p:cNvSpPr txBox="1"/>
            <p:nvPr/>
          </p:nvSpPr>
          <p:spPr>
            <a:xfrm>
              <a:off x="2105711" y="6093783"/>
              <a:ext cx="932157" cy="489365"/>
            </a:xfrm>
            <a:prstGeom prst="rect">
              <a:avLst/>
            </a:prstGeom>
            <a:noFill/>
          </p:spPr>
          <p:txBody>
            <a:bodyPr wrap="square" lIns="182854" tIns="146284" rIns="182854" bIns="146284" rtlCol="0">
              <a:spAutoFit/>
            </a:bodyPr>
            <a:lstStyle/>
            <a:p>
              <a:pPr algn="ctr" defTabSz="914225" latinLnBrk="0">
                <a:lnSpc>
                  <a:spcPct val="90000"/>
                </a:lnSpc>
                <a:spcAft>
                  <a:spcPts val="600"/>
                </a:spcAft>
                <a:defRPr/>
              </a:pPr>
              <a:r>
                <a:rPr lang="en-US" sz="1400" b="1" kern="0" dirty="0">
                  <a:gradFill>
                    <a:gsLst>
                      <a:gs pos="2917">
                        <a:srgbClr val="FFFFFF"/>
                      </a:gs>
                      <a:gs pos="30000">
                        <a:srgbClr val="FFFFFF"/>
                      </a:gs>
                    </a:gsLst>
                    <a:lin ang="5400000" scaled="0"/>
                  </a:gradFill>
                  <a:latin typeface="Segoe UI"/>
                  <a:cs typeface="Segoe UI Semibold" panose="020B0702040204020203" pitchFamily="34" charset="0"/>
                </a:rPr>
                <a:t>BUILD</a:t>
              </a:r>
            </a:p>
          </p:txBody>
        </p:sp>
      </p:grpSp>
      <p:sp>
        <p:nvSpPr>
          <p:cNvPr id="3" name="Rectangle 2"/>
          <p:cNvSpPr/>
          <p:nvPr/>
        </p:nvSpPr>
        <p:spPr bwMode="auto">
          <a:xfrm>
            <a:off x="865" y="5747094"/>
            <a:ext cx="11920448" cy="1192335"/>
          </a:xfrm>
          <a:prstGeom prst="rect">
            <a:avLst/>
          </a:prstGeom>
          <a:solidFill>
            <a:srgbClr val="EAEAEA">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latinLnBrk="0">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1" name="Title 1"/>
          <p:cNvSpPr>
            <a:spLocks noGrp="1"/>
          </p:cNvSpPr>
          <p:nvPr>
            <p:ph type="title"/>
          </p:nvPr>
        </p:nvSpPr>
        <p:spPr>
          <a:xfrm>
            <a:off x="269241" y="289958"/>
            <a:ext cx="11655840" cy="1794405"/>
          </a:xfrm>
        </p:spPr>
        <p:txBody>
          <a:bodyPr/>
          <a:lstStyle/>
          <a:p>
            <a:r>
              <a:rPr lang="en-US" sz="4800" dirty="0">
                <a:gradFill>
                  <a:gsLst>
                    <a:gs pos="1250">
                      <a:schemeClr val="bg1"/>
                    </a:gs>
                    <a:gs pos="100000">
                      <a:schemeClr val="bg1"/>
                    </a:gs>
                  </a:gsLst>
                  <a:lin ang="5400000" scaled="0"/>
                </a:gradFill>
              </a:rPr>
              <a:t>Why Microsoft </a:t>
            </a:r>
            <a:br>
              <a:rPr lang="en-US" sz="4800" dirty="0">
                <a:gradFill>
                  <a:gsLst>
                    <a:gs pos="1250">
                      <a:schemeClr val="bg1"/>
                    </a:gs>
                    <a:gs pos="100000">
                      <a:schemeClr val="bg1"/>
                    </a:gs>
                  </a:gsLst>
                  <a:lin ang="5400000" scaled="0"/>
                </a:gradFill>
              </a:rPr>
            </a:br>
            <a:r>
              <a:rPr lang="en-US" sz="4800" dirty="0">
                <a:gradFill>
                  <a:gsLst>
                    <a:gs pos="1250">
                      <a:schemeClr val="bg1"/>
                    </a:gs>
                    <a:gs pos="100000">
                      <a:schemeClr val="bg1"/>
                    </a:gs>
                  </a:gsLst>
                  <a:lin ang="5400000" scaled="0"/>
                </a:gradFill>
              </a:rPr>
              <a:t>Cognitive Services ?</a:t>
            </a:r>
          </a:p>
        </p:txBody>
      </p:sp>
    </p:spTree>
    <p:extLst>
      <p:ext uri="{BB962C8B-B14F-4D97-AF65-F5344CB8AC3E}">
        <p14:creationId xmlns:p14="http://schemas.microsoft.com/office/powerpoint/2010/main" val="4149453276"/>
      </p:ext>
    </p:extLst>
  </p:cSld>
  <p:clrMapOvr>
    <a:masterClrMapping/>
  </p:clrMapOvr>
  <mc:AlternateContent xmlns:mc="http://schemas.openxmlformats.org/markup-compatibility/2006" xmlns:p14="http://schemas.microsoft.com/office/powerpoint/2010/main">
    <mc:Choice Requires="p14">
      <p:transition p14:dur="0" advTm="299"/>
    </mc:Choice>
    <mc:Fallback xmlns="">
      <p:transition advTm="299"/>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ognitive Services</a:t>
            </a:r>
          </a:p>
        </p:txBody>
      </p:sp>
      <p:sp>
        <p:nvSpPr>
          <p:cNvPr id="15" name="Rectangle 14"/>
          <p:cNvSpPr>
            <a:spLocks/>
          </p:cNvSpPr>
          <p:nvPr/>
        </p:nvSpPr>
        <p:spPr bwMode="auto">
          <a:xfrm>
            <a:off x="7896753" y="1237280"/>
            <a:ext cx="3909563" cy="780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470" tIns="43734" rIns="87470" bIns="43734" numCol="1" spcCol="0" rtlCol="0" fromWordArt="0" anchor="ctr" anchorCtr="0" forceAA="0" compatLnSpc="1">
            <a:prstTxWarp prst="textNoShape">
              <a:avLst/>
            </a:prstTxWarp>
            <a:noAutofit/>
          </a:bodyPr>
          <a:lstStyle/>
          <a:p>
            <a:pPr algn="r" defTabSz="891460" latinLnBrk="0">
              <a:defRPr/>
            </a:pPr>
            <a:endParaRPr lang="en-US" sz="1730" b="1" kern="0">
              <a:solidFill>
                <a:srgbClr val="FFB900"/>
              </a:solidFill>
              <a:latin typeface="Segoe UI"/>
            </a:endParaRPr>
          </a:p>
        </p:txBody>
      </p:sp>
      <p:sp>
        <p:nvSpPr>
          <p:cNvPr id="16" name="Rectangle 15"/>
          <p:cNvSpPr>
            <a:spLocks/>
          </p:cNvSpPr>
          <p:nvPr/>
        </p:nvSpPr>
        <p:spPr bwMode="auto">
          <a:xfrm>
            <a:off x="7896753" y="1237280"/>
            <a:ext cx="3909563" cy="780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470" tIns="43734" rIns="87470" bIns="43734" numCol="1" spcCol="0" rtlCol="0" fromWordArt="0" anchor="ctr" anchorCtr="0" forceAA="0" compatLnSpc="1">
            <a:prstTxWarp prst="textNoShape">
              <a:avLst/>
            </a:prstTxWarp>
            <a:noAutofit/>
          </a:bodyPr>
          <a:lstStyle/>
          <a:p>
            <a:pPr algn="r" defTabSz="891460" latinLnBrk="0">
              <a:defRPr/>
            </a:pPr>
            <a:endParaRPr lang="en-US" sz="1730" b="1" kern="0">
              <a:solidFill>
                <a:srgbClr val="FFB900"/>
              </a:solidFill>
              <a:latin typeface="Segoe UI"/>
            </a:endParaRPr>
          </a:p>
        </p:txBody>
      </p:sp>
      <p:grpSp>
        <p:nvGrpSpPr>
          <p:cNvPr id="7" name="Group 6"/>
          <p:cNvGrpSpPr/>
          <p:nvPr/>
        </p:nvGrpSpPr>
        <p:grpSpPr>
          <a:xfrm>
            <a:off x="453952" y="3586513"/>
            <a:ext cx="2098974" cy="627407"/>
            <a:chOff x="6827777" y="4411662"/>
            <a:chExt cx="2459932" cy="533400"/>
          </a:xfrm>
          <a:solidFill>
            <a:schemeClr val="tx1"/>
          </a:solidFill>
        </p:grpSpPr>
        <p:sp>
          <p:nvSpPr>
            <p:cNvPr id="10" name="Flowchart: Process 8"/>
            <p:cNvSpPr/>
            <p:nvPr/>
          </p:nvSpPr>
          <p:spPr bwMode="auto">
            <a:xfrm>
              <a:off x="6827777" y="44116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9" name="Rectangle 8"/>
            <p:cNvSpPr/>
            <p:nvPr/>
          </p:nvSpPr>
          <p:spPr>
            <a:xfrm>
              <a:off x="6996044" y="4520801"/>
              <a:ext cx="2121554" cy="329012"/>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Emotion</a:t>
              </a:r>
            </a:p>
          </p:txBody>
        </p:sp>
      </p:grpSp>
      <p:grpSp>
        <p:nvGrpSpPr>
          <p:cNvPr id="12" name="Group 11"/>
          <p:cNvGrpSpPr/>
          <p:nvPr/>
        </p:nvGrpSpPr>
        <p:grpSpPr>
          <a:xfrm>
            <a:off x="2682513" y="3586513"/>
            <a:ext cx="2195928" cy="627407"/>
            <a:chOff x="9701909" y="5021262"/>
            <a:chExt cx="2459932" cy="533400"/>
          </a:xfrm>
          <a:solidFill>
            <a:schemeClr val="tx1"/>
          </a:solidFill>
        </p:grpSpPr>
        <p:sp>
          <p:nvSpPr>
            <p:cNvPr id="17" name="Flowchart: Process 8"/>
            <p:cNvSpPr/>
            <p:nvPr/>
          </p:nvSpPr>
          <p:spPr bwMode="auto">
            <a:xfrm>
              <a:off x="9701909" y="50212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4" name="Rectangle 13"/>
            <p:cNvSpPr/>
            <p:nvPr/>
          </p:nvSpPr>
          <p:spPr>
            <a:xfrm>
              <a:off x="9888747" y="5125889"/>
              <a:ext cx="2273093" cy="324146"/>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Speaker Recognition</a:t>
              </a:r>
            </a:p>
          </p:txBody>
        </p:sp>
      </p:grpSp>
      <p:grpSp>
        <p:nvGrpSpPr>
          <p:cNvPr id="19" name="Group 18"/>
          <p:cNvGrpSpPr/>
          <p:nvPr/>
        </p:nvGrpSpPr>
        <p:grpSpPr>
          <a:xfrm>
            <a:off x="2682512" y="4299874"/>
            <a:ext cx="2195928" cy="627407"/>
            <a:chOff x="9701909" y="5630862"/>
            <a:chExt cx="2459932" cy="533400"/>
          </a:xfrm>
          <a:solidFill>
            <a:schemeClr val="tx1"/>
          </a:solidFill>
        </p:grpSpPr>
        <p:sp>
          <p:nvSpPr>
            <p:cNvPr id="22" name="Flowchart: Process 8"/>
            <p:cNvSpPr/>
            <p:nvPr/>
          </p:nvSpPr>
          <p:spPr bwMode="auto">
            <a:xfrm>
              <a:off x="9701909" y="56308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1" name="Rectangle 20"/>
            <p:cNvSpPr/>
            <p:nvPr/>
          </p:nvSpPr>
          <p:spPr>
            <a:xfrm>
              <a:off x="9838466" y="5631889"/>
              <a:ext cx="2162814" cy="530950"/>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Speech</a:t>
              </a:r>
            </a:p>
          </p:txBody>
        </p:sp>
      </p:grpSp>
      <p:grpSp>
        <p:nvGrpSpPr>
          <p:cNvPr id="24" name="Group 23"/>
          <p:cNvGrpSpPr/>
          <p:nvPr/>
        </p:nvGrpSpPr>
        <p:grpSpPr>
          <a:xfrm>
            <a:off x="2677806" y="2873152"/>
            <a:ext cx="2199076" cy="627404"/>
            <a:chOff x="9701907" y="3192460"/>
            <a:chExt cx="2459932" cy="533400"/>
          </a:xfrm>
          <a:solidFill>
            <a:schemeClr val="tx1"/>
          </a:solidFill>
        </p:grpSpPr>
        <p:sp>
          <p:nvSpPr>
            <p:cNvPr id="27" name="Flowchart: Process 8"/>
            <p:cNvSpPr/>
            <p:nvPr/>
          </p:nvSpPr>
          <p:spPr bwMode="auto">
            <a:xfrm>
              <a:off x="9701907" y="3192460"/>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6" name="Rectangle 25"/>
            <p:cNvSpPr/>
            <p:nvPr/>
          </p:nvSpPr>
          <p:spPr>
            <a:xfrm>
              <a:off x="9836450" y="3268662"/>
              <a:ext cx="2321868" cy="388654"/>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Custom Recognition</a:t>
              </a:r>
            </a:p>
          </p:txBody>
        </p:sp>
      </p:grpSp>
      <p:grpSp>
        <p:nvGrpSpPr>
          <p:cNvPr id="29" name="Group 28"/>
          <p:cNvGrpSpPr/>
          <p:nvPr/>
        </p:nvGrpSpPr>
        <p:grpSpPr>
          <a:xfrm>
            <a:off x="453952" y="2873151"/>
            <a:ext cx="2099966" cy="627407"/>
            <a:chOff x="6827776" y="3192468"/>
            <a:chExt cx="2459933" cy="533401"/>
          </a:xfrm>
          <a:solidFill>
            <a:schemeClr val="tx1"/>
          </a:solidFill>
        </p:grpSpPr>
        <p:sp>
          <p:nvSpPr>
            <p:cNvPr id="32" name="Flowchart: Process 8"/>
            <p:cNvSpPr/>
            <p:nvPr/>
          </p:nvSpPr>
          <p:spPr bwMode="auto">
            <a:xfrm>
              <a:off x="6827776" y="3192468"/>
              <a:ext cx="2459933" cy="53340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1" name="Rectangle 30"/>
            <p:cNvSpPr/>
            <p:nvPr/>
          </p:nvSpPr>
          <p:spPr>
            <a:xfrm>
              <a:off x="6986793" y="3268665"/>
              <a:ext cx="2130806" cy="388654"/>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Computer Vision</a:t>
              </a:r>
            </a:p>
          </p:txBody>
        </p:sp>
      </p:grpSp>
      <p:grpSp>
        <p:nvGrpSpPr>
          <p:cNvPr id="34" name="Group 33"/>
          <p:cNvGrpSpPr/>
          <p:nvPr/>
        </p:nvGrpSpPr>
        <p:grpSpPr>
          <a:xfrm>
            <a:off x="453952" y="4299874"/>
            <a:ext cx="2101318" cy="627407"/>
            <a:chOff x="6827777" y="3802062"/>
            <a:chExt cx="2459932" cy="533400"/>
          </a:xfrm>
          <a:solidFill>
            <a:schemeClr val="tx1"/>
          </a:solidFill>
        </p:grpSpPr>
        <p:sp>
          <p:nvSpPr>
            <p:cNvPr id="37" name="Flowchart: Process 8"/>
            <p:cNvSpPr/>
            <p:nvPr/>
          </p:nvSpPr>
          <p:spPr bwMode="auto">
            <a:xfrm>
              <a:off x="6827777" y="38020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6" name="Rectangle 35"/>
            <p:cNvSpPr/>
            <p:nvPr/>
          </p:nvSpPr>
          <p:spPr>
            <a:xfrm>
              <a:off x="7014491" y="3892910"/>
              <a:ext cx="2103108" cy="388654"/>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Face</a:t>
              </a:r>
            </a:p>
          </p:txBody>
        </p:sp>
      </p:grpSp>
      <p:grpSp>
        <p:nvGrpSpPr>
          <p:cNvPr id="39" name="Group 38"/>
          <p:cNvGrpSpPr/>
          <p:nvPr/>
        </p:nvGrpSpPr>
        <p:grpSpPr>
          <a:xfrm>
            <a:off x="453952" y="5013236"/>
            <a:ext cx="2098975" cy="627407"/>
            <a:chOff x="6827777" y="3802062"/>
            <a:chExt cx="2459932" cy="533400"/>
          </a:xfrm>
          <a:solidFill>
            <a:schemeClr val="tx1"/>
          </a:solidFill>
        </p:grpSpPr>
        <p:sp>
          <p:nvSpPr>
            <p:cNvPr id="42" name="Flowchart: Process 8"/>
            <p:cNvSpPr/>
            <p:nvPr/>
          </p:nvSpPr>
          <p:spPr bwMode="auto">
            <a:xfrm>
              <a:off x="6827777" y="38020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41" name="Rectangle 40"/>
            <p:cNvSpPr/>
            <p:nvPr/>
          </p:nvSpPr>
          <p:spPr>
            <a:xfrm>
              <a:off x="6994719" y="3892910"/>
              <a:ext cx="2122880" cy="388654"/>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Video</a:t>
              </a:r>
            </a:p>
          </p:txBody>
        </p:sp>
      </p:grpSp>
      <p:pic>
        <p:nvPicPr>
          <p:cNvPr id="44" name="Picture 4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484653" y="2289264"/>
            <a:ext cx="296411" cy="359581"/>
          </a:xfrm>
          <a:prstGeom prst="rect">
            <a:avLst/>
          </a:prstGeom>
        </p:spPr>
      </p:pic>
      <p:sp>
        <p:nvSpPr>
          <p:cNvPr id="45" name="Right Bracket 44"/>
          <p:cNvSpPr/>
          <p:nvPr/>
        </p:nvSpPr>
        <p:spPr>
          <a:xfrm rot="16200000">
            <a:off x="5936439" y="-3734799"/>
            <a:ext cx="209908" cy="11578822"/>
          </a:xfrm>
          <a:prstGeom prst="rightBracket">
            <a:avLst>
              <a:gd name="adj" fmla="val 78933"/>
            </a:avLst>
          </a:prstGeom>
          <a:ln w="28575"/>
        </p:spPr>
        <p:style>
          <a:lnRef idx="1">
            <a:schemeClr val="dk1"/>
          </a:lnRef>
          <a:fillRef idx="0">
            <a:schemeClr val="dk1"/>
          </a:fillRef>
          <a:effectRef idx="0">
            <a:schemeClr val="dk1"/>
          </a:effectRef>
          <a:fontRef idx="minor">
            <a:schemeClr val="tx1"/>
          </a:fontRef>
        </p:style>
        <p:txBody>
          <a:bodyPr rtlCol="0" anchor="ctr"/>
          <a:lstStyle/>
          <a:p>
            <a:pPr algn="ctr" defTabSz="914049" latinLnBrk="0">
              <a:defRPr/>
            </a:pPr>
            <a:endParaRPr lang="en-US" kern="0">
              <a:solidFill>
                <a:prstClr val="black"/>
              </a:solidFill>
              <a:latin typeface="Segoe UI"/>
            </a:endParaRPr>
          </a:p>
        </p:txBody>
      </p:sp>
      <p:sp>
        <p:nvSpPr>
          <p:cNvPr id="46" name="Rectangle 45"/>
          <p:cNvSpPr/>
          <p:nvPr/>
        </p:nvSpPr>
        <p:spPr>
          <a:xfrm>
            <a:off x="269241" y="1302646"/>
            <a:ext cx="11655840" cy="557611"/>
          </a:xfrm>
          <a:prstGeom prst="rect">
            <a:avLst/>
          </a:prstGeom>
          <a:solidFill>
            <a:schemeClr val="tx1"/>
          </a:solidFill>
          <a:ln w="25400" cap="flat" cmpd="sng" algn="ctr">
            <a:noFill/>
            <a:prstDash val="solid"/>
          </a:ln>
          <a:effectLst/>
        </p:spPr>
        <p:txBody>
          <a:bodyPr lIns="116970" tIns="58484" rIns="116970" bIns="5848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78559">
              <a:defRPr/>
            </a:pPr>
            <a:r>
              <a:rPr lang="en-US" sz="3333" b="1" kern="0" dirty="0">
                <a:solidFill>
                  <a:srgbClr val="505050"/>
                </a:solidFill>
                <a:latin typeface="Segoe UI Light"/>
              </a:rPr>
              <a:t>microsoft.com/cognitive</a:t>
            </a:r>
          </a:p>
        </p:txBody>
      </p:sp>
      <p:grpSp>
        <p:nvGrpSpPr>
          <p:cNvPr id="48" name="Group 47"/>
          <p:cNvGrpSpPr/>
          <p:nvPr/>
        </p:nvGrpSpPr>
        <p:grpSpPr>
          <a:xfrm>
            <a:off x="9616294" y="2169084"/>
            <a:ext cx="2178717" cy="627408"/>
            <a:chOff x="803519" y="1881281"/>
            <a:chExt cx="2222721" cy="640080"/>
          </a:xfrm>
        </p:grpSpPr>
        <p:sp>
          <p:nvSpPr>
            <p:cNvPr id="50" name="Rectangle 49"/>
            <p:cNvSpPr/>
            <p:nvPr/>
          </p:nvSpPr>
          <p:spPr>
            <a:xfrm>
              <a:off x="803519" y="1881281"/>
              <a:ext cx="2222721" cy="640080"/>
            </a:xfrm>
            <a:prstGeom prst="rect">
              <a:avLst/>
            </a:prstGeom>
            <a:solidFill>
              <a:srgbClr val="009580"/>
            </a:solidFill>
            <a:ln w="9525" cap="flat" cmpd="sng" algn="ctr">
              <a:noFill/>
              <a:prstDash val="solid"/>
            </a:ln>
            <a:effectLst/>
          </p:spPr>
          <p:txBody>
            <a:bodyPr lIns="116954" tIns="58475" rIns="116954" bIns="58475"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78390">
                <a:defRPr/>
              </a:pPr>
              <a:endParaRPr lang="en-US" sz="1765" kern="0" dirty="0">
                <a:gradFill>
                  <a:gsLst>
                    <a:gs pos="0">
                      <a:srgbClr val="FFFFFF"/>
                    </a:gs>
                    <a:gs pos="100000">
                      <a:srgbClr val="FFFFFF"/>
                    </a:gs>
                  </a:gsLst>
                  <a:lin ang="5400000" scaled="0"/>
                </a:gradFill>
                <a:latin typeface="Segoe UI Light"/>
              </a:endParaRPr>
            </a:p>
          </p:txBody>
        </p:sp>
        <p:sp>
          <p:nvSpPr>
            <p:cNvPr id="51" name="TextBox 50"/>
            <p:cNvSpPr txBox="1"/>
            <p:nvPr/>
          </p:nvSpPr>
          <p:spPr>
            <a:xfrm>
              <a:off x="1202293" y="1886159"/>
              <a:ext cx="1402359" cy="627912"/>
            </a:xfrm>
            <a:prstGeom prst="rect">
              <a:avLst/>
            </a:prstGeom>
            <a:solidFill>
              <a:srgbClr val="009580"/>
            </a:solidFill>
            <a:ln>
              <a:noFill/>
            </a:ln>
          </p:spPr>
          <p:txBody>
            <a:bodyPr wrap="square" lIns="179259" tIns="143407" rIns="179259" bIns="143407" rtlCol="0" anchor="ctr">
              <a:spAutoFit/>
            </a:bodyPr>
            <a:lstStyle/>
            <a:p>
              <a:pPr defTabSz="896386" latinLnBrk="0">
                <a:lnSpc>
                  <a:spcPct val="90000"/>
                </a:lnSpc>
                <a:spcAft>
                  <a:spcPts val="588"/>
                </a:spcAft>
                <a:defRPr/>
              </a:pPr>
              <a:r>
                <a:rPr lang="en-US" sz="2353" kern="0" dirty="0">
                  <a:gradFill>
                    <a:gsLst>
                      <a:gs pos="2917">
                        <a:srgbClr val="FFFFFF"/>
                      </a:gs>
                      <a:gs pos="30000">
                        <a:srgbClr val="FFFFFF"/>
                      </a:gs>
                    </a:gsLst>
                    <a:lin ang="5400000" scaled="0"/>
                  </a:gradFill>
                  <a:latin typeface="Segoe UI Light"/>
                </a:rPr>
                <a:t>Search</a:t>
              </a:r>
            </a:p>
          </p:txBody>
        </p:sp>
      </p:grpSp>
      <p:grpSp>
        <p:nvGrpSpPr>
          <p:cNvPr id="54" name="Group 53"/>
          <p:cNvGrpSpPr/>
          <p:nvPr/>
        </p:nvGrpSpPr>
        <p:grpSpPr>
          <a:xfrm>
            <a:off x="2682462" y="2162051"/>
            <a:ext cx="2215536" cy="627408"/>
            <a:chOff x="803519" y="1881281"/>
            <a:chExt cx="2227717" cy="640080"/>
          </a:xfrm>
        </p:grpSpPr>
        <p:sp>
          <p:nvSpPr>
            <p:cNvPr id="57" name="Rectangle 56"/>
            <p:cNvSpPr/>
            <p:nvPr/>
          </p:nvSpPr>
          <p:spPr>
            <a:xfrm>
              <a:off x="803519" y="1881281"/>
              <a:ext cx="2227717" cy="640080"/>
            </a:xfrm>
            <a:prstGeom prst="rect">
              <a:avLst/>
            </a:prstGeom>
            <a:solidFill>
              <a:srgbClr val="009580"/>
            </a:solidFill>
            <a:ln w="9525" cap="flat" cmpd="sng" algn="ctr">
              <a:noFill/>
              <a:prstDash val="solid"/>
            </a:ln>
            <a:effectLst/>
          </p:spPr>
          <p:txBody>
            <a:bodyPr lIns="116954" tIns="58475" rIns="116954" bIns="58475"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78390">
                <a:defRPr/>
              </a:pPr>
              <a:endParaRPr lang="en-US" sz="1765" kern="0" dirty="0">
                <a:gradFill>
                  <a:gsLst>
                    <a:gs pos="0">
                      <a:srgbClr val="FFFFFF"/>
                    </a:gs>
                    <a:gs pos="100000">
                      <a:srgbClr val="FFFFFF"/>
                    </a:gs>
                  </a:gsLst>
                  <a:lin ang="5400000" scaled="0"/>
                </a:gradFill>
                <a:latin typeface="Segoe UI Light"/>
              </a:endParaRPr>
            </a:p>
          </p:txBody>
        </p:sp>
        <p:sp>
          <p:nvSpPr>
            <p:cNvPr id="58" name="TextBox 57"/>
            <p:cNvSpPr txBox="1"/>
            <p:nvPr/>
          </p:nvSpPr>
          <p:spPr>
            <a:xfrm>
              <a:off x="1213136" y="1886159"/>
              <a:ext cx="1533417" cy="627912"/>
            </a:xfrm>
            <a:prstGeom prst="rect">
              <a:avLst/>
            </a:prstGeom>
            <a:solidFill>
              <a:srgbClr val="009580"/>
            </a:solidFill>
            <a:ln>
              <a:noFill/>
            </a:ln>
          </p:spPr>
          <p:txBody>
            <a:bodyPr wrap="square" lIns="179259" tIns="143407" rIns="179259" bIns="143407" rtlCol="0" anchor="ctr">
              <a:spAutoFit/>
            </a:bodyPr>
            <a:lstStyle/>
            <a:p>
              <a:pPr defTabSz="896386" latinLnBrk="0">
                <a:lnSpc>
                  <a:spcPct val="90000"/>
                </a:lnSpc>
                <a:spcAft>
                  <a:spcPts val="588"/>
                </a:spcAft>
                <a:defRPr/>
              </a:pPr>
              <a:r>
                <a:rPr lang="en-US" sz="2353" kern="0" dirty="0">
                  <a:gradFill>
                    <a:gsLst>
                      <a:gs pos="2917">
                        <a:srgbClr val="FFFFFF"/>
                      </a:gs>
                      <a:gs pos="30000">
                        <a:srgbClr val="FFFFFF"/>
                      </a:gs>
                    </a:gsLst>
                    <a:lin ang="5400000" scaled="0"/>
                  </a:gradFill>
                  <a:latin typeface="Segoe UI Light"/>
                </a:rPr>
                <a:t>Speech</a:t>
              </a:r>
            </a:p>
          </p:txBody>
        </p:sp>
      </p:grpSp>
      <p:grpSp>
        <p:nvGrpSpPr>
          <p:cNvPr id="61" name="Group 60"/>
          <p:cNvGrpSpPr/>
          <p:nvPr/>
        </p:nvGrpSpPr>
        <p:grpSpPr>
          <a:xfrm>
            <a:off x="4994619" y="2170267"/>
            <a:ext cx="2185876" cy="627408"/>
            <a:chOff x="803520" y="1881281"/>
            <a:chExt cx="2230024" cy="640080"/>
          </a:xfrm>
        </p:grpSpPr>
        <p:sp>
          <p:nvSpPr>
            <p:cNvPr id="63" name="Rectangle 62"/>
            <p:cNvSpPr/>
            <p:nvPr/>
          </p:nvSpPr>
          <p:spPr>
            <a:xfrm>
              <a:off x="803520" y="1881281"/>
              <a:ext cx="2230024" cy="640080"/>
            </a:xfrm>
            <a:prstGeom prst="rect">
              <a:avLst/>
            </a:prstGeom>
            <a:solidFill>
              <a:srgbClr val="009580"/>
            </a:solidFill>
            <a:ln w="9525" cap="flat" cmpd="sng" algn="ctr">
              <a:noFill/>
              <a:prstDash val="solid"/>
            </a:ln>
            <a:effectLst/>
          </p:spPr>
          <p:txBody>
            <a:bodyPr lIns="116954" tIns="58475" rIns="116954" bIns="58475"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78390">
                <a:defRPr/>
              </a:pPr>
              <a:endParaRPr lang="en-US" sz="1765" kern="0" dirty="0">
                <a:gradFill>
                  <a:gsLst>
                    <a:gs pos="0">
                      <a:srgbClr val="FFFFFF"/>
                    </a:gs>
                    <a:gs pos="100000">
                      <a:srgbClr val="FFFFFF"/>
                    </a:gs>
                  </a:gsLst>
                  <a:lin ang="5400000" scaled="0"/>
                </a:gradFill>
                <a:latin typeface="Segoe UI Light"/>
              </a:endParaRPr>
            </a:p>
          </p:txBody>
        </p:sp>
        <p:sp>
          <p:nvSpPr>
            <p:cNvPr id="64" name="TextBox 63"/>
            <p:cNvSpPr txBox="1"/>
            <p:nvPr/>
          </p:nvSpPr>
          <p:spPr>
            <a:xfrm>
              <a:off x="1121106" y="1886159"/>
              <a:ext cx="1702127" cy="627912"/>
            </a:xfrm>
            <a:prstGeom prst="rect">
              <a:avLst/>
            </a:prstGeom>
            <a:solidFill>
              <a:srgbClr val="009580"/>
            </a:solidFill>
            <a:ln>
              <a:noFill/>
            </a:ln>
          </p:spPr>
          <p:txBody>
            <a:bodyPr wrap="square" lIns="179259" tIns="143407" rIns="179259" bIns="143407" rtlCol="0" anchor="ctr">
              <a:spAutoFit/>
            </a:bodyPr>
            <a:lstStyle/>
            <a:p>
              <a:pPr defTabSz="896386" latinLnBrk="0">
                <a:lnSpc>
                  <a:spcPct val="90000"/>
                </a:lnSpc>
                <a:spcAft>
                  <a:spcPts val="588"/>
                </a:spcAft>
                <a:defRPr/>
              </a:pPr>
              <a:r>
                <a:rPr lang="en-US" sz="2353" kern="0" dirty="0">
                  <a:gradFill>
                    <a:gsLst>
                      <a:gs pos="2917">
                        <a:srgbClr val="FFFFFF"/>
                      </a:gs>
                      <a:gs pos="30000">
                        <a:srgbClr val="FFFFFF"/>
                      </a:gs>
                    </a:gsLst>
                    <a:lin ang="5400000" scaled="0"/>
                  </a:gradFill>
                  <a:latin typeface="Segoe UI Light"/>
                </a:rPr>
                <a:t>Language</a:t>
              </a:r>
            </a:p>
          </p:txBody>
        </p:sp>
      </p:grpSp>
      <p:grpSp>
        <p:nvGrpSpPr>
          <p:cNvPr id="66" name="Group 65"/>
          <p:cNvGrpSpPr/>
          <p:nvPr/>
        </p:nvGrpSpPr>
        <p:grpSpPr>
          <a:xfrm>
            <a:off x="7309035" y="2169084"/>
            <a:ext cx="2178718" cy="627408"/>
            <a:chOff x="803520" y="1881281"/>
            <a:chExt cx="2222721" cy="640080"/>
          </a:xfrm>
        </p:grpSpPr>
        <p:sp>
          <p:nvSpPr>
            <p:cNvPr id="68" name="Rectangle 67"/>
            <p:cNvSpPr/>
            <p:nvPr/>
          </p:nvSpPr>
          <p:spPr>
            <a:xfrm>
              <a:off x="803520" y="1881281"/>
              <a:ext cx="2222721" cy="640080"/>
            </a:xfrm>
            <a:prstGeom prst="rect">
              <a:avLst/>
            </a:prstGeom>
            <a:solidFill>
              <a:srgbClr val="009580"/>
            </a:solidFill>
            <a:ln w="9525" cap="flat" cmpd="sng" algn="ctr">
              <a:noFill/>
              <a:prstDash val="solid"/>
            </a:ln>
            <a:effectLst/>
          </p:spPr>
          <p:txBody>
            <a:bodyPr lIns="116954" tIns="58475" rIns="116954" bIns="58475"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78390">
                <a:defRPr/>
              </a:pPr>
              <a:endParaRPr lang="en-US" sz="1765" kern="0" dirty="0">
                <a:gradFill>
                  <a:gsLst>
                    <a:gs pos="0">
                      <a:srgbClr val="FFFFFF"/>
                    </a:gs>
                    <a:gs pos="100000">
                      <a:srgbClr val="FFFFFF"/>
                    </a:gs>
                  </a:gsLst>
                  <a:lin ang="5400000" scaled="0"/>
                </a:gradFill>
                <a:latin typeface="Segoe UI Light"/>
              </a:endParaRPr>
            </a:p>
          </p:txBody>
        </p:sp>
        <p:sp>
          <p:nvSpPr>
            <p:cNvPr id="69" name="TextBox 68"/>
            <p:cNvSpPr txBox="1"/>
            <p:nvPr/>
          </p:nvSpPr>
          <p:spPr>
            <a:xfrm>
              <a:off x="1147970" y="1886159"/>
              <a:ext cx="1824157" cy="627912"/>
            </a:xfrm>
            <a:prstGeom prst="rect">
              <a:avLst/>
            </a:prstGeom>
            <a:solidFill>
              <a:srgbClr val="009580"/>
            </a:solidFill>
            <a:ln>
              <a:noFill/>
            </a:ln>
          </p:spPr>
          <p:txBody>
            <a:bodyPr wrap="square" lIns="179259" tIns="143407" rIns="179259" bIns="143407" rtlCol="0" anchor="ctr">
              <a:spAutoFit/>
            </a:bodyPr>
            <a:lstStyle/>
            <a:p>
              <a:pPr defTabSz="896386" latinLnBrk="0">
                <a:lnSpc>
                  <a:spcPct val="90000"/>
                </a:lnSpc>
                <a:spcAft>
                  <a:spcPts val="588"/>
                </a:spcAft>
                <a:defRPr/>
              </a:pPr>
              <a:r>
                <a:rPr lang="en-US" sz="2353" kern="0" dirty="0">
                  <a:gradFill>
                    <a:gsLst>
                      <a:gs pos="2917">
                        <a:srgbClr val="FFFFFF"/>
                      </a:gs>
                      <a:gs pos="30000">
                        <a:srgbClr val="FFFFFF"/>
                      </a:gs>
                    </a:gsLst>
                    <a:lin ang="5400000" scaled="0"/>
                  </a:gradFill>
                  <a:latin typeface="Segoe UI Light"/>
                </a:rPr>
                <a:t>Knowledge</a:t>
              </a:r>
            </a:p>
          </p:txBody>
        </p:sp>
      </p:grpSp>
      <p:grpSp>
        <p:nvGrpSpPr>
          <p:cNvPr id="71" name="Group 70"/>
          <p:cNvGrpSpPr/>
          <p:nvPr/>
        </p:nvGrpSpPr>
        <p:grpSpPr>
          <a:xfrm>
            <a:off x="453952" y="2159789"/>
            <a:ext cx="2099968" cy="627408"/>
            <a:chOff x="803520" y="1881281"/>
            <a:chExt cx="2219313" cy="640080"/>
          </a:xfrm>
        </p:grpSpPr>
        <p:sp>
          <p:nvSpPr>
            <p:cNvPr id="73" name="Rectangle 72"/>
            <p:cNvSpPr/>
            <p:nvPr/>
          </p:nvSpPr>
          <p:spPr>
            <a:xfrm>
              <a:off x="803520" y="1881281"/>
              <a:ext cx="2219313" cy="640080"/>
            </a:xfrm>
            <a:prstGeom prst="rect">
              <a:avLst/>
            </a:prstGeom>
            <a:solidFill>
              <a:srgbClr val="009580"/>
            </a:solidFill>
            <a:ln w="9525" cap="flat" cmpd="sng" algn="ctr">
              <a:noFill/>
              <a:prstDash val="solid"/>
            </a:ln>
            <a:effectLst/>
          </p:spPr>
          <p:txBody>
            <a:bodyPr lIns="116954" tIns="58475" rIns="116954" bIns="58475"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78390">
                <a:defRPr/>
              </a:pPr>
              <a:endParaRPr lang="en-US" sz="1765" kern="0" dirty="0">
                <a:gradFill>
                  <a:gsLst>
                    <a:gs pos="0">
                      <a:srgbClr val="FFFFFF"/>
                    </a:gs>
                    <a:gs pos="100000">
                      <a:srgbClr val="FFFFFF"/>
                    </a:gs>
                  </a:gsLst>
                  <a:lin ang="5400000" scaled="0"/>
                </a:gradFill>
                <a:latin typeface="Segoe UI Light"/>
              </a:endParaRPr>
            </a:p>
          </p:txBody>
        </p:sp>
        <p:sp>
          <p:nvSpPr>
            <p:cNvPr id="74" name="TextBox 73"/>
            <p:cNvSpPr txBox="1"/>
            <p:nvPr/>
          </p:nvSpPr>
          <p:spPr>
            <a:xfrm>
              <a:off x="1227725" y="1886159"/>
              <a:ext cx="1177272" cy="627911"/>
            </a:xfrm>
            <a:prstGeom prst="rect">
              <a:avLst/>
            </a:prstGeom>
            <a:noFill/>
            <a:ln>
              <a:noFill/>
            </a:ln>
          </p:spPr>
          <p:txBody>
            <a:bodyPr wrap="square" lIns="179259" tIns="143407" rIns="179259" bIns="143407" rtlCol="0" anchor="ctr">
              <a:spAutoFit/>
            </a:bodyPr>
            <a:lstStyle/>
            <a:p>
              <a:pPr defTabSz="896386" latinLnBrk="0">
                <a:lnSpc>
                  <a:spcPct val="90000"/>
                </a:lnSpc>
                <a:spcAft>
                  <a:spcPts val="588"/>
                </a:spcAft>
                <a:defRPr/>
              </a:pPr>
              <a:r>
                <a:rPr lang="en-US" sz="2353" kern="0" dirty="0">
                  <a:gradFill>
                    <a:gsLst>
                      <a:gs pos="2917">
                        <a:srgbClr val="FFFFFF"/>
                      </a:gs>
                      <a:gs pos="30000">
                        <a:srgbClr val="FFFFFF"/>
                      </a:gs>
                    </a:gsLst>
                    <a:lin ang="5400000" scaled="0"/>
                  </a:gradFill>
                  <a:latin typeface="Segoe UI Light"/>
                </a:rPr>
                <a:t>Vision</a:t>
              </a:r>
            </a:p>
          </p:txBody>
        </p:sp>
      </p:grpSp>
      <p:grpSp>
        <p:nvGrpSpPr>
          <p:cNvPr id="75" name="Group 74"/>
          <p:cNvGrpSpPr/>
          <p:nvPr/>
        </p:nvGrpSpPr>
        <p:grpSpPr>
          <a:xfrm>
            <a:off x="4993839" y="3586513"/>
            <a:ext cx="2171620" cy="627407"/>
            <a:chOff x="9701909" y="5021262"/>
            <a:chExt cx="2459932" cy="533400"/>
          </a:xfrm>
          <a:solidFill>
            <a:schemeClr val="tx1"/>
          </a:solidFill>
        </p:grpSpPr>
        <p:sp>
          <p:nvSpPr>
            <p:cNvPr id="78" name="Flowchart: Process 8"/>
            <p:cNvSpPr/>
            <p:nvPr/>
          </p:nvSpPr>
          <p:spPr bwMode="auto">
            <a:xfrm>
              <a:off x="9701909" y="50212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7" name="Rectangle 76"/>
            <p:cNvSpPr/>
            <p:nvPr/>
          </p:nvSpPr>
          <p:spPr>
            <a:xfrm>
              <a:off x="9793736" y="5125889"/>
              <a:ext cx="2211413" cy="324146"/>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Linguistic Analysis</a:t>
              </a:r>
            </a:p>
          </p:txBody>
        </p:sp>
      </p:grpSp>
      <p:grpSp>
        <p:nvGrpSpPr>
          <p:cNvPr id="80" name="Group 79"/>
          <p:cNvGrpSpPr/>
          <p:nvPr/>
        </p:nvGrpSpPr>
        <p:grpSpPr>
          <a:xfrm>
            <a:off x="4979992" y="4299874"/>
            <a:ext cx="2171625" cy="627407"/>
            <a:chOff x="9701909" y="5630862"/>
            <a:chExt cx="2459932" cy="533400"/>
          </a:xfrm>
          <a:solidFill>
            <a:schemeClr val="tx1"/>
          </a:solidFill>
        </p:grpSpPr>
        <p:sp>
          <p:nvSpPr>
            <p:cNvPr id="83" name="Flowchart: Process 8"/>
            <p:cNvSpPr/>
            <p:nvPr/>
          </p:nvSpPr>
          <p:spPr bwMode="auto">
            <a:xfrm>
              <a:off x="9701909" y="56308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82" name="Rectangle 81"/>
            <p:cNvSpPr/>
            <p:nvPr/>
          </p:nvSpPr>
          <p:spPr>
            <a:xfrm>
              <a:off x="9795160" y="5631889"/>
              <a:ext cx="2354349" cy="530950"/>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Language Understanding</a:t>
              </a:r>
            </a:p>
          </p:txBody>
        </p:sp>
      </p:grpSp>
      <p:grpSp>
        <p:nvGrpSpPr>
          <p:cNvPr id="85" name="Group 84"/>
          <p:cNvGrpSpPr/>
          <p:nvPr/>
        </p:nvGrpSpPr>
        <p:grpSpPr>
          <a:xfrm>
            <a:off x="5000770" y="2873152"/>
            <a:ext cx="2172490" cy="627404"/>
            <a:chOff x="9701907" y="3192460"/>
            <a:chExt cx="2459932" cy="533400"/>
          </a:xfrm>
          <a:solidFill>
            <a:schemeClr val="tx1"/>
          </a:solidFill>
        </p:grpSpPr>
        <p:sp>
          <p:nvSpPr>
            <p:cNvPr id="88" name="Flowchart: Process 8"/>
            <p:cNvSpPr/>
            <p:nvPr/>
          </p:nvSpPr>
          <p:spPr bwMode="auto">
            <a:xfrm>
              <a:off x="9701907" y="3192460"/>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87" name="Rectangle 86"/>
            <p:cNvSpPr/>
            <p:nvPr/>
          </p:nvSpPr>
          <p:spPr>
            <a:xfrm>
              <a:off x="9836196" y="3268662"/>
              <a:ext cx="2325642" cy="388654"/>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Bing Spell Check</a:t>
              </a:r>
            </a:p>
          </p:txBody>
        </p:sp>
      </p:grpSp>
      <p:grpSp>
        <p:nvGrpSpPr>
          <p:cNvPr id="90" name="Group 89"/>
          <p:cNvGrpSpPr/>
          <p:nvPr/>
        </p:nvGrpSpPr>
        <p:grpSpPr>
          <a:xfrm>
            <a:off x="7320592" y="3586513"/>
            <a:ext cx="2171546" cy="627407"/>
            <a:chOff x="9701909" y="5021262"/>
            <a:chExt cx="2459932" cy="533400"/>
          </a:xfrm>
          <a:solidFill>
            <a:schemeClr val="tx1"/>
          </a:solidFill>
        </p:grpSpPr>
        <p:sp>
          <p:nvSpPr>
            <p:cNvPr id="93" name="Flowchart: Process 8"/>
            <p:cNvSpPr/>
            <p:nvPr/>
          </p:nvSpPr>
          <p:spPr bwMode="auto">
            <a:xfrm>
              <a:off x="9701909" y="50212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92" name="Rectangle 91"/>
            <p:cNvSpPr/>
            <p:nvPr/>
          </p:nvSpPr>
          <p:spPr>
            <a:xfrm>
              <a:off x="9869331" y="5125889"/>
              <a:ext cx="2143840" cy="324146"/>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Entity Linking</a:t>
              </a:r>
            </a:p>
          </p:txBody>
        </p:sp>
      </p:grpSp>
      <p:grpSp>
        <p:nvGrpSpPr>
          <p:cNvPr id="95" name="Group 94"/>
          <p:cNvGrpSpPr/>
          <p:nvPr/>
        </p:nvGrpSpPr>
        <p:grpSpPr>
          <a:xfrm>
            <a:off x="7312722" y="4299874"/>
            <a:ext cx="2179416" cy="627407"/>
            <a:chOff x="9701909" y="5630862"/>
            <a:chExt cx="2459932" cy="533400"/>
          </a:xfrm>
          <a:solidFill>
            <a:schemeClr val="tx1"/>
          </a:solidFill>
        </p:grpSpPr>
        <p:sp>
          <p:nvSpPr>
            <p:cNvPr id="98" name="Flowchart: Process 8"/>
            <p:cNvSpPr/>
            <p:nvPr/>
          </p:nvSpPr>
          <p:spPr bwMode="auto">
            <a:xfrm>
              <a:off x="9701909" y="56308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97" name="Rectangle 96"/>
            <p:cNvSpPr/>
            <p:nvPr/>
          </p:nvSpPr>
          <p:spPr>
            <a:xfrm>
              <a:off x="9870712" y="5631889"/>
              <a:ext cx="2130568" cy="530950"/>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Knowledge Exploration</a:t>
              </a:r>
            </a:p>
          </p:txBody>
        </p:sp>
      </p:grpSp>
      <p:grpSp>
        <p:nvGrpSpPr>
          <p:cNvPr id="100" name="Group 99"/>
          <p:cNvGrpSpPr/>
          <p:nvPr/>
        </p:nvGrpSpPr>
        <p:grpSpPr>
          <a:xfrm>
            <a:off x="7297147" y="2873152"/>
            <a:ext cx="2182436" cy="627404"/>
            <a:chOff x="9701907" y="3192460"/>
            <a:chExt cx="2459932" cy="533400"/>
          </a:xfrm>
          <a:solidFill>
            <a:schemeClr val="tx1"/>
          </a:solidFill>
        </p:grpSpPr>
        <p:sp>
          <p:nvSpPr>
            <p:cNvPr id="103" name="Flowchart: Process 8"/>
            <p:cNvSpPr/>
            <p:nvPr/>
          </p:nvSpPr>
          <p:spPr bwMode="auto">
            <a:xfrm>
              <a:off x="9701907" y="3192460"/>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02" name="Rectangle 101"/>
            <p:cNvSpPr/>
            <p:nvPr/>
          </p:nvSpPr>
          <p:spPr>
            <a:xfrm>
              <a:off x="9857784" y="3268662"/>
              <a:ext cx="2143840" cy="388654"/>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Academic Knowledge </a:t>
              </a:r>
            </a:p>
          </p:txBody>
        </p:sp>
      </p:grpSp>
      <p:grpSp>
        <p:nvGrpSpPr>
          <p:cNvPr id="105" name="Group 104"/>
          <p:cNvGrpSpPr/>
          <p:nvPr/>
        </p:nvGrpSpPr>
        <p:grpSpPr>
          <a:xfrm>
            <a:off x="9603470" y="3586513"/>
            <a:ext cx="2175914" cy="627407"/>
            <a:chOff x="9701909" y="5021262"/>
            <a:chExt cx="2459932" cy="533400"/>
          </a:xfrm>
          <a:solidFill>
            <a:schemeClr val="tx1"/>
          </a:solidFill>
        </p:grpSpPr>
        <p:sp>
          <p:nvSpPr>
            <p:cNvPr id="108" name="Flowchart: Process 8"/>
            <p:cNvSpPr/>
            <p:nvPr/>
          </p:nvSpPr>
          <p:spPr bwMode="auto">
            <a:xfrm>
              <a:off x="9701909" y="50212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07" name="Rectangle 106"/>
            <p:cNvSpPr/>
            <p:nvPr/>
          </p:nvSpPr>
          <p:spPr>
            <a:xfrm>
              <a:off x="9815712" y="5125889"/>
              <a:ext cx="2289449" cy="324146"/>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Bing </a:t>
              </a:r>
            </a:p>
            <a:p>
              <a:pPr defTabSz="878390" latinLnBrk="0">
                <a:defRPr/>
              </a:pPr>
              <a:r>
                <a:rPr lang="en-US" sz="1765" kern="0" dirty="0">
                  <a:gradFill>
                    <a:gsLst>
                      <a:gs pos="0">
                        <a:srgbClr val="404040"/>
                      </a:gs>
                      <a:gs pos="100000">
                        <a:srgbClr val="404040"/>
                      </a:gs>
                    </a:gsLst>
                    <a:lin ang="5400000" scaled="0"/>
                  </a:gradFill>
                  <a:latin typeface="Segoe UI Light"/>
                </a:rPr>
                <a:t>Image Search</a:t>
              </a:r>
            </a:p>
          </p:txBody>
        </p:sp>
      </p:grpSp>
      <p:grpSp>
        <p:nvGrpSpPr>
          <p:cNvPr id="110" name="Group 109"/>
          <p:cNvGrpSpPr/>
          <p:nvPr/>
        </p:nvGrpSpPr>
        <p:grpSpPr>
          <a:xfrm>
            <a:off x="9614303" y="4299874"/>
            <a:ext cx="2170535" cy="627407"/>
            <a:chOff x="9701909" y="5630862"/>
            <a:chExt cx="2459932" cy="533400"/>
          </a:xfrm>
          <a:solidFill>
            <a:schemeClr val="tx1"/>
          </a:solidFill>
        </p:grpSpPr>
        <p:sp>
          <p:nvSpPr>
            <p:cNvPr id="113" name="Flowchart: Process 8"/>
            <p:cNvSpPr/>
            <p:nvPr/>
          </p:nvSpPr>
          <p:spPr bwMode="auto">
            <a:xfrm>
              <a:off x="9701909" y="56308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12" name="Rectangle 111"/>
            <p:cNvSpPr/>
            <p:nvPr/>
          </p:nvSpPr>
          <p:spPr>
            <a:xfrm>
              <a:off x="9871713" y="5631889"/>
              <a:ext cx="2233474" cy="530950"/>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Bing </a:t>
              </a:r>
            </a:p>
            <a:p>
              <a:pPr defTabSz="878390" latinLnBrk="0">
                <a:defRPr/>
              </a:pPr>
              <a:r>
                <a:rPr lang="en-US" sz="1765" kern="0" dirty="0">
                  <a:gradFill>
                    <a:gsLst>
                      <a:gs pos="0">
                        <a:srgbClr val="404040"/>
                      </a:gs>
                      <a:gs pos="100000">
                        <a:srgbClr val="404040"/>
                      </a:gs>
                    </a:gsLst>
                    <a:lin ang="5400000" scaled="0"/>
                  </a:gradFill>
                  <a:latin typeface="Segoe UI Light"/>
                </a:rPr>
                <a:t>Video Search</a:t>
              </a:r>
            </a:p>
          </p:txBody>
        </p:sp>
      </p:grpSp>
      <p:grpSp>
        <p:nvGrpSpPr>
          <p:cNvPr id="115" name="Group 114"/>
          <p:cNvGrpSpPr/>
          <p:nvPr/>
        </p:nvGrpSpPr>
        <p:grpSpPr>
          <a:xfrm>
            <a:off x="9603470" y="2873152"/>
            <a:ext cx="2178939" cy="627404"/>
            <a:chOff x="9701907" y="3192460"/>
            <a:chExt cx="2459932" cy="533400"/>
          </a:xfrm>
          <a:solidFill>
            <a:schemeClr val="tx1"/>
          </a:solidFill>
        </p:grpSpPr>
        <p:sp>
          <p:nvSpPr>
            <p:cNvPr id="118" name="Flowchart: Process 8"/>
            <p:cNvSpPr/>
            <p:nvPr/>
          </p:nvSpPr>
          <p:spPr bwMode="auto">
            <a:xfrm>
              <a:off x="9701907" y="3192460"/>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17" name="Rectangle 116"/>
            <p:cNvSpPr/>
            <p:nvPr/>
          </p:nvSpPr>
          <p:spPr>
            <a:xfrm>
              <a:off x="9812188" y="3268663"/>
              <a:ext cx="2289447" cy="388654"/>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Bing </a:t>
              </a:r>
            </a:p>
            <a:p>
              <a:pPr defTabSz="878390" latinLnBrk="0">
                <a:defRPr/>
              </a:pPr>
              <a:r>
                <a:rPr lang="en-US" sz="1765" kern="0" dirty="0">
                  <a:gradFill>
                    <a:gsLst>
                      <a:gs pos="0">
                        <a:srgbClr val="404040"/>
                      </a:gs>
                      <a:gs pos="100000">
                        <a:srgbClr val="404040"/>
                      </a:gs>
                    </a:gsLst>
                    <a:lin ang="5400000" scaled="0"/>
                  </a:gradFill>
                  <a:latin typeface="Segoe UI Light"/>
                </a:rPr>
                <a:t>Web Search</a:t>
              </a:r>
            </a:p>
          </p:txBody>
        </p:sp>
      </p:grpSp>
      <p:grpSp>
        <p:nvGrpSpPr>
          <p:cNvPr id="120" name="Group 119"/>
          <p:cNvGrpSpPr/>
          <p:nvPr/>
        </p:nvGrpSpPr>
        <p:grpSpPr>
          <a:xfrm>
            <a:off x="4979992" y="5724923"/>
            <a:ext cx="2171624" cy="627407"/>
            <a:chOff x="9701909" y="5021262"/>
            <a:chExt cx="2459932" cy="533400"/>
          </a:xfrm>
          <a:solidFill>
            <a:schemeClr val="tx1"/>
          </a:solidFill>
        </p:grpSpPr>
        <p:sp>
          <p:nvSpPr>
            <p:cNvPr id="123" name="Flowchart: Process 8"/>
            <p:cNvSpPr/>
            <p:nvPr/>
          </p:nvSpPr>
          <p:spPr bwMode="auto">
            <a:xfrm>
              <a:off x="9701909" y="50212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22" name="Rectangle 121"/>
            <p:cNvSpPr/>
            <p:nvPr/>
          </p:nvSpPr>
          <p:spPr>
            <a:xfrm>
              <a:off x="9797893" y="5125889"/>
              <a:ext cx="2315047" cy="324146"/>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WebLM</a:t>
              </a:r>
            </a:p>
          </p:txBody>
        </p:sp>
      </p:grpSp>
      <p:grpSp>
        <p:nvGrpSpPr>
          <p:cNvPr id="125" name="Group 124"/>
          <p:cNvGrpSpPr/>
          <p:nvPr/>
        </p:nvGrpSpPr>
        <p:grpSpPr>
          <a:xfrm>
            <a:off x="4978482" y="5013236"/>
            <a:ext cx="2174643" cy="627404"/>
            <a:chOff x="9701907" y="3192460"/>
            <a:chExt cx="2459932" cy="533400"/>
          </a:xfrm>
          <a:solidFill>
            <a:schemeClr val="tx1"/>
          </a:solidFill>
        </p:grpSpPr>
        <p:sp>
          <p:nvSpPr>
            <p:cNvPr id="128" name="Flowchart: Process 8"/>
            <p:cNvSpPr/>
            <p:nvPr/>
          </p:nvSpPr>
          <p:spPr bwMode="auto">
            <a:xfrm>
              <a:off x="9701907" y="3192460"/>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27" name="Rectangle 126"/>
            <p:cNvSpPr/>
            <p:nvPr/>
          </p:nvSpPr>
          <p:spPr>
            <a:xfrm>
              <a:off x="9794370" y="3268662"/>
              <a:ext cx="2315046" cy="388654"/>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Text Analytics</a:t>
              </a:r>
            </a:p>
          </p:txBody>
        </p:sp>
      </p:grpSp>
      <p:sp>
        <p:nvSpPr>
          <p:cNvPr id="132" name="Rectangle 131"/>
          <p:cNvSpPr/>
          <p:nvPr/>
        </p:nvSpPr>
        <p:spPr>
          <a:xfrm>
            <a:off x="7318356" y="5013236"/>
            <a:ext cx="2161228" cy="624525"/>
          </a:xfrm>
          <a:prstGeom prst="rect">
            <a:avLst/>
          </a:prstGeom>
          <a:solidFill>
            <a:schemeClr val="tx1"/>
          </a:solid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  Recommendations</a:t>
            </a:r>
          </a:p>
        </p:txBody>
      </p:sp>
      <p:grpSp>
        <p:nvGrpSpPr>
          <p:cNvPr id="135" name="Group 134"/>
          <p:cNvGrpSpPr/>
          <p:nvPr/>
        </p:nvGrpSpPr>
        <p:grpSpPr>
          <a:xfrm>
            <a:off x="9639428" y="5724923"/>
            <a:ext cx="2167511" cy="627407"/>
            <a:chOff x="9701909" y="5021262"/>
            <a:chExt cx="2459932" cy="533400"/>
          </a:xfrm>
          <a:solidFill>
            <a:schemeClr val="tx1"/>
          </a:solidFill>
        </p:grpSpPr>
        <p:sp>
          <p:nvSpPr>
            <p:cNvPr id="138" name="Flowchart: Process 8"/>
            <p:cNvSpPr/>
            <p:nvPr/>
          </p:nvSpPr>
          <p:spPr bwMode="auto">
            <a:xfrm>
              <a:off x="9701909" y="50212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37" name="Rectangle 136"/>
            <p:cNvSpPr/>
            <p:nvPr/>
          </p:nvSpPr>
          <p:spPr>
            <a:xfrm>
              <a:off x="9863993" y="5125889"/>
              <a:ext cx="2149178" cy="324146"/>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Bing </a:t>
              </a:r>
            </a:p>
            <a:p>
              <a:pPr defTabSz="878390" latinLnBrk="0">
                <a:defRPr/>
              </a:pPr>
              <a:r>
                <a:rPr lang="en-US" sz="1765" kern="0" dirty="0">
                  <a:gradFill>
                    <a:gsLst>
                      <a:gs pos="0">
                        <a:srgbClr val="404040"/>
                      </a:gs>
                      <a:gs pos="100000">
                        <a:srgbClr val="404040"/>
                      </a:gs>
                    </a:gsLst>
                    <a:lin ang="5400000" scaled="0"/>
                  </a:gradFill>
                  <a:latin typeface="Segoe UI Light"/>
                </a:rPr>
                <a:t>Autosuggest</a:t>
              </a:r>
            </a:p>
          </p:txBody>
        </p:sp>
      </p:grpSp>
      <p:grpSp>
        <p:nvGrpSpPr>
          <p:cNvPr id="140" name="Group 139"/>
          <p:cNvGrpSpPr/>
          <p:nvPr/>
        </p:nvGrpSpPr>
        <p:grpSpPr>
          <a:xfrm>
            <a:off x="9630142" y="5013236"/>
            <a:ext cx="2170535" cy="627404"/>
            <a:chOff x="9701907" y="3192460"/>
            <a:chExt cx="2459932" cy="533400"/>
          </a:xfrm>
          <a:solidFill>
            <a:schemeClr val="tx1"/>
          </a:solidFill>
        </p:grpSpPr>
        <p:sp>
          <p:nvSpPr>
            <p:cNvPr id="143" name="Flowchart: Process 8"/>
            <p:cNvSpPr/>
            <p:nvPr/>
          </p:nvSpPr>
          <p:spPr bwMode="auto">
            <a:xfrm>
              <a:off x="9701907" y="3192460"/>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42" name="Rectangle 141"/>
            <p:cNvSpPr/>
            <p:nvPr/>
          </p:nvSpPr>
          <p:spPr>
            <a:xfrm>
              <a:off x="9860469" y="3268662"/>
              <a:ext cx="2234825" cy="388654"/>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Bing </a:t>
              </a:r>
            </a:p>
            <a:p>
              <a:pPr defTabSz="878390" latinLnBrk="0">
                <a:defRPr/>
              </a:pPr>
              <a:r>
                <a:rPr lang="en-US" sz="1765" kern="0" dirty="0">
                  <a:gradFill>
                    <a:gsLst>
                      <a:gs pos="0">
                        <a:srgbClr val="404040"/>
                      </a:gs>
                      <a:gs pos="100000">
                        <a:srgbClr val="404040"/>
                      </a:gs>
                    </a:gsLst>
                    <a:lin ang="5400000" scaled="0"/>
                  </a:gradFill>
                  <a:latin typeface="Segoe UI Light"/>
                </a:rPr>
                <a:t>News Search</a:t>
              </a:r>
            </a:p>
          </p:txBody>
        </p:sp>
      </p:grpSp>
      <p:sp>
        <p:nvSpPr>
          <p:cNvPr id="99" name="Rectangle 98"/>
          <p:cNvSpPr/>
          <p:nvPr/>
        </p:nvSpPr>
        <p:spPr>
          <a:xfrm>
            <a:off x="269241" y="2004605"/>
            <a:ext cx="11655840" cy="4561882"/>
          </a:xfrm>
          <a:prstGeom prst="rect">
            <a:avLst/>
          </a:prstGeom>
          <a:noFill/>
          <a:ln>
            <a:solidFill>
              <a:schemeClr val="tx2">
                <a:lumMod val="40000"/>
                <a:lumOff val="6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lIns="119332" tIns="59666" rIns="119332" bIns="59666" rtlCol="0" anchor="b"/>
          <a:lstStyle/>
          <a:p>
            <a:pPr defTabSz="896386" latinLnBrk="0">
              <a:defRPr/>
            </a:pPr>
            <a:endParaRPr lang="en-US" sz="1078" kern="0" dirty="0">
              <a:gradFill>
                <a:gsLst>
                  <a:gs pos="0">
                    <a:srgbClr val="FFFFFF"/>
                  </a:gs>
                  <a:gs pos="100000">
                    <a:srgbClr val="FFFFFF"/>
                  </a:gs>
                </a:gsLst>
                <a:lin ang="5400000" scaled="0"/>
              </a:gradFill>
              <a:latin typeface="Segoe UI"/>
            </a:endParaRPr>
          </a:p>
        </p:txBody>
      </p:sp>
      <p:grpSp>
        <p:nvGrpSpPr>
          <p:cNvPr id="104" name="Group 103"/>
          <p:cNvGrpSpPr/>
          <p:nvPr/>
        </p:nvGrpSpPr>
        <p:grpSpPr>
          <a:xfrm>
            <a:off x="2686736" y="5013236"/>
            <a:ext cx="2185419" cy="617168"/>
            <a:chOff x="9701909" y="5021262"/>
            <a:chExt cx="2459932" cy="533400"/>
          </a:xfrm>
          <a:solidFill>
            <a:schemeClr val="tx1"/>
          </a:solidFill>
        </p:grpSpPr>
        <p:sp>
          <p:nvSpPr>
            <p:cNvPr id="106" name="Flowchart: Process 8"/>
            <p:cNvSpPr/>
            <p:nvPr/>
          </p:nvSpPr>
          <p:spPr bwMode="auto">
            <a:xfrm>
              <a:off x="9701909" y="50212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09" name="Rectangle 108"/>
            <p:cNvSpPr/>
            <p:nvPr/>
          </p:nvSpPr>
          <p:spPr>
            <a:xfrm>
              <a:off x="9797893" y="5125889"/>
              <a:ext cx="2315047" cy="324146"/>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Translator</a:t>
              </a:r>
            </a:p>
          </p:txBody>
        </p:sp>
      </p:grpSp>
      <p:sp>
        <p:nvSpPr>
          <p:cNvPr id="101" name="Freeform 22"/>
          <p:cNvSpPr>
            <a:spLocks noChangeAspect="1"/>
          </p:cNvSpPr>
          <p:nvPr/>
        </p:nvSpPr>
        <p:spPr bwMode="auto">
          <a:xfrm>
            <a:off x="540068" y="2361367"/>
            <a:ext cx="358570" cy="237274"/>
          </a:xfrm>
          <a:custGeom>
            <a:avLst/>
            <a:gdLst>
              <a:gd name="T0" fmla="*/ 4942 w 7181"/>
              <a:gd name="T1" fmla="*/ 414 h 4752"/>
              <a:gd name="T2" fmla="*/ 3024 w 7181"/>
              <a:gd name="T3" fmla="*/ 152 h 4752"/>
              <a:gd name="T4" fmla="*/ 0 w 7181"/>
              <a:gd name="T5" fmla="*/ 2353 h 4752"/>
              <a:gd name="T6" fmla="*/ 2201 w 7181"/>
              <a:gd name="T7" fmla="*/ 4282 h 4752"/>
              <a:gd name="T8" fmla="*/ 4848 w 7181"/>
              <a:gd name="T9" fmla="*/ 4351 h 4752"/>
              <a:gd name="T10" fmla="*/ 7102 w 7181"/>
              <a:gd name="T11" fmla="*/ 2474 h 4752"/>
              <a:gd name="T12" fmla="*/ 7181 w 7181"/>
              <a:gd name="T13" fmla="*/ 2350 h 4752"/>
              <a:gd name="T14" fmla="*/ 4942 w 7181"/>
              <a:gd name="T15" fmla="*/ 414 h 47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81" h="4752">
                <a:moveTo>
                  <a:pt x="4942" y="414"/>
                </a:moveTo>
                <a:cubicBezTo>
                  <a:pt x="4333" y="124"/>
                  <a:pt x="3691" y="0"/>
                  <a:pt x="3024" y="152"/>
                </a:cubicBezTo>
                <a:cubicBezTo>
                  <a:pt x="1710" y="456"/>
                  <a:pt x="812" y="1327"/>
                  <a:pt x="0" y="2353"/>
                </a:cubicBezTo>
                <a:cubicBezTo>
                  <a:pt x="608" y="3169"/>
                  <a:pt x="1306" y="3839"/>
                  <a:pt x="2201" y="4282"/>
                </a:cubicBezTo>
                <a:cubicBezTo>
                  <a:pt x="3069" y="4710"/>
                  <a:pt x="3957" y="4752"/>
                  <a:pt x="4848" y="4351"/>
                </a:cubicBezTo>
                <a:cubicBezTo>
                  <a:pt x="5771" y="3932"/>
                  <a:pt x="6490" y="3269"/>
                  <a:pt x="7102" y="2474"/>
                </a:cubicBezTo>
                <a:cubicBezTo>
                  <a:pt x="7129" y="2436"/>
                  <a:pt x="7154" y="2395"/>
                  <a:pt x="7181" y="2350"/>
                </a:cubicBezTo>
                <a:cubicBezTo>
                  <a:pt x="6570" y="1534"/>
                  <a:pt x="5861" y="853"/>
                  <a:pt x="4942" y="4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latinLnBrk="0">
              <a:defRPr/>
            </a:pPr>
            <a:endParaRPr lang="en-US" kern="0">
              <a:solidFill>
                <a:sysClr val="windowText" lastClr="000000"/>
              </a:solidFill>
              <a:latin typeface="Segoe UI"/>
            </a:endParaRPr>
          </a:p>
        </p:txBody>
      </p:sp>
      <p:sp>
        <p:nvSpPr>
          <p:cNvPr id="111" name="Freeform 18"/>
          <p:cNvSpPr>
            <a:spLocks noChangeAspect="1"/>
          </p:cNvSpPr>
          <p:nvPr/>
        </p:nvSpPr>
        <p:spPr bwMode="auto">
          <a:xfrm>
            <a:off x="2785270" y="2323732"/>
            <a:ext cx="356790" cy="312545"/>
          </a:xfrm>
          <a:custGeom>
            <a:avLst/>
            <a:gdLst>
              <a:gd name="T0" fmla="*/ 115 w 6349"/>
              <a:gd name="T1" fmla="*/ 1548 h 5575"/>
              <a:gd name="T2" fmla="*/ 1324 w 6349"/>
              <a:gd name="T3" fmla="*/ 225 h 5575"/>
              <a:gd name="T4" fmla="*/ 5039 w 6349"/>
              <a:gd name="T5" fmla="*/ 228 h 5575"/>
              <a:gd name="T6" fmla="*/ 6221 w 6349"/>
              <a:gd name="T7" fmla="*/ 1445 h 5575"/>
              <a:gd name="T8" fmla="*/ 6235 w 6349"/>
              <a:gd name="T9" fmla="*/ 3263 h 5575"/>
              <a:gd name="T10" fmla="*/ 4974 w 6349"/>
              <a:gd name="T11" fmla="*/ 4531 h 5575"/>
              <a:gd name="T12" fmla="*/ 3498 w 6349"/>
              <a:gd name="T13" fmla="*/ 4683 h 5575"/>
              <a:gd name="T14" fmla="*/ 3298 w 6349"/>
              <a:gd name="T15" fmla="*/ 4745 h 5575"/>
              <a:gd name="T16" fmla="*/ 2475 w 6349"/>
              <a:gd name="T17" fmla="*/ 5284 h 5575"/>
              <a:gd name="T18" fmla="*/ 1414 w 6349"/>
              <a:gd name="T19" fmla="*/ 5561 h 5575"/>
              <a:gd name="T20" fmla="*/ 1936 w 6349"/>
              <a:gd name="T21" fmla="*/ 4628 h 5575"/>
              <a:gd name="T22" fmla="*/ 1490 w 6349"/>
              <a:gd name="T23" fmla="*/ 4559 h 5575"/>
              <a:gd name="T24" fmla="*/ 118 w 6349"/>
              <a:gd name="T25" fmla="*/ 3270 h 5575"/>
              <a:gd name="T26" fmla="*/ 115 w 6349"/>
              <a:gd name="T27" fmla="*/ 1548 h 5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9" h="5575">
                <a:moveTo>
                  <a:pt x="115" y="1548"/>
                </a:moveTo>
                <a:cubicBezTo>
                  <a:pt x="211" y="957"/>
                  <a:pt x="595" y="353"/>
                  <a:pt x="1324" y="225"/>
                </a:cubicBezTo>
                <a:cubicBezTo>
                  <a:pt x="2565" y="10"/>
                  <a:pt x="3802" y="0"/>
                  <a:pt x="5039" y="228"/>
                </a:cubicBezTo>
                <a:cubicBezTo>
                  <a:pt x="5713" y="353"/>
                  <a:pt x="6086" y="792"/>
                  <a:pt x="6221" y="1445"/>
                </a:cubicBezTo>
                <a:cubicBezTo>
                  <a:pt x="6349" y="2050"/>
                  <a:pt x="6339" y="2658"/>
                  <a:pt x="6235" y="3263"/>
                </a:cubicBezTo>
                <a:cubicBezTo>
                  <a:pt x="6135" y="3847"/>
                  <a:pt x="5724" y="4438"/>
                  <a:pt x="4974" y="4531"/>
                </a:cubicBezTo>
                <a:cubicBezTo>
                  <a:pt x="4483" y="4590"/>
                  <a:pt x="3989" y="4631"/>
                  <a:pt x="3498" y="4683"/>
                </a:cubicBezTo>
                <a:cubicBezTo>
                  <a:pt x="3429" y="4690"/>
                  <a:pt x="3356" y="4707"/>
                  <a:pt x="3298" y="4745"/>
                </a:cubicBezTo>
                <a:cubicBezTo>
                  <a:pt x="3021" y="4921"/>
                  <a:pt x="2869" y="5125"/>
                  <a:pt x="2475" y="5284"/>
                </a:cubicBezTo>
                <a:cubicBezTo>
                  <a:pt x="2154" y="5423"/>
                  <a:pt x="1466" y="5575"/>
                  <a:pt x="1414" y="5561"/>
                </a:cubicBezTo>
                <a:cubicBezTo>
                  <a:pt x="1390" y="5523"/>
                  <a:pt x="1894" y="4963"/>
                  <a:pt x="1936" y="4628"/>
                </a:cubicBezTo>
                <a:cubicBezTo>
                  <a:pt x="1760" y="4600"/>
                  <a:pt x="1625" y="4579"/>
                  <a:pt x="1490" y="4559"/>
                </a:cubicBezTo>
                <a:cubicBezTo>
                  <a:pt x="719" y="4441"/>
                  <a:pt x="277" y="4013"/>
                  <a:pt x="118" y="3270"/>
                </a:cubicBezTo>
                <a:cubicBezTo>
                  <a:pt x="0" y="2665"/>
                  <a:pt x="35" y="2056"/>
                  <a:pt x="115" y="15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latinLnBrk="0">
              <a:defRPr/>
            </a:pPr>
            <a:endParaRPr lang="en-US" kern="0">
              <a:solidFill>
                <a:sysClr val="windowText" lastClr="000000"/>
              </a:solidFill>
              <a:latin typeface="Segoe UI"/>
            </a:endParaRPr>
          </a:p>
        </p:txBody>
      </p:sp>
      <p:sp>
        <p:nvSpPr>
          <p:cNvPr id="114" name="Freeform 9"/>
          <p:cNvSpPr>
            <a:spLocks noChangeAspect="1"/>
          </p:cNvSpPr>
          <p:nvPr/>
        </p:nvSpPr>
        <p:spPr bwMode="auto">
          <a:xfrm>
            <a:off x="5125675" y="2334207"/>
            <a:ext cx="231889" cy="291595"/>
          </a:xfrm>
          <a:custGeom>
            <a:avLst/>
            <a:gdLst>
              <a:gd name="T0" fmla="*/ 5153 w 5153"/>
              <a:gd name="T1" fmla="*/ 2353 h 6483"/>
              <a:gd name="T2" fmla="*/ 2799 w 5153"/>
              <a:gd name="T3" fmla="*/ 0 h 6483"/>
              <a:gd name="T4" fmla="*/ 445 w 5153"/>
              <a:gd name="T5" fmla="*/ 2353 h 6483"/>
              <a:gd name="T6" fmla="*/ 1852 w 5153"/>
              <a:gd name="T7" fmla="*/ 4507 h 6483"/>
              <a:gd name="T8" fmla="*/ 1399 w 5153"/>
              <a:gd name="T9" fmla="*/ 4932 h 6483"/>
              <a:gd name="T10" fmla="*/ 214 w 5153"/>
              <a:gd name="T11" fmla="*/ 5457 h 6483"/>
              <a:gd name="T12" fmla="*/ 41 w 5153"/>
              <a:gd name="T13" fmla="*/ 5578 h 6483"/>
              <a:gd name="T14" fmla="*/ 0 w 5153"/>
              <a:gd name="T15" fmla="*/ 6245 h 6483"/>
              <a:gd name="T16" fmla="*/ 96 w 5153"/>
              <a:gd name="T17" fmla="*/ 6276 h 6483"/>
              <a:gd name="T18" fmla="*/ 3145 w 5153"/>
              <a:gd name="T19" fmla="*/ 5637 h 6483"/>
              <a:gd name="T20" fmla="*/ 5153 w 5153"/>
              <a:gd name="T21" fmla="*/ 2353 h 6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53" h="6483">
                <a:moveTo>
                  <a:pt x="5153" y="2353"/>
                </a:moveTo>
                <a:cubicBezTo>
                  <a:pt x="5153" y="1054"/>
                  <a:pt x="4098" y="0"/>
                  <a:pt x="2799" y="0"/>
                </a:cubicBezTo>
                <a:cubicBezTo>
                  <a:pt x="1500" y="0"/>
                  <a:pt x="445" y="1054"/>
                  <a:pt x="445" y="2353"/>
                </a:cubicBezTo>
                <a:cubicBezTo>
                  <a:pt x="445" y="3314"/>
                  <a:pt x="1023" y="4144"/>
                  <a:pt x="1852" y="4507"/>
                </a:cubicBezTo>
                <a:cubicBezTo>
                  <a:pt x="1776" y="4634"/>
                  <a:pt x="1586" y="4814"/>
                  <a:pt x="1399" y="4932"/>
                </a:cubicBezTo>
                <a:cubicBezTo>
                  <a:pt x="1036" y="5167"/>
                  <a:pt x="611" y="5284"/>
                  <a:pt x="214" y="5457"/>
                </a:cubicBezTo>
                <a:cubicBezTo>
                  <a:pt x="148" y="5485"/>
                  <a:pt x="45" y="5530"/>
                  <a:pt x="41" y="5578"/>
                </a:cubicBezTo>
                <a:cubicBezTo>
                  <a:pt x="13" y="5799"/>
                  <a:pt x="10" y="6027"/>
                  <a:pt x="0" y="6245"/>
                </a:cubicBezTo>
                <a:cubicBezTo>
                  <a:pt x="48" y="6262"/>
                  <a:pt x="72" y="6273"/>
                  <a:pt x="96" y="6276"/>
                </a:cubicBezTo>
                <a:cubicBezTo>
                  <a:pt x="1213" y="6483"/>
                  <a:pt x="2229" y="6221"/>
                  <a:pt x="3145" y="5637"/>
                </a:cubicBezTo>
                <a:cubicBezTo>
                  <a:pt x="4095" y="5032"/>
                  <a:pt x="5153" y="4043"/>
                  <a:pt x="5153" y="23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latinLnBrk="0">
              <a:defRPr/>
            </a:pPr>
            <a:endParaRPr lang="en-US" kern="0">
              <a:solidFill>
                <a:sysClr val="windowText" lastClr="000000"/>
              </a:solidFill>
              <a:latin typeface="Segoe UI"/>
            </a:endParaRPr>
          </a:p>
        </p:txBody>
      </p:sp>
      <p:sp>
        <p:nvSpPr>
          <p:cNvPr id="116" name="Freeform 5"/>
          <p:cNvSpPr>
            <a:spLocks/>
          </p:cNvSpPr>
          <p:nvPr/>
        </p:nvSpPr>
        <p:spPr bwMode="auto">
          <a:xfrm>
            <a:off x="7376912" y="2318255"/>
            <a:ext cx="381223" cy="323499"/>
          </a:xfrm>
          <a:custGeom>
            <a:avLst/>
            <a:gdLst>
              <a:gd name="T0" fmla="*/ 5986 w 5986"/>
              <a:gd name="T1" fmla="*/ 3594 h 5985"/>
              <a:gd name="T2" fmla="*/ 5986 w 5986"/>
              <a:gd name="T3" fmla="*/ 2395 h 5985"/>
              <a:gd name="T4" fmla="*/ 5402 w 5986"/>
              <a:gd name="T5" fmla="*/ 2395 h 5985"/>
              <a:gd name="T6" fmla="*/ 5122 w 5986"/>
              <a:gd name="T7" fmla="*/ 1717 h 5985"/>
              <a:gd name="T8" fmla="*/ 5533 w 5986"/>
              <a:gd name="T9" fmla="*/ 1330 h 5985"/>
              <a:gd name="T10" fmla="*/ 4666 w 5986"/>
              <a:gd name="T11" fmla="*/ 463 h 5985"/>
              <a:gd name="T12" fmla="*/ 4282 w 5986"/>
              <a:gd name="T13" fmla="*/ 870 h 5985"/>
              <a:gd name="T14" fmla="*/ 3591 w 5986"/>
              <a:gd name="T15" fmla="*/ 584 h 5985"/>
              <a:gd name="T16" fmla="*/ 3591 w 5986"/>
              <a:gd name="T17" fmla="*/ 0 h 5985"/>
              <a:gd name="T18" fmla="*/ 2392 w 5986"/>
              <a:gd name="T19" fmla="*/ 0 h 5985"/>
              <a:gd name="T20" fmla="*/ 2392 w 5986"/>
              <a:gd name="T21" fmla="*/ 587 h 5985"/>
              <a:gd name="T22" fmla="*/ 1711 w 5986"/>
              <a:gd name="T23" fmla="*/ 870 h 5985"/>
              <a:gd name="T24" fmla="*/ 1327 w 5986"/>
              <a:gd name="T25" fmla="*/ 456 h 5985"/>
              <a:gd name="T26" fmla="*/ 453 w 5986"/>
              <a:gd name="T27" fmla="*/ 1323 h 5985"/>
              <a:gd name="T28" fmla="*/ 868 w 5986"/>
              <a:gd name="T29" fmla="*/ 1710 h 5985"/>
              <a:gd name="T30" fmla="*/ 584 w 5986"/>
              <a:gd name="T31" fmla="*/ 2395 h 5985"/>
              <a:gd name="T32" fmla="*/ 0 w 5986"/>
              <a:gd name="T33" fmla="*/ 2395 h 5985"/>
              <a:gd name="T34" fmla="*/ 0 w 5986"/>
              <a:gd name="T35" fmla="*/ 3587 h 5985"/>
              <a:gd name="T36" fmla="*/ 584 w 5986"/>
              <a:gd name="T37" fmla="*/ 3587 h 5985"/>
              <a:gd name="T38" fmla="*/ 871 w 5986"/>
              <a:gd name="T39" fmla="*/ 4275 h 5985"/>
              <a:gd name="T40" fmla="*/ 442 w 5986"/>
              <a:gd name="T41" fmla="*/ 4651 h 5985"/>
              <a:gd name="T42" fmla="*/ 1320 w 5986"/>
              <a:gd name="T43" fmla="*/ 5529 h 5985"/>
              <a:gd name="T44" fmla="*/ 1711 w 5986"/>
              <a:gd name="T45" fmla="*/ 5114 h 5985"/>
              <a:gd name="T46" fmla="*/ 2392 w 5986"/>
              <a:gd name="T47" fmla="*/ 5398 h 5985"/>
              <a:gd name="T48" fmla="*/ 2392 w 5986"/>
              <a:gd name="T49" fmla="*/ 5985 h 5985"/>
              <a:gd name="T50" fmla="*/ 3584 w 5986"/>
              <a:gd name="T51" fmla="*/ 5985 h 5985"/>
              <a:gd name="T52" fmla="*/ 3584 w 5986"/>
              <a:gd name="T53" fmla="*/ 5401 h 5985"/>
              <a:gd name="T54" fmla="*/ 4279 w 5986"/>
              <a:gd name="T55" fmla="*/ 5114 h 5985"/>
              <a:gd name="T56" fmla="*/ 4662 w 5986"/>
              <a:gd name="T57" fmla="*/ 5533 h 5985"/>
              <a:gd name="T58" fmla="*/ 5523 w 5986"/>
              <a:gd name="T59" fmla="*/ 4669 h 5985"/>
              <a:gd name="T60" fmla="*/ 5112 w 5986"/>
              <a:gd name="T61" fmla="*/ 4285 h 5985"/>
              <a:gd name="T62" fmla="*/ 5402 w 5986"/>
              <a:gd name="T63" fmla="*/ 3594 h 5985"/>
              <a:gd name="T64" fmla="*/ 5986 w 5986"/>
              <a:gd name="T65" fmla="*/ 3594 h 5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6" h="5985">
                <a:moveTo>
                  <a:pt x="5986" y="3594"/>
                </a:moveTo>
                <a:cubicBezTo>
                  <a:pt x="5986" y="3193"/>
                  <a:pt x="5986" y="2795"/>
                  <a:pt x="5986" y="2395"/>
                </a:cubicBezTo>
                <a:cubicBezTo>
                  <a:pt x="5789" y="2395"/>
                  <a:pt x="5595" y="2395"/>
                  <a:pt x="5402" y="2395"/>
                </a:cubicBezTo>
                <a:cubicBezTo>
                  <a:pt x="5343" y="2153"/>
                  <a:pt x="5246" y="1925"/>
                  <a:pt x="5122" y="1717"/>
                </a:cubicBezTo>
                <a:cubicBezTo>
                  <a:pt x="5257" y="1589"/>
                  <a:pt x="5395" y="1458"/>
                  <a:pt x="5533" y="1330"/>
                </a:cubicBezTo>
                <a:cubicBezTo>
                  <a:pt x="5232" y="1029"/>
                  <a:pt x="4956" y="753"/>
                  <a:pt x="4666" y="463"/>
                </a:cubicBezTo>
                <a:cubicBezTo>
                  <a:pt x="4541" y="597"/>
                  <a:pt x="4410" y="736"/>
                  <a:pt x="4282" y="870"/>
                </a:cubicBezTo>
                <a:cubicBezTo>
                  <a:pt x="4071" y="743"/>
                  <a:pt x="3836" y="642"/>
                  <a:pt x="3591" y="584"/>
                </a:cubicBezTo>
                <a:cubicBezTo>
                  <a:pt x="3591" y="397"/>
                  <a:pt x="3591" y="197"/>
                  <a:pt x="3591" y="0"/>
                </a:cubicBezTo>
                <a:cubicBezTo>
                  <a:pt x="3190" y="0"/>
                  <a:pt x="2793" y="0"/>
                  <a:pt x="2392" y="0"/>
                </a:cubicBezTo>
                <a:cubicBezTo>
                  <a:pt x="2392" y="197"/>
                  <a:pt x="2392" y="390"/>
                  <a:pt x="2392" y="587"/>
                </a:cubicBezTo>
                <a:cubicBezTo>
                  <a:pt x="2150" y="649"/>
                  <a:pt x="1918" y="746"/>
                  <a:pt x="1711" y="870"/>
                </a:cubicBezTo>
                <a:cubicBezTo>
                  <a:pt x="1586" y="736"/>
                  <a:pt x="1452" y="594"/>
                  <a:pt x="1327" y="456"/>
                </a:cubicBezTo>
                <a:cubicBezTo>
                  <a:pt x="1023" y="753"/>
                  <a:pt x="747" y="1029"/>
                  <a:pt x="453" y="1323"/>
                </a:cubicBezTo>
                <a:cubicBezTo>
                  <a:pt x="588" y="1451"/>
                  <a:pt x="729" y="1582"/>
                  <a:pt x="868" y="1710"/>
                </a:cubicBezTo>
                <a:cubicBezTo>
                  <a:pt x="740" y="1921"/>
                  <a:pt x="646" y="2149"/>
                  <a:pt x="584" y="2395"/>
                </a:cubicBezTo>
                <a:cubicBezTo>
                  <a:pt x="398" y="2395"/>
                  <a:pt x="201" y="2395"/>
                  <a:pt x="0" y="2395"/>
                </a:cubicBezTo>
                <a:cubicBezTo>
                  <a:pt x="0" y="2795"/>
                  <a:pt x="0" y="3183"/>
                  <a:pt x="0" y="3587"/>
                </a:cubicBezTo>
                <a:cubicBezTo>
                  <a:pt x="197" y="3587"/>
                  <a:pt x="391" y="3587"/>
                  <a:pt x="584" y="3587"/>
                </a:cubicBezTo>
                <a:cubicBezTo>
                  <a:pt x="646" y="3832"/>
                  <a:pt x="743" y="4064"/>
                  <a:pt x="871" y="4275"/>
                </a:cubicBezTo>
                <a:cubicBezTo>
                  <a:pt x="733" y="4396"/>
                  <a:pt x="584" y="4527"/>
                  <a:pt x="442" y="4651"/>
                </a:cubicBezTo>
                <a:cubicBezTo>
                  <a:pt x="750" y="4959"/>
                  <a:pt x="1027" y="5235"/>
                  <a:pt x="1320" y="5529"/>
                </a:cubicBezTo>
                <a:cubicBezTo>
                  <a:pt x="1448" y="5391"/>
                  <a:pt x="1583" y="5249"/>
                  <a:pt x="1711" y="5114"/>
                </a:cubicBezTo>
                <a:cubicBezTo>
                  <a:pt x="1918" y="5242"/>
                  <a:pt x="2150" y="5336"/>
                  <a:pt x="2392" y="5398"/>
                </a:cubicBezTo>
                <a:cubicBezTo>
                  <a:pt x="2392" y="5584"/>
                  <a:pt x="2392" y="5781"/>
                  <a:pt x="2392" y="5985"/>
                </a:cubicBezTo>
                <a:cubicBezTo>
                  <a:pt x="2793" y="5985"/>
                  <a:pt x="3180" y="5985"/>
                  <a:pt x="3584" y="5985"/>
                </a:cubicBezTo>
                <a:cubicBezTo>
                  <a:pt x="3584" y="5788"/>
                  <a:pt x="3584" y="5591"/>
                  <a:pt x="3584" y="5401"/>
                </a:cubicBezTo>
                <a:cubicBezTo>
                  <a:pt x="3833" y="5343"/>
                  <a:pt x="4064" y="5242"/>
                  <a:pt x="4279" y="5114"/>
                </a:cubicBezTo>
                <a:cubicBezTo>
                  <a:pt x="4403" y="5253"/>
                  <a:pt x="4534" y="5394"/>
                  <a:pt x="4662" y="5533"/>
                </a:cubicBezTo>
                <a:cubicBezTo>
                  <a:pt x="4956" y="5239"/>
                  <a:pt x="5232" y="4959"/>
                  <a:pt x="5523" y="4669"/>
                </a:cubicBezTo>
                <a:cubicBezTo>
                  <a:pt x="5388" y="4541"/>
                  <a:pt x="5246" y="4409"/>
                  <a:pt x="5112" y="4285"/>
                </a:cubicBezTo>
                <a:cubicBezTo>
                  <a:pt x="5239" y="4074"/>
                  <a:pt x="5340" y="3843"/>
                  <a:pt x="5402" y="3594"/>
                </a:cubicBezTo>
                <a:cubicBezTo>
                  <a:pt x="5588" y="3594"/>
                  <a:pt x="5785" y="3594"/>
                  <a:pt x="5986" y="35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latinLnBrk="0">
              <a:defRPr/>
            </a:pPr>
            <a:endParaRPr lang="en-US" kern="0">
              <a:solidFill>
                <a:sysClr val="windowText" lastClr="000000"/>
              </a:solidFill>
              <a:latin typeface="Segoe UI"/>
            </a:endParaRPr>
          </a:p>
        </p:txBody>
      </p:sp>
      <p:grpSp>
        <p:nvGrpSpPr>
          <p:cNvPr id="119" name="Group 118"/>
          <p:cNvGrpSpPr/>
          <p:nvPr/>
        </p:nvGrpSpPr>
        <p:grpSpPr>
          <a:xfrm>
            <a:off x="9757507" y="2308220"/>
            <a:ext cx="300826" cy="343570"/>
            <a:chOff x="10832823" y="3353836"/>
            <a:chExt cx="537576" cy="528488"/>
          </a:xfrm>
        </p:grpSpPr>
        <p:sp>
          <p:nvSpPr>
            <p:cNvPr id="121" name="Oval 13"/>
            <p:cNvSpPr>
              <a:spLocks noChangeArrowheads="1"/>
            </p:cNvSpPr>
            <p:nvPr/>
          </p:nvSpPr>
          <p:spPr bwMode="auto">
            <a:xfrm>
              <a:off x="10943701" y="3353836"/>
              <a:ext cx="426698" cy="42669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latinLnBrk="0">
                <a:defRPr/>
              </a:pPr>
              <a:endParaRPr lang="en-US" kern="0">
                <a:solidFill>
                  <a:sysClr val="windowText" lastClr="000000"/>
                </a:solidFill>
                <a:latin typeface="Segoe UI"/>
              </a:endParaRPr>
            </a:p>
          </p:txBody>
        </p:sp>
        <p:sp>
          <p:nvSpPr>
            <p:cNvPr id="124" name="Freeform 14"/>
            <p:cNvSpPr>
              <a:spLocks/>
            </p:cNvSpPr>
            <p:nvPr/>
          </p:nvSpPr>
          <p:spPr bwMode="auto">
            <a:xfrm>
              <a:off x="10832823" y="3702829"/>
              <a:ext cx="179495" cy="179495"/>
            </a:xfrm>
            <a:custGeom>
              <a:avLst/>
              <a:gdLst>
                <a:gd name="T0" fmla="*/ 1224 w 1980"/>
                <a:gd name="T1" fmla="*/ 0 h 1977"/>
                <a:gd name="T2" fmla="*/ 218 w 1980"/>
                <a:gd name="T3" fmla="*/ 985 h 1977"/>
                <a:gd name="T4" fmla="*/ 211 w 1980"/>
                <a:gd name="T5" fmla="*/ 1752 h 1977"/>
                <a:gd name="T6" fmla="*/ 218 w 1980"/>
                <a:gd name="T7" fmla="*/ 1759 h 1977"/>
                <a:gd name="T8" fmla="*/ 985 w 1980"/>
                <a:gd name="T9" fmla="*/ 1766 h 1977"/>
                <a:gd name="T10" fmla="*/ 1980 w 1980"/>
                <a:gd name="T11" fmla="*/ 788 h 1977"/>
                <a:gd name="T12" fmla="*/ 1224 w 1980"/>
                <a:gd name="T13" fmla="*/ 0 h 1977"/>
              </a:gdLst>
              <a:ahLst/>
              <a:cxnLst>
                <a:cxn ang="0">
                  <a:pos x="T0" y="T1"/>
                </a:cxn>
                <a:cxn ang="0">
                  <a:pos x="T2" y="T3"/>
                </a:cxn>
                <a:cxn ang="0">
                  <a:pos x="T4" y="T5"/>
                </a:cxn>
                <a:cxn ang="0">
                  <a:pos x="T6" y="T7"/>
                </a:cxn>
                <a:cxn ang="0">
                  <a:pos x="T8" y="T9"/>
                </a:cxn>
                <a:cxn ang="0">
                  <a:pos x="T10" y="T11"/>
                </a:cxn>
                <a:cxn ang="0">
                  <a:pos x="T12" y="T13"/>
                </a:cxn>
              </a:cxnLst>
              <a:rect l="0" t="0" r="r" b="b"/>
              <a:pathLst>
                <a:path w="1980" h="1977">
                  <a:moveTo>
                    <a:pt x="1224" y="0"/>
                  </a:moveTo>
                  <a:cubicBezTo>
                    <a:pt x="218" y="985"/>
                    <a:pt x="218" y="985"/>
                    <a:pt x="218" y="985"/>
                  </a:cubicBezTo>
                  <a:cubicBezTo>
                    <a:pt x="4" y="1196"/>
                    <a:pt x="0" y="1538"/>
                    <a:pt x="211" y="1752"/>
                  </a:cubicBezTo>
                  <a:cubicBezTo>
                    <a:pt x="218" y="1759"/>
                    <a:pt x="218" y="1759"/>
                    <a:pt x="218" y="1759"/>
                  </a:cubicBezTo>
                  <a:cubicBezTo>
                    <a:pt x="429" y="1974"/>
                    <a:pt x="771" y="1977"/>
                    <a:pt x="985" y="1766"/>
                  </a:cubicBezTo>
                  <a:cubicBezTo>
                    <a:pt x="1980" y="788"/>
                    <a:pt x="1980" y="788"/>
                    <a:pt x="1980" y="788"/>
                  </a:cubicBezTo>
                  <a:cubicBezTo>
                    <a:pt x="1683" y="581"/>
                    <a:pt x="1424" y="315"/>
                    <a:pt x="122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latinLnBrk="0">
                <a:defRPr/>
              </a:pPr>
              <a:endParaRPr lang="en-US" kern="0">
                <a:solidFill>
                  <a:sysClr val="windowText" lastClr="000000"/>
                </a:solidFill>
                <a:latin typeface="Segoe UI"/>
              </a:endParaRPr>
            </a:p>
          </p:txBody>
        </p:sp>
      </p:grpSp>
    </p:spTree>
    <p:extLst>
      <p:ext uri="{BB962C8B-B14F-4D97-AF65-F5344CB8AC3E}">
        <p14:creationId xmlns:p14="http://schemas.microsoft.com/office/powerpoint/2010/main" val="31243630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ognitive Services</a:t>
            </a:r>
          </a:p>
        </p:txBody>
      </p:sp>
      <p:sp>
        <p:nvSpPr>
          <p:cNvPr id="15" name="Rectangle 14"/>
          <p:cNvSpPr>
            <a:spLocks/>
          </p:cNvSpPr>
          <p:nvPr/>
        </p:nvSpPr>
        <p:spPr bwMode="auto">
          <a:xfrm>
            <a:off x="7896753" y="1237280"/>
            <a:ext cx="3909563" cy="780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470" tIns="43734" rIns="87470" bIns="43734" numCol="1" spcCol="0" rtlCol="0" fromWordArt="0" anchor="ctr" anchorCtr="0" forceAA="0" compatLnSpc="1">
            <a:prstTxWarp prst="textNoShape">
              <a:avLst/>
            </a:prstTxWarp>
            <a:noAutofit/>
          </a:bodyPr>
          <a:lstStyle/>
          <a:p>
            <a:pPr algn="r" defTabSz="891460" latinLnBrk="0">
              <a:defRPr/>
            </a:pPr>
            <a:endParaRPr lang="en-US" sz="1730" b="1" kern="0">
              <a:solidFill>
                <a:srgbClr val="FFB900"/>
              </a:solidFill>
              <a:latin typeface="Segoe UI"/>
            </a:endParaRPr>
          </a:p>
        </p:txBody>
      </p:sp>
      <p:sp>
        <p:nvSpPr>
          <p:cNvPr id="16" name="Rectangle 15"/>
          <p:cNvSpPr>
            <a:spLocks/>
          </p:cNvSpPr>
          <p:nvPr/>
        </p:nvSpPr>
        <p:spPr bwMode="auto">
          <a:xfrm>
            <a:off x="7896753" y="1237280"/>
            <a:ext cx="3909563" cy="780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470" tIns="43734" rIns="87470" bIns="43734" numCol="1" spcCol="0" rtlCol="0" fromWordArt="0" anchor="ctr" anchorCtr="0" forceAA="0" compatLnSpc="1">
            <a:prstTxWarp prst="textNoShape">
              <a:avLst/>
            </a:prstTxWarp>
            <a:noAutofit/>
          </a:bodyPr>
          <a:lstStyle/>
          <a:p>
            <a:pPr algn="r" defTabSz="891460" latinLnBrk="0">
              <a:defRPr/>
            </a:pPr>
            <a:endParaRPr lang="en-US" sz="1730" b="1" kern="0">
              <a:solidFill>
                <a:srgbClr val="FFB900"/>
              </a:solidFill>
              <a:latin typeface="Segoe UI"/>
            </a:endParaRPr>
          </a:p>
        </p:txBody>
      </p:sp>
      <p:grpSp>
        <p:nvGrpSpPr>
          <p:cNvPr id="7" name="Group 6"/>
          <p:cNvGrpSpPr/>
          <p:nvPr/>
        </p:nvGrpSpPr>
        <p:grpSpPr>
          <a:xfrm>
            <a:off x="453952" y="3586513"/>
            <a:ext cx="2098974" cy="627407"/>
            <a:chOff x="6827777" y="4411662"/>
            <a:chExt cx="2459932" cy="533400"/>
          </a:xfrm>
          <a:solidFill>
            <a:schemeClr val="tx1"/>
          </a:solidFill>
        </p:grpSpPr>
        <p:sp>
          <p:nvSpPr>
            <p:cNvPr id="10" name="Flowchart: Process 8"/>
            <p:cNvSpPr/>
            <p:nvPr/>
          </p:nvSpPr>
          <p:spPr bwMode="auto">
            <a:xfrm>
              <a:off x="6827777" y="44116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9" name="Rectangle 8"/>
            <p:cNvSpPr/>
            <p:nvPr/>
          </p:nvSpPr>
          <p:spPr>
            <a:xfrm>
              <a:off x="6996044" y="4520801"/>
              <a:ext cx="2121554" cy="329012"/>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Emotion</a:t>
              </a:r>
            </a:p>
          </p:txBody>
        </p:sp>
      </p:grpSp>
      <p:grpSp>
        <p:nvGrpSpPr>
          <p:cNvPr id="12" name="Group 11"/>
          <p:cNvGrpSpPr/>
          <p:nvPr/>
        </p:nvGrpSpPr>
        <p:grpSpPr>
          <a:xfrm>
            <a:off x="2682513" y="3586513"/>
            <a:ext cx="2195928" cy="627407"/>
            <a:chOff x="9701909" y="5021262"/>
            <a:chExt cx="2459932" cy="533400"/>
          </a:xfrm>
          <a:solidFill>
            <a:schemeClr val="tx1"/>
          </a:solidFill>
        </p:grpSpPr>
        <p:sp>
          <p:nvSpPr>
            <p:cNvPr id="17" name="Flowchart: Process 8"/>
            <p:cNvSpPr/>
            <p:nvPr/>
          </p:nvSpPr>
          <p:spPr bwMode="auto">
            <a:xfrm>
              <a:off x="9701909" y="50212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4" name="Rectangle 13"/>
            <p:cNvSpPr/>
            <p:nvPr/>
          </p:nvSpPr>
          <p:spPr>
            <a:xfrm>
              <a:off x="9888747" y="5125889"/>
              <a:ext cx="2273093" cy="324146"/>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Speaker Recognition</a:t>
              </a:r>
            </a:p>
          </p:txBody>
        </p:sp>
      </p:grpSp>
      <p:grpSp>
        <p:nvGrpSpPr>
          <p:cNvPr id="19" name="Group 18"/>
          <p:cNvGrpSpPr/>
          <p:nvPr/>
        </p:nvGrpSpPr>
        <p:grpSpPr>
          <a:xfrm>
            <a:off x="2682512" y="4299874"/>
            <a:ext cx="2195928" cy="627407"/>
            <a:chOff x="9701909" y="5630862"/>
            <a:chExt cx="2459932" cy="533400"/>
          </a:xfrm>
          <a:solidFill>
            <a:srgbClr val="0070C0"/>
          </a:solidFill>
        </p:grpSpPr>
        <p:sp>
          <p:nvSpPr>
            <p:cNvPr id="22" name="Flowchart: Process 8"/>
            <p:cNvSpPr/>
            <p:nvPr/>
          </p:nvSpPr>
          <p:spPr bwMode="auto">
            <a:xfrm>
              <a:off x="9701909" y="56308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solidFill>
                  <a:srgbClr val="FFFFFF"/>
                </a:solidFill>
                <a:latin typeface="Segoe UI Light"/>
                <a:ea typeface="Segoe UI" pitchFamily="34" charset="0"/>
                <a:cs typeface="Segoe UI" pitchFamily="34" charset="0"/>
              </a:endParaRPr>
            </a:p>
          </p:txBody>
        </p:sp>
        <p:sp>
          <p:nvSpPr>
            <p:cNvPr id="21" name="Rectangle 20"/>
            <p:cNvSpPr/>
            <p:nvPr/>
          </p:nvSpPr>
          <p:spPr>
            <a:xfrm>
              <a:off x="9838466" y="5631889"/>
              <a:ext cx="2162814" cy="530950"/>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solidFill>
                    <a:srgbClr val="FFFFFF"/>
                  </a:solidFill>
                  <a:latin typeface="Segoe UI Light"/>
                </a:rPr>
                <a:t>Speech</a:t>
              </a:r>
            </a:p>
          </p:txBody>
        </p:sp>
      </p:grpSp>
      <p:grpSp>
        <p:nvGrpSpPr>
          <p:cNvPr id="24" name="Group 23"/>
          <p:cNvGrpSpPr/>
          <p:nvPr/>
        </p:nvGrpSpPr>
        <p:grpSpPr>
          <a:xfrm>
            <a:off x="2677806" y="2873152"/>
            <a:ext cx="2199076" cy="627404"/>
            <a:chOff x="9701907" y="3192460"/>
            <a:chExt cx="2459932" cy="533400"/>
          </a:xfrm>
          <a:solidFill>
            <a:schemeClr val="tx1"/>
          </a:solidFill>
        </p:grpSpPr>
        <p:sp>
          <p:nvSpPr>
            <p:cNvPr id="27" name="Flowchart: Process 8"/>
            <p:cNvSpPr/>
            <p:nvPr/>
          </p:nvSpPr>
          <p:spPr bwMode="auto">
            <a:xfrm>
              <a:off x="9701907" y="3192460"/>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6" name="Rectangle 25"/>
            <p:cNvSpPr/>
            <p:nvPr/>
          </p:nvSpPr>
          <p:spPr>
            <a:xfrm>
              <a:off x="9836450" y="3268662"/>
              <a:ext cx="2321868" cy="388654"/>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Custom Recognition</a:t>
              </a:r>
            </a:p>
          </p:txBody>
        </p:sp>
      </p:grpSp>
      <p:grpSp>
        <p:nvGrpSpPr>
          <p:cNvPr id="29" name="Group 28"/>
          <p:cNvGrpSpPr/>
          <p:nvPr/>
        </p:nvGrpSpPr>
        <p:grpSpPr>
          <a:xfrm>
            <a:off x="453952" y="2873151"/>
            <a:ext cx="2099966" cy="627407"/>
            <a:chOff x="6827776" y="3192468"/>
            <a:chExt cx="2459933" cy="533401"/>
          </a:xfrm>
          <a:solidFill>
            <a:srgbClr val="0070C0"/>
          </a:solidFill>
        </p:grpSpPr>
        <p:sp>
          <p:nvSpPr>
            <p:cNvPr id="32" name="Flowchart: Process 8"/>
            <p:cNvSpPr/>
            <p:nvPr/>
          </p:nvSpPr>
          <p:spPr bwMode="auto">
            <a:xfrm>
              <a:off x="6827776" y="3192468"/>
              <a:ext cx="2459933" cy="53340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solidFill>
                  <a:srgbClr val="FFFFFF"/>
                </a:solidFill>
                <a:latin typeface="Segoe UI Light"/>
                <a:ea typeface="Segoe UI" pitchFamily="34" charset="0"/>
                <a:cs typeface="Segoe UI" pitchFamily="34" charset="0"/>
              </a:endParaRPr>
            </a:p>
          </p:txBody>
        </p:sp>
        <p:sp>
          <p:nvSpPr>
            <p:cNvPr id="31" name="Rectangle 30"/>
            <p:cNvSpPr/>
            <p:nvPr/>
          </p:nvSpPr>
          <p:spPr>
            <a:xfrm>
              <a:off x="6986793" y="3268665"/>
              <a:ext cx="2130806" cy="388654"/>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solidFill>
                    <a:srgbClr val="FFFFFF"/>
                  </a:solidFill>
                  <a:latin typeface="Segoe UI Light"/>
                </a:rPr>
                <a:t>Computer Vision</a:t>
              </a:r>
            </a:p>
          </p:txBody>
        </p:sp>
      </p:grpSp>
      <p:grpSp>
        <p:nvGrpSpPr>
          <p:cNvPr id="34" name="Group 33"/>
          <p:cNvGrpSpPr/>
          <p:nvPr/>
        </p:nvGrpSpPr>
        <p:grpSpPr>
          <a:xfrm>
            <a:off x="453952" y="4299874"/>
            <a:ext cx="2101318" cy="627407"/>
            <a:chOff x="6827777" y="3802062"/>
            <a:chExt cx="2459932" cy="533400"/>
          </a:xfrm>
          <a:solidFill>
            <a:schemeClr val="tx1"/>
          </a:solidFill>
        </p:grpSpPr>
        <p:sp>
          <p:nvSpPr>
            <p:cNvPr id="37" name="Flowchart: Process 8"/>
            <p:cNvSpPr/>
            <p:nvPr/>
          </p:nvSpPr>
          <p:spPr bwMode="auto">
            <a:xfrm>
              <a:off x="6827777" y="38020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6" name="Rectangle 35"/>
            <p:cNvSpPr/>
            <p:nvPr/>
          </p:nvSpPr>
          <p:spPr>
            <a:xfrm>
              <a:off x="7014491" y="3892910"/>
              <a:ext cx="2103108" cy="388654"/>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Face</a:t>
              </a:r>
            </a:p>
          </p:txBody>
        </p:sp>
      </p:grpSp>
      <p:grpSp>
        <p:nvGrpSpPr>
          <p:cNvPr id="39" name="Group 38"/>
          <p:cNvGrpSpPr/>
          <p:nvPr/>
        </p:nvGrpSpPr>
        <p:grpSpPr>
          <a:xfrm>
            <a:off x="453952" y="5013236"/>
            <a:ext cx="2098975" cy="627407"/>
            <a:chOff x="6827777" y="3802062"/>
            <a:chExt cx="2459932" cy="533400"/>
          </a:xfrm>
          <a:solidFill>
            <a:schemeClr val="tx1"/>
          </a:solidFill>
        </p:grpSpPr>
        <p:sp>
          <p:nvSpPr>
            <p:cNvPr id="42" name="Flowchart: Process 8"/>
            <p:cNvSpPr/>
            <p:nvPr/>
          </p:nvSpPr>
          <p:spPr bwMode="auto">
            <a:xfrm>
              <a:off x="6827777" y="38020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41" name="Rectangle 40"/>
            <p:cNvSpPr/>
            <p:nvPr/>
          </p:nvSpPr>
          <p:spPr>
            <a:xfrm>
              <a:off x="6994719" y="3892910"/>
              <a:ext cx="2122880" cy="388654"/>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Video</a:t>
              </a:r>
            </a:p>
          </p:txBody>
        </p:sp>
      </p:grpSp>
      <p:pic>
        <p:nvPicPr>
          <p:cNvPr id="44" name="Picture 4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484653" y="2289264"/>
            <a:ext cx="296411" cy="359581"/>
          </a:xfrm>
          <a:prstGeom prst="rect">
            <a:avLst/>
          </a:prstGeom>
        </p:spPr>
      </p:pic>
      <p:sp>
        <p:nvSpPr>
          <p:cNvPr id="45" name="Right Bracket 44"/>
          <p:cNvSpPr/>
          <p:nvPr/>
        </p:nvSpPr>
        <p:spPr>
          <a:xfrm rot="16200000">
            <a:off x="5936439" y="-3734799"/>
            <a:ext cx="209908" cy="11578822"/>
          </a:xfrm>
          <a:prstGeom prst="rightBracket">
            <a:avLst>
              <a:gd name="adj" fmla="val 78933"/>
            </a:avLst>
          </a:prstGeom>
          <a:ln w="28575"/>
        </p:spPr>
        <p:style>
          <a:lnRef idx="1">
            <a:schemeClr val="dk1"/>
          </a:lnRef>
          <a:fillRef idx="0">
            <a:schemeClr val="dk1"/>
          </a:fillRef>
          <a:effectRef idx="0">
            <a:schemeClr val="dk1"/>
          </a:effectRef>
          <a:fontRef idx="minor">
            <a:schemeClr val="tx1"/>
          </a:fontRef>
        </p:style>
        <p:txBody>
          <a:bodyPr rtlCol="0" anchor="ctr"/>
          <a:lstStyle/>
          <a:p>
            <a:pPr algn="ctr" defTabSz="914049" latinLnBrk="0">
              <a:defRPr/>
            </a:pPr>
            <a:endParaRPr lang="en-US" kern="0">
              <a:solidFill>
                <a:prstClr val="black"/>
              </a:solidFill>
              <a:latin typeface="Segoe UI"/>
            </a:endParaRPr>
          </a:p>
        </p:txBody>
      </p:sp>
      <p:grpSp>
        <p:nvGrpSpPr>
          <p:cNvPr id="48" name="Group 47"/>
          <p:cNvGrpSpPr/>
          <p:nvPr/>
        </p:nvGrpSpPr>
        <p:grpSpPr>
          <a:xfrm>
            <a:off x="9616294" y="2169084"/>
            <a:ext cx="2178717" cy="627408"/>
            <a:chOff x="803519" y="1881281"/>
            <a:chExt cx="2222721" cy="640080"/>
          </a:xfrm>
        </p:grpSpPr>
        <p:sp>
          <p:nvSpPr>
            <p:cNvPr id="50" name="Rectangle 49"/>
            <p:cNvSpPr/>
            <p:nvPr/>
          </p:nvSpPr>
          <p:spPr>
            <a:xfrm>
              <a:off x="803519" y="1881281"/>
              <a:ext cx="2222721" cy="640080"/>
            </a:xfrm>
            <a:prstGeom prst="rect">
              <a:avLst/>
            </a:prstGeom>
            <a:solidFill>
              <a:srgbClr val="009580"/>
            </a:solidFill>
            <a:ln w="9525" cap="flat" cmpd="sng" algn="ctr">
              <a:noFill/>
              <a:prstDash val="solid"/>
            </a:ln>
            <a:effectLst/>
          </p:spPr>
          <p:txBody>
            <a:bodyPr lIns="116954" tIns="58475" rIns="116954" bIns="58475"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78390">
                <a:defRPr/>
              </a:pPr>
              <a:endParaRPr lang="en-US" sz="1765" kern="0" dirty="0">
                <a:gradFill>
                  <a:gsLst>
                    <a:gs pos="0">
                      <a:srgbClr val="FFFFFF"/>
                    </a:gs>
                    <a:gs pos="100000">
                      <a:srgbClr val="FFFFFF"/>
                    </a:gs>
                  </a:gsLst>
                  <a:lin ang="5400000" scaled="0"/>
                </a:gradFill>
                <a:latin typeface="Segoe UI Light"/>
              </a:endParaRPr>
            </a:p>
          </p:txBody>
        </p:sp>
        <p:sp>
          <p:nvSpPr>
            <p:cNvPr id="51" name="TextBox 50"/>
            <p:cNvSpPr txBox="1"/>
            <p:nvPr/>
          </p:nvSpPr>
          <p:spPr>
            <a:xfrm>
              <a:off x="1202293" y="1886159"/>
              <a:ext cx="1402359" cy="627912"/>
            </a:xfrm>
            <a:prstGeom prst="rect">
              <a:avLst/>
            </a:prstGeom>
            <a:solidFill>
              <a:srgbClr val="009580"/>
            </a:solidFill>
            <a:ln>
              <a:noFill/>
            </a:ln>
          </p:spPr>
          <p:txBody>
            <a:bodyPr wrap="square" lIns="179259" tIns="143407" rIns="179259" bIns="143407" rtlCol="0" anchor="ctr">
              <a:spAutoFit/>
            </a:bodyPr>
            <a:lstStyle/>
            <a:p>
              <a:pPr defTabSz="896386" latinLnBrk="0">
                <a:lnSpc>
                  <a:spcPct val="90000"/>
                </a:lnSpc>
                <a:spcAft>
                  <a:spcPts val="588"/>
                </a:spcAft>
                <a:defRPr/>
              </a:pPr>
              <a:r>
                <a:rPr lang="en-US" sz="2353" kern="0" dirty="0">
                  <a:gradFill>
                    <a:gsLst>
                      <a:gs pos="2917">
                        <a:srgbClr val="FFFFFF"/>
                      </a:gs>
                      <a:gs pos="30000">
                        <a:srgbClr val="FFFFFF"/>
                      </a:gs>
                    </a:gsLst>
                    <a:lin ang="5400000" scaled="0"/>
                  </a:gradFill>
                  <a:latin typeface="Segoe UI Light"/>
                </a:rPr>
                <a:t>Search</a:t>
              </a:r>
            </a:p>
          </p:txBody>
        </p:sp>
      </p:grpSp>
      <p:grpSp>
        <p:nvGrpSpPr>
          <p:cNvPr id="54" name="Group 53"/>
          <p:cNvGrpSpPr/>
          <p:nvPr/>
        </p:nvGrpSpPr>
        <p:grpSpPr>
          <a:xfrm>
            <a:off x="2682462" y="2162051"/>
            <a:ext cx="2215536" cy="627408"/>
            <a:chOff x="803519" y="1881281"/>
            <a:chExt cx="2227717" cy="640080"/>
          </a:xfrm>
        </p:grpSpPr>
        <p:sp>
          <p:nvSpPr>
            <p:cNvPr id="57" name="Rectangle 56"/>
            <p:cNvSpPr/>
            <p:nvPr/>
          </p:nvSpPr>
          <p:spPr>
            <a:xfrm>
              <a:off x="803519" y="1881281"/>
              <a:ext cx="2227717" cy="640080"/>
            </a:xfrm>
            <a:prstGeom prst="rect">
              <a:avLst/>
            </a:prstGeom>
            <a:solidFill>
              <a:srgbClr val="009580"/>
            </a:solidFill>
            <a:ln w="9525" cap="flat" cmpd="sng" algn="ctr">
              <a:noFill/>
              <a:prstDash val="solid"/>
            </a:ln>
            <a:effectLst/>
          </p:spPr>
          <p:txBody>
            <a:bodyPr lIns="116954" tIns="58475" rIns="116954" bIns="58475"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78390">
                <a:defRPr/>
              </a:pPr>
              <a:endParaRPr lang="en-US" sz="1765" kern="0" dirty="0">
                <a:gradFill>
                  <a:gsLst>
                    <a:gs pos="0">
                      <a:srgbClr val="FFFFFF"/>
                    </a:gs>
                    <a:gs pos="100000">
                      <a:srgbClr val="FFFFFF"/>
                    </a:gs>
                  </a:gsLst>
                  <a:lin ang="5400000" scaled="0"/>
                </a:gradFill>
                <a:latin typeface="Segoe UI Light"/>
              </a:endParaRPr>
            </a:p>
          </p:txBody>
        </p:sp>
        <p:sp>
          <p:nvSpPr>
            <p:cNvPr id="58" name="TextBox 57"/>
            <p:cNvSpPr txBox="1"/>
            <p:nvPr/>
          </p:nvSpPr>
          <p:spPr>
            <a:xfrm>
              <a:off x="1213136" y="1886159"/>
              <a:ext cx="1533417" cy="627912"/>
            </a:xfrm>
            <a:prstGeom prst="rect">
              <a:avLst/>
            </a:prstGeom>
            <a:solidFill>
              <a:srgbClr val="009580"/>
            </a:solidFill>
            <a:ln>
              <a:noFill/>
            </a:ln>
          </p:spPr>
          <p:txBody>
            <a:bodyPr wrap="square" lIns="179259" tIns="143407" rIns="179259" bIns="143407" rtlCol="0" anchor="ctr">
              <a:spAutoFit/>
            </a:bodyPr>
            <a:lstStyle/>
            <a:p>
              <a:pPr defTabSz="896386" latinLnBrk="0">
                <a:lnSpc>
                  <a:spcPct val="90000"/>
                </a:lnSpc>
                <a:spcAft>
                  <a:spcPts val="588"/>
                </a:spcAft>
                <a:defRPr/>
              </a:pPr>
              <a:r>
                <a:rPr lang="en-US" sz="2353" kern="0" dirty="0">
                  <a:gradFill>
                    <a:gsLst>
                      <a:gs pos="2917">
                        <a:srgbClr val="FFFFFF"/>
                      </a:gs>
                      <a:gs pos="30000">
                        <a:srgbClr val="FFFFFF"/>
                      </a:gs>
                    </a:gsLst>
                    <a:lin ang="5400000" scaled="0"/>
                  </a:gradFill>
                  <a:latin typeface="Segoe UI Light"/>
                </a:rPr>
                <a:t>Speech</a:t>
              </a:r>
            </a:p>
          </p:txBody>
        </p:sp>
      </p:grpSp>
      <p:grpSp>
        <p:nvGrpSpPr>
          <p:cNvPr id="61" name="Group 60"/>
          <p:cNvGrpSpPr/>
          <p:nvPr/>
        </p:nvGrpSpPr>
        <p:grpSpPr>
          <a:xfrm>
            <a:off x="4994619" y="2170267"/>
            <a:ext cx="2185876" cy="627408"/>
            <a:chOff x="803520" y="1881281"/>
            <a:chExt cx="2230024" cy="640080"/>
          </a:xfrm>
        </p:grpSpPr>
        <p:sp>
          <p:nvSpPr>
            <p:cNvPr id="63" name="Rectangle 62"/>
            <p:cNvSpPr/>
            <p:nvPr/>
          </p:nvSpPr>
          <p:spPr>
            <a:xfrm>
              <a:off x="803520" y="1881281"/>
              <a:ext cx="2230024" cy="640080"/>
            </a:xfrm>
            <a:prstGeom prst="rect">
              <a:avLst/>
            </a:prstGeom>
            <a:solidFill>
              <a:srgbClr val="009580"/>
            </a:solidFill>
            <a:ln w="9525" cap="flat" cmpd="sng" algn="ctr">
              <a:noFill/>
              <a:prstDash val="solid"/>
            </a:ln>
            <a:effectLst/>
          </p:spPr>
          <p:txBody>
            <a:bodyPr lIns="116954" tIns="58475" rIns="116954" bIns="58475"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78390">
                <a:defRPr/>
              </a:pPr>
              <a:endParaRPr lang="en-US" sz="1765" kern="0" dirty="0">
                <a:gradFill>
                  <a:gsLst>
                    <a:gs pos="0">
                      <a:srgbClr val="FFFFFF"/>
                    </a:gs>
                    <a:gs pos="100000">
                      <a:srgbClr val="FFFFFF"/>
                    </a:gs>
                  </a:gsLst>
                  <a:lin ang="5400000" scaled="0"/>
                </a:gradFill>
                <a:latin typeface="Segoe UI Light"/>
              </a:endParaRPr>
            </a:p>
          </p:txBody>
        </p:sp>
        <p:sp>
          <p:nvSpPr>
            <p:cNvPr id="64" name="TextBox 63"/>
            <p:cNvSpPr txBox="1"/>
            <p:nvPr/>
          </p:nvSpPr>
          <p:spPr>
            <a:xfrm>
              <a:off x="1121106" y="1886159"/>
              <a:ext cx="1702127" cy="627912"/>
            </a:xfrm>
            <a:prstGeom prst="rect">
              <a:avLst/>
            </a:prstGeom>
            <a:solidFill>
              <a:srgbClr val="009580"/>
            </a:solidFill>
            <a:ln>
              <a:noFill/>
            </a:ln>
          </p:spPr>
          <p:txBody>
            <a:bodyPr wrap="square" lIns="179259" tIns="143407" rIns="179259" bIns="143407" rtlCol="0" anchor="ctr">
              <a:spAutoFit/>
            </a:bodyPr>
            <a:lstStyle/>
            <a:p>
              <a:pPr defTabSz="896386" latinLnBrk="0">
                <a:lnSpc>
                  <a:spcPct val="90000"/>
                </a:lnSpc>
                <a:spcAft>
                  <a:spcPts val="588"/>
                </a:spcAft>
                <a:defRPr/>
              </a:pPr>
              <a:r>
                <a:rPr lang="en-US" sz="2353" kern="0" dirty="0">
                  <a:gradFill>
                    <a:gsLst>
                      <a:gs pos="2917">
                        <a:srgbClr val="FFFFFF"/>
                      </a:gs>
                      <a:gs pos="30000">
                        <a:srgbClr val="FFFFFF"/>
                      </a:gs>
                    </a:gsLst>
                    <a:lin ang="5400000" scaled="0"/>
                  </a:gradFill>
                  <a:latin typeface="Segoe UI Light"/>
                </a:rPr>
                <a:t>Language</a:t>
              </a:r>
            </a:p>
          </p:txBody>
        </p:sp>
      </p:grpSp>
      <p:grpSp>
        <p:nvGrpSpPr>
          <p:cNvPr id="66" name="Group 65"/>
          <p:cNvGrpSpPr/>
          <p:nvPr/>
        </p:nvGrpSpPr>
        <p:grpSpPr>
          <a:xfrm>
            <a:off x="7309035" y="2169084"/>
            <a:ext cx="2178718" cy="627408"/>
            <a:chOff x="803520" y="1881281"/>
            <a:chExt cx="2222721" cy="640080"/>
          </a:xfrm>
        </p:grpSpPr>
        <p:sp>
          <p:nvSpPr>
            <p:cNvPr id="68" name="Rectangle 67"/>
            <p:cNvSpPr/>
            <p:nvPr/>
          </p:nvSpPr>
          <p:spPr>
            <a:xfrm>
              <a:off x="803520" y="1881281"/>
              <a:ext cx="2222721" cy="640080"/>
            </a:xfrm>
            <a:prstGeom prst="rect">
              <a:avLst/>
            </a:prstGeom>
            <a:solidFill>
              <a:srgbClr val="009580"/>
            </a:solidFill>
            <a:ln w="9525" cap="flat" cmpd="sng" algn="ctr">
              <a:noFill/>
              <a:prstDash val="solid"/>
            </a:ln>
            <a:effectLst/>
          </p:spPr>
          <p:txBody>
            <a:bodyPr lIns="116954" tIns="58475" rIns="116954" bIns="58475"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78390">
                <a:defRPr/>
              </a:pPr>
              <a:endParaRPr lang="en-US" sz="1765" kern="0" dirty="0">
                <a:gradFill>
                  <a:gsLst>
                    <a:gs pos="0">
                      <a:srgbClr val="FFFFFF"/>
                    </a:gs>
                    <a:gs pos="100000">
                      <a:srgbClr val="FFFFFF"/>
                    </a:gs>
                  </a:gsLst>
                  <a:lin ang="5400000" scaled="0"/>
                </a:gradFill>
                <a:latin typeface="Segoe UI Light"/>
              </a:endParaRPr>
            </a:p>
          </p:txBody>
        </p:sp>
        <p:sp>
          <p:nvSpPr>
            <p:cNvPr id="69" name="TextBox 68"/>
            <p:cNvSpPr txBox="1"/>
            <p:nvPr/>
          </p:nvSpPr>
          <p:spPr>
            <a:xfrm>
              <a:off x="1147970" y="1886159"/>
              <a:ext cx="1824157" cy="627912"/>
            </a:xfrm>
            <a:prstGeom prst="rect">
              <a:avLst/>
            </a:prstGeom>
            <a:solidFill>
              <a:srgbClr val="009580"/>
            </a:solidFill>
            <a:ln>
              <a:noFill/>
            </a:ln>
          </p:spPr>
          <p:txBody>
            <a:bodyPr wrap="square" lIns="179259" tIns="143407" rIns="179259" bIns="143407" rtlCol="0" anchor="ctr">
              <a:spAutoFit/>
            </a:bodyPr>
            <a:lstStyle/>
            <a:p>
              <a:pPr defTabSz="896386" latinLnBrk="0">
                <a:lnSpc>
                  <a:spcPct val="90000"/>
                </a:lnSpc>
                <a:spcAft>
                  <a:spcPts val="588"/>
                </a:spcAft>
                <a:defRPr/>
              </a:pPr>
              <a:r>
                <a:rPr lang="en-US" sz="2353" kern="0" dirty="0">
                  <a:gradFill>
                    <a:gsLst>
                      <a:gs pos="2917">
                        <a:srgbClr val="FFFFFF"/>
                      </a:gs>
                      <a:gs pos="30000">
                        <a:srgbClr val="FFFFFF"/>
                      </a:gs>
                    </a:gsLst>
                    <a:lin ang="5400000" scaled="0"/>
                  </a:gradFill>
                  <a:latin typeface="Segoe UI Light"/>
                </a:rPr>
                <a:t>Knowledge</a:t>
              </a:r>
            </a:p>
          </p:txBody>
        </p:sp>
      </p:grpSp>
      <p:grpSp>
        <p:nvGrpSpPr>
          <p:cNvPr id="71" name="Group 70"/>
          <p:cNvGrpSpPr/>
          <p:nvPr/>
        </p:nvGrpSpPr>
        <p:grpSpPr>
          <a:xfrm>
            <a:off x="453952" y="2159789"/>
            <a:ext cx="2099968" cy="627408"/>
            <a:chOff x="803520" y="1881281"/>
            <a:chExt cx="2219313" cy="640080"/>
          </a:xfrm>
        </p:grpSpPr>
        <p:sp>
          <p:nvSpPr>
            <p:cNvPr id="73" name="Rectangle 72"/>
            <p:cNvSpPr/>
            <p:nvPr/>
          </p:nvSpPr>
          <p:spPr>
            <a:xfrm>
              <a:off x="803520" y="1881281"/>
              <a:ext cx="2219313" cy="640080"/>
            </a:xfrm>
            <a:prstGeom prst="rect">
              <a:avLst/>
            </a:prstGeom>
            <a:solidFill>
              <a:srgbClr val="009580"/>
            </a:solidFill>
            <a:ln w="9525" cap="flat" cmpd="sng" algn="ctr">
              <a:noFill/>
              <a:prstDash val="solid"/>
            </a:ln>
            <a:effectLst/>
          </p:spPr>
          <p:txBody>
            <a:bodyPr lIns="116954" tIns="58475" rIns="116954" bIns="58475"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78390">
                <a:defRPr/>
              </a:pPr>
              <a:endParaRPr lang="en-US" sz="1765" kern="0" dirty="0">
                <a:gradFill>
                  <a:gsLst>
                    <a:gs pos="0">
                      <a:srgbClr val="FFFFFF"/>
                    </a:gs>
                    <a:gs pos="100000">
                      <a:srgbClr val="FFFFFF"/>
                    </a:gs>
                  </a:gsLst>
                  <a:lin ang="5400000" scaled="0"/>
                </a:gradFill>
                <a:latin typeface="Segoe UI Light"/>
              </a:endParaRPr>
            </a:p>
          </p:txBody>
        </p:sp>
        <p:sp>
          <p:nvSpPr>
            <p:cNvPr id="74" name="TextBox 73"/>
            <p:cNvSpPr txBox="1"/>
            <p:nvPr/>
          </p:nvSpPr>
          <p:spPr>
            <a:xfrm>
              <a:off x="1227725" y="1886159"/>
              <a:ext cx="1177272" cy="627911"/>
            </a:xfrm>
            <a:prstGeom prst="rect">
              <a:avLst/>
            </a:prstGeom>
            <a:noFill/>
            <a:ln>
              <a:noFill/>
            </a:ln>
          </p:spPr>
          <p:txBody>
            <a:bodyPr wrap="square" lIns="179259" tIns="143407" rIns="179259" bIns="143407" rtlCol="0" anchor="ctr">
              <a:spAutoFit/>
            </a:bodyPr>
            <a:lstStyle/>
            <a:p>
              <a:pPr defTabSz="896386" latinLnBrk="0">
                <a:lnSpc>
                  <a:spcPct val="90000"/>
                </a:lnSpc>
                <a:spcAft>
                  <a:spcPts val="588"/>
                </a:spcAft>
                <a:defRPr/>
              </a:pPr>
              <a:r>
                <a:rPr lang="en-US" sz="2353" kern="0" dirty="0">
                  <a:gradFill>
                    <a:gsLst>
                      <a:gs pos="2917">
                        <a:srgbClr val="FFFFFF"/>
                      </a:gs>
                      <a:gs pos="30000">
                        <a:srgbClr val="FFFFFF"/>
                      </a:gs>
                    </a:gsLst>
                    <a:lin ang="5400000" scaled="0"/>
                  </a:gradFill>
                  <a:latin typeface="Segoe UI Light"/>
                </a:rPr>
                <a:t>Vision</a:t>
              </a:r>
            </a:p>
          </p:txBody>
        </p:sp>
      </p:grpSp>
      <p:grpSp>
        <p:nvGrpSpPr>
          <p:cNvPr id="75" name="Group 74"/>
          <p:cNvGrpSpPr/>
          <p:nvPr/>
        </p:nvGrpSpPr>
        <p:grpSpPr>
          <a:xfrm>
            <a:off x="4993839" y="3586513"/>
            <a:ext cx="2171620" cy="627407"/>
            <a:chOff x="9701909" y="5021262"/>
            <a:chExt cx="2459932" cy="533400"/>
          </a:xfrm>
          <a:solidFill>
            <a:schemeClr val="tx1"/>
          </a:solidFill>
        </p:grpSpPr>
        <p:sp>
          <p:nvSpPr>
            <p:cNvPr id="78" name="Flowchart: Process 8"/>
            <p:cNvSpPr/>
            <p:nvPr/>
          </p:nvSpPr>
          <p:spPr bwMode="auto">
            <a:xfrm>
              <a:off x="9701909" y="50212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7" name="Rectangle 76"/>
            <p:cNvSpPr/>
            <p:nvPr/>
          </p:nvSpPr>
          <p:spPr>
            <a:xfrm>
              <a:off x="9793736" y="5125889"/>
              <a:ext cx="2211413" cy="324146"/>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Linguistic Analysis</a:t>
              </a:r>
            </a:p>
          </p:txBody>
        </p:sp>
      </p:grpSp>
      <p:grpSp>
        <p:nvGrpSpPr>
          <p:cNvPr id="80" name="Group 79"/>
          <p:cNvGrpSpPr/>
          <p:nvPr/>
        </p:nvGrpSpPr>
        <p:grpSpPr>
          <a:xfrm>
            <a:off x="4979992" y="4299874"/>
            <a:ext cx="2171625" cy="627407"/>
            <a:chOff x="9701909" y="5630862"/>
            <a:chExt cx="2459932" cy="533400"/>
          </a:xfrm>
          <a:solidFill>
            <a:srgbClr val="0070C0"/>
          </a:solidFill>
        </p:grpSpPr>
        <p:sp>
          <p:nvSpPr>
            <p:cNvPr id="83" name="Flowchart: Process 8"/>
            <p:cNvSpPr/>
            <p:nvPr/>
          </p:nvSpPr>
          <p:spPr bwMode="auto">
            <a:xfrm>
              <a:off x="9701909" y="56308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solidFill>
                  <a:srgbClr val="FFFFFF"/>
                </a:solidFill>
                <a:latin typeface="Segoe UI Light"/>
                <a:ea typeface="Segoe UI" pitchFamily="34" charset="0"/>
                <a:cs typeface="Segoe UI" pitchFamily="34" charset="0"/>
              </a:endParaRPr>
            </a:p>
          </p:txBody>
        </p:sp>
        <p:sp>
          <p:nvSpPr>
            <p:cNvPr id="82" name="Rectangle 81"/>
            <p:cNvSpPr/>
            <p:nvPr/>
          </p:nvSpPr>
          <p:spPr>
            <a:xfrm>
              <a:off x="9795160" y="5631889"/>
              <a:ext cx="2354349" cy="530950"/>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solidFill>
                    <a:srgbClr val="FFFFFF"/>
                  </a:solidFill>
                  <a:latin typeface="Segoe UI Light"/>
                </a:rPr>
                <a:t>Language Understanding</a:t>
              </a:r>
            </a:p>
          </p:txBody>
        </p:sp>
      </p:grpSp>
      <p:grpSp>
        <p:nvGrpSpPr>
          <p:cNvPr id="85" name="Group 84"/>
          <p:cNvGrpSpPr/>
          <p:nvPr/>
        </p:nvGrpSpPr>
        <p:grpSpPr>
          <a:xfrm>
            <a:off x="5000770" y="2873152"/>
            <a:ext cx="2172490" cy="627404"/>
            <a:chOff x="9701907" y="3192460"/>
            <a:chExt cx="2459932" cy="533400"/>
          </a:xfrm>
          <a:solidFill>
            <a:schemeClr val="tx1"/>
          </a:solidFill>
        </p:grpSpPr>
        <p:sp>
          <p:nvSpPr>
            <p:cNvPr id="88" name="Flowchart: Process 8"/>
            <p:cNvSpPr/>
            <p:nvPr/>
          </p:nvSpPr>
          <p:spPr bwMode="auto">
            <a:xfrm>
              <a:off x="9701907" y="3192460"/>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87" name="Rectangle 86"/>
            <p:cNvSpPr/>
            <p:nvPr/>
          </p:nvSpPr>
          <p:spPr>
            <a:xfrm>
              <a:off x="9836196" y="3268662"/>
              <a:ext cx="2325642" cy="388654"/>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Bing Spell Check</a:t>
              </a:r>
            </a:p>
          </p:txBody>
        </p:sp>
      </p:grpSp>
      <p:grpSp>
        <p:nvGrpSpPr>
          <p:cNvPr id="90" name="Group 89"/>
          <p:cNvGrpSpPr/>
          <p:nvPr/>
        </p:nvGrpSpPr>
        <p:grpSpPr>
          <a:xfrm>
            <a:off x="7320592" y="3586513"/>
            <a:ext cx="2171546" cy="627407"/>
            <a:chOff x="9701909" y="5021262"/>
            <a:chExt cx="2459932" cy="533400"/>
          </a:xfrm>
          <a:solidFill>
            <a:schemeClr val="tx1"/>
          </a:solidFill>
        </p:grpSpPr>
        <p:sp>
          <p:nvSpPr>
            <p:cNvPr id="93" name="Flowchart: Process 8"/>
            <p:cNvSpPr/>
            <p:nvPr/>
          </p:nvSpPr>
          <p:spPr bwMode="auto">
            <a:xfrm>
              <a:off x="9701909" y="50212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92" name="Rectangle 91"/>
            <p:cNvSpPr/>
            <p:nvPr/>
          </p:nvSpPr>
          <p:spPr>
            <a:xfrm>
              <a:off x="9869331" y="5125889"/>
              <a:ext cx="2143840" cy="324146"/>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Entity Linking</a:t>
              </a:r>
            </a:p>
          </p:txBody>
        </p:sp>
      </p:grpSp>
      <p:grpSp>
        <p:nvGrpSpPr>
          <p:cNvPr id="95" name="Group 94"/>
          <p:cNvGrpSpPr/>
          <p:nvPr/>
        </p:nvGrpSpPr>
        <p:grpSpPr>
          <a:xfrm>
            <a:off x="7312722" y="4299874"/>
            <a:ext cx="2179416" cy="627407"/>
            <a:chOff x="9701909" y="5630862"/>
            <a:chExt cx="2459932" cy="533400"/>
          </a:xfrm>
          <a:solidFill>
            <a:schemeClr val="tx1"/>
          </a:solidFill>
        </p:grpSpPr>
        <p:sp>
          <p:nvSpPr>
            <p:cNvPr id="98" name="Flowchart: Process 8"/>
            <p:cNvSpPr/>
            <p:nvPr/>
          </p:nvSpPr>
          <p:spPr bwMode="auto">
            <a:xfrm>
              <a:off x="9701909" y="56308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97" name="Rectangle 96"/>
            <p:cNvSpPr/>
            <p:nvPr/>
          </p:nvSpPr>
          <p:spPr>
            <a:xfrm>
              <a:off x="9870712" y="5631889"/>
              <a:ext cx="2130568" cy="530950"/>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Knowledge Exploration</a:t>
              </a:r>
            </a:p>
          </p:txBody>
        </p:sp>
      </p:grpSp>
      <p:grpSp>
        <p:nvGrpSpPr>
          <p:cNvPr id="100" name="Group 99"/>
          <p:cNvGrpSpPr/>
          <p:nvPr/>
        </p:nvGrpSpPr>
        <p:grpSpPr>
          <a:xfrm>
            <a:off x="7297147" y="2873152"/>
            <a:ext cx="2182436" cy="627404"/>
            <a:chOff x="9701907" y="3192460"/>
            <a:chExt cx="2459932" cy="533400"/>
          </a:xfrm>
          <a:solidFill>
            <a:schemeClr val="tx1"/>
          </a:solidFill>
        </p:grpSpPr>
        <p:sp>
          <p:nvSpPr>
            <p:cNvPr id="103" name="Flowchart: Process 8"/>
            <p:cNvSpPr/>
            <p:nvPr/>
          </p:nvSpPr>
          <p:spPr bwMode="auto">
            <a:xfrm>
              <a:off x="9701907" y="3192460"/>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02" name="Rectangle 101"/>
            <p:cNvSpPr/>
            <p:nvPr/>
          </p:nvSpPr>
          <p:spPr>
            <a:xfrm>
              <a:off x="9857784" y="3268662"/>
              <a:ext cx="2143840" cy="388654"/>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Academic Knowledge </a:t>
              </a:r>
            </a:p>
          </p:txBody>
        </p:sp>
      </p:grpSp>
      <p:grpSp>
        <p:nvGrpSpPr>
          <p:cNvPr id="105" name="Group 104"/>
          <p:cNvGrpSpPr/>
          <p:nvPr/>
        </p:nvGrpSpPr>
        <p:grpSpPr>
          <a:xfrm>
            <a:off x="9603470" y="3586513"/>
            <a:ext cx="2175914" cy="627407"/>
            <a:chOff x="9701909" y="5021262"/>
            <a:chExt cx="2459932" cy="533400"/>
          </a:xfrm>
          <a:solidFill>
            <a:srgbClr val="0070C0"/>
          </a:solidFill>
        </p:grpSpPr>
        <p:sp>
          <p:nvSpPr>
            <p:cNvPr id="108" name="Flowchart: Process 8"/>
            <p:cNvSpPr/>
            <p:nvPr/>
          </p:nvSpPr>
          <p:spPr bwMode="auto">
            <a:xfrm>
              <a:off x="9701909" y="50212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solidFill>
                  <a:srgbClr val="FFFFFF"/>
                </a:solidFill>
                <a:latin typeface="Segoe UI Light"/>
                <a:ea typeface="Segoe UI" pitchFamily="34" charset="0"/>
                <a:cs typeface="Segoe UI" pitchFamily="34" charset="0"/>
              </a:endParaRPr>
            </a:p>
          </p:txBody>
        </p:sp>
        <p:sp>
          <p:nvSpPr>
            <p:cNvPr id="107" name="Rectangle 106"/>
            <p:cNvSpPr/>
            <p:nvPr/>
          </p:nvSpPr>
          <p:spPr>
            <a:xfrm>
              <a:off x="9815712" y="5125889"/>
              <a:ext cx="2289449" cy="324146"/>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solidFill>
                    <a:srgbClr val="FFFFFF"/>
                  </a:solidFill>
                  <a:latin typeface="Segoe UI Light"/>
                </a:rPr>
                <a:t>Bing </a:t>
              </a:r>
            </a:p>
            <a:p>
              <a:pPr defTabSz="878390" latinLnBrk="0">
                <a:defRPr/>
              </a:pPr>
              <a:r>
                <a:rPr lang="en-US" sz="1765" kern="0" dirty="0">
                  <a:solidFill>
                    <a:srgbClr val="FFFFFF"/>
                  </a:solidFill>
                  <a:latin typeface="Segoe UI Light"/>
                </a:rPr>
                <a:t>Image Search</a:t>
              </a:r>
            </a:p>
          </p:txBody>
        </p:sp>
      </p:grpSp>
      <p:grpSp>
        <p:nvGrpSpPr>
          <p:cNvPr id="110" name="Group 109"/>
          <p:cNvGrpSpPr/>
          <p:nvPr/>
        </p:nvGrpSpPr>
        <p:grpSpPr>
          <a:xfrm>
            <a:off x="9614303" y="4299874"/>
            <a:ext cx="2170535" cy="627407"/>
            <a:chOff x="9701909" y="5630862"/>
            <a:chExt cx="2459932" cy="533400"/>
          </a:xfrm>
          <a:solidFill>
            <a:srgbClr val="0070C0"/>
          </a:solidFill>
        </p:grpSpPr>
        <p:sp>
          <p:nvSpPr>
            <p:cNvPr id="113" name="Flowchart: Process 8"/>
            <p:cNvSpPr/>
            <p:nvPr/>
          </p:nvSpPr>
          <p:spPr bwMode="auto">
            <a:xfrm>
              <a:off x="9701909" y="56308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solidFill>
                  <a:srgbClr val="FFFFFF"/>
                </a:solidFill>
                <a:latin typeface="Segoe UI Light"/>
                <a:ea typeface="Segoe UI" pitchFamily="34" charset="0"/>
                <a:cs typeface="Segoe UI" pitchFamily="34" charset="0"/>
              </a:endParaRPr>
            </a:p>
          </p:txBody>
        </p:sp>
        <p:sp>
          <p:nvSpPr>
            <p:cNvPr id="112" name="Rectangle 111"/>
            <p:cNvSpPr/>
            <p:nvPr/>
          </p:nvSpPr>
          <p:spPr>
            <a:xfrm>
              <a:off x="9871713" y="5631889"/>
              <a:ext cx="2233474" cy="530950"/>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solidFill>
                    <a:srgbClr val="FFFFFF"/>
                  </a:solidFill>
                  <a:latin typeface="Segoe UI Light"/>
                </a:rPr>
                <a:t>Bing </a:t>
              </a:r>
            </a:p>
            <a:p>
              <a:pPr defTabSz="878390" latinLnBrk="0">
                <a:defRPr/>
              </a:pPr>
              <a:r>
                <a:rPr lang="en-US" sz="1765" kern="0" dirty="0">
                  <a:solidFill>
                    <a:srgbClr val="FFFFFF"/>
                  </a:solidFill>
                  <a:latin typeface="Segoe UI Light"/>
                </a:rPr>
                <a:t>Video Search</a:t>
              </a:r>
            </a:p>
          </p:txBody>
        </p:sp>
      </p:grpSp>
      <p:grpSp>
        <p:nvGrpSpPr>
          <p:cNvPr id="115" name="Group 114"/>
          <p:cNvGrpSpPr/>
          <p:nvPr/>
        </p:nvGrpSpPr>
        <p:grpSpPr>
          <a:xfrm>
            <a:off x="9603470" y="2873152"/>
            <a:ext cx="2178939" cy="627404"/>
            <a:chOff x="9701907" y="3192460"/>
            <a:chExt cx="2459932" cy="533400"/>
          </a:xfrm>
          <a:solidFill>
            <a:srgbClr val="0070C0"/>
          </a:solidFill>
        </p:grpSpPr>
        <p:sp>
          <p:nvSpPr>
            <p:cNvPr id="118" name="Flowchart: Process 8"/>
            <p:cNvSpPr/>
            <p:nvPr/>
          </p:nvSpPr>
          <p:spPr bwMode="auto">
            <a:xfrm>
              <a:off x="9701907" y="3192460"/>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solidFill>
                  <a:srgbClr val="FFFFFF"/>
                </a:solidFill>
                <a:latin typeface="Segoe UI Light"/>
                <a:ea typeface="Segoe UI" pitchFamily="34" charset="0"/>
                <a:cs typeface="Segoe UI" pitchFamily="34" charset="0"/>
              </a:endParaRPr>
            </a:p>
          </p:txBody>
        </p:sp>
        <p:sp>
          <p:nvSpPr>
            <p:cNvPr id="117" name="Rectangle 116"/>
            <p:cNvSpPr/>
            <p:nvPr/>
          </p:nvSpPr>
          <p:spPr>
            <a:xfrm>
              <a:off x="9812188" y="3268663"/>
              <a:ext cx="2289447" cy="388654"/>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solidFill>
                    <a:srgbClr val="FFFFFF"/>
                  </a:solidFill>
                  <a:latin typeface="Segoe UI Light"/>
                </a:rPr>
                <a:t>Bing </a:t>
              </a:r>
            </a:p>
            <a:p>
              <a:pPr defTabSz="878390" latinLnBrk="0">
                <a:defRPr/>
              </a:pPr>
              <a:r>
                <a:rPr lang="en-US" sz="1765" kern="0" dirty="0">
                  <a:solidFill>
                    <a:srgbClr val="FFFFFF"/>
                  </a:solidFill>
                  <a:latin typeface="Segoe UI Light"/>
                </a:rPr>
                <a:t>Web Search</a:t>
              </a:r>
            </a:p>
          </p:txBody>
        </p:sp>
      </p:grpSp>
      <p:grpSp>
        <p:nvGrpSpPr>
          <p:cNvPr id="120" name="Group 119"/>
          <p:cNvGrpSpPr/>
          <p:nvPr/>
        </p:nvGrpSpPr>
        <p:grpSpPr>
          <a:xfrm>
            <a:off x="4979992" y="5724923"/>
            <a:ext cx="2171624" cy="627407"/>
            <a:chOff x="9701909" y="5021262"/>
            <a:chExt cx="2459932" cy="533400"/>
          </a:xfrm>
          <a:solidFill>
            <a:schemeClr val="tx1"/>
          </a:solidFill>
        </p:grpSpPr>
        <p:sp>
          <p:nvSpPr>
            <p:cNvPr id="123" name="Flowchart: Process 8"/>
            <p:cNvSpPr/>
            <p:nvPr/>
          </p:nvSpPr>
          <p:spPr bwMode="auto">
            <a:xfrm>
              <a:off x="9701909" y="50212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22" name="Rectangle 121"/>
            <p:cNvSpPr/>
            <p:nvPr/>
          </p:nvSpPr>
          <p:spPr>
            <a:xfrm>
              <a:off x="9797893" y="5125889"/>
              <a:ext cx="2315047" cy="324146"/>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WebLM</a:t>
              </a:r>
            </a:p>
          </p:txBody>
        </p:sp>
      </p:grpSp>
      <p:grpSp>
        <p:nvGrpSpPr>
          <p:cNvPr id="125" name="Group 124"/>
          <p:cNvGrpSpPr/>
          <p:nvPr/>
        </p:nvGrpSpPr>
        <p:grpSpPr>
          <a:xfrm>
            <a:off x="4978482" y="5013236"/>
            <a:ext cx="2174643" cy="627404"/>
            <a:chOff x="9701907" y="3192460"/>
            <a:chExt cx="2459932" cy="533400"/>
          </a:xfrm>
          <a:solidFill>
            <a:schemeClr val="tx1"/>
          </a:solidFill>
        </p:grpSpPr>
        <p:sp>
          <p:nvSpPr>
            <p:cNvPr id="128" name="Flowchart: Process 8"/>
            <p:cNvSpPr/>
            <p:nvPr/>
          </p:nvSpPr>
          <p:spPr bwMode="auto">
            <a:xfrm>
              <a:off x="9701907" y="3192460"/>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27" name="Rectangle 126"/>
            <p:cNvSpPr/>
            <p:nvPr/>
          </p:nvSpPr>
          <p:spPr>
            <a:xfrm>
              <a:off x="9794370" y="3268662"/>
              <a:ext cx="2315046" cy="388654"/>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Text Analytics</a:t>
              </a:r>
            </a:p>
          </p:txBody>
        </p:sp>
      </p:grpSp>
      <p:sp>
        <p:nvSpPr>
          <p:cNvPr id="132" name="Rectangle 131"/>
          <p:cNvSpPr/>
          <p:nvPr/>
        </p:nvSpPr>
        <p:spPr>
          <a:xfrm>
            <a:off x="7318356" y="5013236"/>
            <a:ext cx="2161228" cy="624525"/>
          </a:xfrm>
          <a:prstGeom prst="rect">
            <a:avLst/>
          </a:prstGeom>
          <a:solidFill>
            <a:schemeClr val="tx1"/>
          </a:solid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  Recommendations</a:t>
            </a:r>
          </a:p>
        </p:txBody>
      </p:sp>
      <p:grpSp>
        <p:nvGrpSpPr>
          <p:cNvPr id="135" name="Group 134"/>
          <p:cNvGrpSpPr/>
          <p:nvPr/>
        </p:nvGrpSpPr>
        <p:grpSpPr>
          <a:xfrm>
            <a:off x="9639428" y="5724923"/>
            <a:ext cx="2167511" cy="627407"/>
            <a:chOff x="9701909" y="5021262"/>
            <a:chExt cx="2459932" cy="533400"/>
          </a:xfrm>
          <a:solidFill>
            <a:schemeClr val="tx1"/>
          </a:solidFill>
        </p:grpSpPr>
        <p:sp>
          <p:nvSpPr>
            <p:cNvPr id="138" name="Flowchart: Process 8"/>
            <p:cNvSpPr/>
            <p:nvPr/>
          </p:nvSpPr>
          <p:spPr bwMode="auto">
            <a:xfrm>
              <a:off x="9701909" y="50212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37" name="Rectangle 136"/>
            <p:cNvSpPr/>
            <p:nvPr/>
          </p:nvSpPr>
          <p:spPr>
            <a:xfrm>
              <a:off x="9863993" y="5125889"/>
              <a:ext cx="2149178" cy="324146"/>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Bing </a:t>
              </a:r>
            </a:p>
            <a:p>
              <a:pPr defTabSz="878390" latinLnBrk="0">
                <a:defRPr/>
              </a:pPr>
              <a:r>
                <a:rPr lang="en-US" sz="1765" kern="0" dirty="0">
                  <a:gradFill>
                    <a:gsLst>
                      <a:gs pos="0">
                        <a:srgbClr val="404040"/>
                      </a:gs>
                      <a:gs pos="100000">
                        <a:srgbClr val="404040"/>
                      </a:gs>
                    </a:gsLst>
                    <a:lin ang="5400000" scaled="0"/>
                  </a:gradFill>
                  <a:latin typeface="Segoe UI Light"/>
                </a:rPr>
                <a:t>Autosuggest</a:t>
              </a:r>
            </a:p>
          </p:txBody>
        </p:sp>
      </p:grpSp>
      <p:grpSp>
        <p:nvGrpSpPr>
          <p:cNvPr id="140" name="Group 139"/>
          <p:cNvGrpSpPr/>
          <p:nvPr/>
        </p:nvGrpSpPr>
        <p:grpSpPr>
          <a:xfrm>
            <a:off x="9630142" y="5013236"/>
            <a:ext cx="2170535" cy="627404"/>
            <a:chOff x="9701907" y="3192460"/>
            <a:chExt cx="2459932" cy="533400"/>
          </a:xfrm>
          <a:solidFill>
            <a:srgbClr val="0070C0"/>
          </a:solidFill>
        </p:grpSpPr>
        <p:sp>
          <p:nvSpPr>
            <p:cNvPr id="143" name="Flowchart: Process 8"/>
            <p:cNvSpPr/>
            <p:nvPr/>
          </p:nvSpPr>
          <p:spPr bwMode="auto">
            <a:xfrm>
              <a:off x="9701907" y="3192460"/>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solidFill>
                  <a:srgbClr val="FFFFFF"/>
                </a:solidFill>
                <a:latin typeface="Segoe UI Light"/>
                <a:ea typeface="Segoe UI" pitchFamily="34" charset="0"/>
                <a:cs typeface="Segoe UI" pitchFamily="34" charset="0"/>
              </a:endParaRPr>
            </a:p>
          </p:txBody>
        </p:sp>
        <p:sp>
          <p:nvSpPr>
            <p:cNvPr id="142" name="Rectangle 141"/>
            <p:cNvSpPr/>
            <p:nvPr/>
          </p:nvSpPr>
          <p:spPr>
            <a:xfrm>
              <a:off x="9860469" y="3268662"/>
              <a:ext cx="2234825" cy="388654"/>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solidFill>
                    <a:srgbClr val="FFFFFF"/>
                  </a:solidFill>
                  <a:latin typeface="Segoe UI Light"/>
                </a:rPr>
                <a:t>Bing </a:t>
              </a:r>
            </a:p>
            <a:p>
              <a:pPr defTabSz="878390" latinLnBrk="0">
                <a:defRPr/>
              </a:pPr>
              <a:r>
                <a:rPr lang="en-US" sz="1765" kern="0" dirty="0">
                  <a:solidFill>
                    <a:srgbClr val="FFFFFF"/>
                  </a:solidFill>
                  <a:latin typeface="Segoe UI Light"/>
                </a:rPr>
                <a:t>News Search</a:t>
              </a:r>
            </a:p>
          </p:txBody>
        </p:sp>
      </p:grpSp>
      <p:grpSp>
        <p:nvGrpSpPr>
          <p:cNvPr id="104" name="Group 103"/>
          <p:cNvGrpSpPr/>
          <p:nvPr/>
        </p:nvGrpSpPr>
        <p:grpSpPr>
          <a:xfrm>
            <a:off x="2686736" y="5013236"/>
            <a:ext cx="2185419" cy="617168"/>
            <a:chOff x="9701909" y="5021262"/>
            <a:chExt cx="2459932" cy="533400"/>
          </a:xfrm>
          <a:solidFill>
            <a:srgbClr val="0070C0"/>
          </a:solidFill>
        </p:grpSpPr>
        <p:sp>
          <p:nvSpPr>
            <p:cNvPr id="106" name="Flowchart: Process 8"/>
            <p:cNvSpPr/>
            <p:nvPr/>
          </p:nvSpPr>
          <p:spPr bwMode="auto">
            <a:xfrm>
              <a:off x="9701909" y="50212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solidFill>
                  <a:srgbClr val="FFFFFF"/>
                </a:solidFill>
                <a:latin typeface="Segoe UI Light"/>
                <a:ea typeface="Segoe UI" pitchFamily="34" charset="0"/>
                <a:cs typeface="Segoe UI" pitchFamily="34" charset="0"/>
              </a:endParaRPr>
            </a:p>
          </p:txBody>
        </p:sp>
        <p:sp>
          <p:nvSpPr>
            <p:cNvPr id="109" name="Rectangle 108"/>
            <p:cNvSpPr/>
            <p:nvPr/>
          </p:nvSpPr>
          <p:spPr>
            <a:xfrm>
              <a:off x="9797893" y="5125889"/>
              <a:ext cx="2315047" cy="324146"/>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solidFill>
                    <a:srgbClr val="FFFFFF"/>
                  </a:solidFill>
                  <a:latin typeface="Segoe UI Light"/>
                </a:rPr>
                <a:t>Translator</a:t>
              </a:r>
            </a:p>
          </p:txBody>
        </p:sp>
      </p:grpSp>
      <p:sp>
        <p:nvSpPr>
          <p:cNvPr id="101" name="Freeform 22"/>
          <p:cNvSpPr>
            <a:spLocks noChangeAspect="1"/>
          </p:cNvSpPr>
          <p:nvPr/>
        </p:nvSpPr>
        <p:spPr bwMode="auto">
          <a:xfrm>
            <a:off x="540068" y="2361367"/>
            <a:ext cx="358570" cy="237274"/>
          </a:xfrm>
          <a:custGeom>
            <a:avLst/>
            <a:gdLst>
              <a:gd name="T0" fmla="*/ 4942 w 7181"/>
              <a:gd name="T1" fmla="*/ 414 h 4752"/>
              <a:gd name="T2" fmla="*/ 3024 w 7181"/>
              <a:gd name="T3" fmla="*/ 152 h 4752"/>
              <a:gd name="T4" fmla="*/ 0 w 7181"/>
              <a:gd name="T5" fmla="*/ 2353 h 4752"/>
              <a:gd name="T6" fmla="*/ 2201 w 7181"/>
              <a:gd name="T7" fmla="*/ 4282 h 4752"/>
              <a:gd name="T8" fmla="*/ 4848 w 7181"/>
              <a:gd name="T9" fmla="*/ 4351 h 4752"/>
              <a:gd name="T10" fmla="*/ 7102 w 7181"/>
              <a:gd name="T11" fmla="*/ 2474 h 4752"/>
              <a:gd name="T12" fmla="*/ 7181 w 7181"/>
              <a:gd name="T13" fmla="*/ 2350 h 4752"/>
              <a:gd name="T14" fmla="*/ 4942 w 7181"/>
              <a:gd name="T15" fmla="*/ 414 h 47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81" h="4752">
                <a:moveTo>
                  <a:pt x="4942" y="414"/>
                </a:moveTo>
                <a:cubicBezTo>
                  <a:pt x="4333" y="124"/>
                  <a:pt x="3691" y="0"/>
                  <a:pt x="3024" y="152"/>
                </a:cubicBezTo>
                <a:cubicBezTo>
                  <a:pt x="1710" y="456"/>
                  <a:pt x="812" y="1327"/>
                  <a:pt x="0" y="2353"/>
                </a:cubicBezTo>
                <a:cubicBezTo>
                  <a:pt x="608" y="3169"/>
                  <a:pt x="1306" y="3839"/>
                  <a:pt x="2201" y="4282"/>
                </a:cubicBezTo>
                <a:cubicBezTo>
                  <a:pt x="3069" y="4710"/>
                  <a:pt x="3957" y="4752"/>
                  <a:pt x="4848" y="4351"/>
                </a:cubicBezTo>
                <a:cubicBezTo>
                  <a:pt x="5771" y="3932"/>
                  <a:pt x="6490" y="3269"/>
                  <a:pt x="7102" y="2474"/>
                </a:cubicBezTo>
                <a:cubicBezTo>
                  <a:pt x="7129" y="2436"/>
                  <a:pt x="7154" y="2395"/>
                  <a:pt x="7181" y="2350"/>
                </a:cubicBezTo>
                <a:cubicBezTo>
                  <a:pt x="6570" y="1534"/>
                  <a:pt x="5861" y="853"/>
                  <a:pt x="4942" y="4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latinLnBrk="0">
              <a:defRPr/>
            </a:pPr>
            <a:endParaRPr lang="en-US" kern="0">
              <a:solidFill>
                <a:sysClr val="windowText" lastClr="000000"/>
              </a:solidFill>
              <a:latin typeface="Segoe UI"/>
            </a:endParaRPr>
          </a:p>
        </p:txBody>
      </p:sp>
      <p:sp>
        <p:nvSpPr>
          <p:cNvPr id="111" name="Freeform 18"/>
          <p:cNvSpPr>
            <a:spLocks noChangeAspect="1"/>
          </p:cNvSpPr>
          <p:nvPr/>
        </p:nvSpPr>
        <p:spPr bwMode="auto">
          <a:xfrm>
            <a:off x="2785270" y="2323732"/>
            <a:ext cx="356790" cy="312545"/>
          </a:xfrm>
          <a:custGeom>
            <a:avLst/>
            <a:gdLst>
              <a:gd name="T0" fmla="*/ 115 w 6349"/>
              <a:gd name="T1" fmla="*/ 1548 h 5575"/>
              <a:gd name="T2" fmla="*/ 1324 w 6349"/>
              <a:gd name="T3" fmla="*/ 225 h 5575"/>
              <a:gd name="T4" fmla="*/ 5039 w 6349"/>
              <a:gd name="T5" fmla="*/ 228 h 5575"/>
              <a:gd name="T6" fmla="*/ 6221 w 6349"/>
              <a:gd name="T7" fmla="*/ 1445 h 5575"/>
              <a:gd name="T8" fmla="*/ 6235 w 6349"/>
              <a:gd name="T9" fmla="*/ 3263 h 5575"/>
              <a:gd name="T10" fmla="*/ 4974 w 6349"/>
              <a:gd name="T11" fmla="*/ 4531 h 5575"/>
              <a:gd name="T12" fmla="*/ 3498 w 6349"/>
              <a:gd name="T13" fmla="*/ 4683 h 5575"/>
              <a:gd name="T14" fmla="*/ 3298 w 6349"/>
              <a:gd name="T15" fmla="*/ 4745 h 5575"/>
              <a:gd name="T16" fmla="*/ 2475 w 6349"/>
              <a:gd name="T17" fmla="*/ 5284 h 5575"/>
              <a:gd name="T18" fmla="*/ 1414 w 6349"/>
              <a:gd name="T19" fmla="*/ 5561 h 5575"/>
              <a:gd name="T20" fmla="*/ 1936 w 6349"/>
              <a:gd name="T21" fmla="*/ 4628 h 5575"/>
              <a:gd name="T22" fmla="*/ 1490 w 6349"/>
              <a:gd name="T23" fmla="*/ 4559 h 5575"/>
              <a:gd name="T24" fmla="*/ 118 w 6349"/>
              <a:gd name="T25" fmla="*/ 3270 h 5575"/>
              <a:gd name="T26" fmla="*/ 115 w 6349"/>
              <a:gd name="T27" fmla="*/ 1548 h 5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9" h="5575">
                <a:moveTo>
                  <a:pt x="115" y="1548"/>
                </a:moveTo>
                <a:cubicBezTo>
                  <a:pt x="211" y="957"/>
                  <a:pt x="595" y="353"/>
                  <a:pt x="1324" y="225"/>
                </a:cubicBezTo>
                <a:cubicBezTo>
                  <a:pt x="2565" y="10"/>
                  <a:pt x="3802" y="0"/>
                  <a:pt x="5039" y="228"/>
                </a:cubicBezTo>
                <a:cubicBezTo>
                  <a:pt x="5713" y="353"/>
                  <a:pt x="6086" y="792"/>
                  <a:pt x="6221" y="1445"/>
                </a:cubicBezTo>
                <a:cubicBezTo>
                  <a:pt x="6349" y="2050"/>
                  <a:pt x="6339" y="2658"/>
                  <a:pt x="6235" y="3263"/>
                </a:cubicBezTo>
                <a:cubicBezTo>
                  <a:pt x="6135" y="3847"/>
                  <a:pt x="5724" y="4438"/>
                  <a:pt x="4974" y="4531"/>
                </a:cubicBezTo>
                <a:cubicBezTo>
                  <a:pt x="4483" y="4590"/>
                  <a:pt x="3989" y="4631"/>
                  <a:pt x="3498" y="4683"/>
                </a:cubicBezTo>
                <a:cubicBezTo>
                  <a:pt x="3429" y="4690"/>
                  <a:pt x="3356" y="4707"/>
                  <a:pt x="3298" y="4745"/>
                </a:cubicBezTo>
                <a:cubicBezTo>
                  <a:pt x="3021" y="4921"/>
                  <a:pt x="2869" y="5125"/>
                  <a:pt x="2475" y="5284"/>
                </a:cubicBezTo>
                <a:cubicBezTo>
                  <a:pt x="2154" y="5423"/>
                  <a:pt x="1466" y="5575"/>
                  <a:pt x="1414" y="5561"/>
                </a:cubicBezTo>
                <a:cubicBezTo>
                  <a:pt x="1390" y="5523"/>
                  <a:pt x="1894" y="4963"/>
                  <a:pt x="1936" y="4628"/>
                </a:cubicBezTo>
                <a:cubicBezTo>
                  <a:pt x="1760" y="4600"/>
                  <a:pt x="1625" y="4579"/>
                  <a:pt x="1490" y="4559"/>
                </a:cubicBezTo>
                <a:cubicBezTo>
                  <a:pt x="719" y="4441"/>
                  <a:pt x="277" y="4013"/>
                  <a:pt x="118" y="3270"/>
                </a:cubicBezTo>
                <a:cubicBezTo>
                  <a:pt x="0" y="2665"/>
                  <a:pt x="35" y="2056"/>
                  <a:pt x="115" y="15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latinLnBrk="0">
              <a:defRPr/>
            </a:pPr>
            <a:endParaRPr lang="en-US" kern="0">
              <a:solidFill>
                <a:sysClr val="windowText" lastClr="000000"/>
              </a:solidFill>
              <a:latin typeface="Segoe UI"/>
            </a:endParaRPr>
          </a:p>
        </p:txBody>
      </p:sp>
      <p:sp>
        <p:nvSpPr>
          <p:cNvPr id="114" name="Freeform 9"/>
          <p:cNvSpPr>
            <a:spLocks noChangeAspect="1"/>
          </p:cNvSpPr>
          <p:nvPr/>
        </p:nvSpPr>
        <p:spPr bwMode="auto">
          <a:xfrm>
            <a:off x="5125675" y="2334207"/>
            <a:ext cx="231889" cy="291595"/>
          </a:xfrm>
          <a:custGeom>
            <a:avLst/>
            <a:gdLst>
              <a:gd name="T0" fmla="*/ 5153 w 5153"/>
              <a:gd name="T1" fmla="*/ 2353 h 6483"/>
              <a:gd name="T2" fmla="*/ 2799 w 5153"/>
              <a:gd name="T3" fmla="*/ 0 h 6483"/>
              <a:gd name="T4" fmla="*/ 445 w 5153"/>
              <a:gd name="T5" fmla="*/ 2353 h 6483"/>
              <a:gd name="T6" fmla="*/ 1852 w 5153"/>
              <a:gd name="T7" fmla="*/ 4507 h 6483"/>
              <a:gd name="T8" fmla="*/ 1399 w 5153"/>
              <a:gd name="T9" fmla="*/ 4932 h 6483"/>
              <a:gd name="T10" fmla="*/ 214 w 5153"/>
              <a:gd name="T11" fmla="*/ 5457 h 6483"/>
              <a:gd name="T12" fmla="*/ 41 w 5153"/>
              <a:gd name="T13" fmla="*/ 5578 h 6483"/>
              <a:gd name="T14" fmla="*/ 0 w 5153"/>
              <a:gd name="T15" fmla="*/ 6245 h 6483"/>
              <a:gd name="T16" fmla="*/ 96 w 5153"/>
              <a:gd name="T17" fmla="*/ 6276 h 6483"/>
              <a:gd name="T18" fmla="*/ 3145 w 5153"/>
              <a:gd name="T19" fmla="*/ 5637 h 6483"/>
              <a:gd name="T20" fmla="*/ 5153 w 5153"/>
              <a:gd name="T21" fmla="*/ 2353 h 6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53" h="6483">
                <a:moveTo>
                  <a:pt x="5153" y="2353"/>
                </a:moveTo>
                <a:cubicBezTo>
                  <a:pt x="5153" y="1054"/>
                  <a:pt x="4098" y="0"/>
                  <a:pt x="2799" y="0"/>
                </a:cubicBezTo>
                <a:cubicBezTo>
                  <a:pt x="1500" y="0"/>
                  <a:pt x="445" y="1054"/>
                  <a:pt x="445" y="2353"/>
                </a:cubicBezTo>
                <a:cubicBezTo>
                  <a:pt x="445" y="3314"/>
                  <a:pt x="1023" y="4144"/>
                  <a:pt x="1852" y="4507"/>
                </a:cubicBezTo>
                <a:cubicBezTo>
                  <a:pt x="1776" y="4634"/>
                  <a:pt x="1586" y="4814"/>
                  <a:pt x="1399" y="4932"/>
                </a:cubicBezTo>
                <a:cubicBezTo>
                  <a:pt x="1036" y="5167"/>
                  <a:pt x="611" y="5284"/>
                  <a:pt x="214" y="5457"/>
                </a:cubicBezTo>
                <a:cubicBezTo>
                  <a:pt x="148" y="5485"/>
                  <a:pt x="45" y="5530"/>
                  <a:pt x="41" y="5578"/>
                </a:cubicBezTo>
                <a:cubicBezTo>
                  <a:pt x="13" y="5799"/>
                  <a:pt x="10" y="6027"/>
                  <a:pt x="0" y="6245"/>
                </a:cubicBezTo>
                <a:cubicBezTo>
                  <a:pt x="48" y="6262"/>
                  <a:pt x="72" y="6273"/>
                  <a:pt x="96" y="6276"/>
                </a:cubicBezTo>
                <a:cubicBezTo>
                  <a:pt x="1213" y="6483"/>
                  <a:pt x="2229" y="6221"/>
                  <a:pt x="3145" y="5637"/>
                </a:cubicBezTo>
                <a:cubicBezTo>
                  <a:pt x="4095" y="5032"/>
                  <a:pt x="5153" y="4043"/>
                  <a:pt x="5153" y="23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latinLnBrk="0">
              <a:defRPr/>
            </a:pPr>
            <a:endParaRPr lang="en-US" kern="0">
              <a:solidFill>
                <a:sysClr val="windowText" lastClr="000000"/>
              </a:solidFill>
              <a:latin typeface="Segoe UI"/>
            </a:endParaRPr>
          </a:p>
        </p:txBody>
      </p:sp>
      <p:sp>
        <p:nvSpPr>
          <p:cNvPr id="116" name="Freeform 5"/>
          <p:cNvSpPr>
            <a:spLocks/>
          </p:cNvSpPr>
          <p:nvPr/>
        </p:nvSpPr>
        <p:spPr bwMode="auto">
          <a:xfrm>
            <a:off x="7376912" y="2318255"/>
            <a:ext cx="381223" cy="323499"/>
          </a:xfrm>
          <a:custGeom>
            <a:avLst/>
            <a:gdLst>
              <a:gd name="T0" fmla="*/ 5986 w 5986"/>
              <a:gd name="T1" fmla="*/ 3594 h 5985"/>
              <a:gd name="T2" fmla="*/ 5986 w 5986"/>
              <a:gd name="T3" fmla="*/ 2395 h 5985"/>
              <a:gd name="T4" fmla="*/ 5402 w 5986"/>
              <a:gd name="T5" fmla="*/ 2395 h 5985"/>
              <a:gd name="T6" fmla="*/ 5122 w 5986"/>
              <a:gd name="T7" fmla="*/ 1717 h 5985"/>
              <a:gd name="T8" fmla="*/ 5533 w 5986"/>
              <a:gd name="T9" fmla="*/ 1330 h 5985"/>
              <a:gd name="T10" fmla="*/ 4666 w 5986"/>
              <a:gd name="T11" fmla="*/ 463 h 5985"/>
              <a:gd name="T12" fmla="*/ 4282 w 5986"/>
              <a:gd name="T13" fmla="*/ 870 h 5985"/>
              <a:gd name="T14" fmla="*/ 3591 w 5986"/>
              <a:gd name="T15" fmla="*/ 584 h 5985"/>
              <a:gd name="T16" fmla="*/ 3591 w 5986"/>
              <a:gd name="T17" fmla="*/ 0 h 5985"/>
              <a:gd name="T18" fmla="*/ 2392 w 5986"/>
              <a:gd name="T19" fmla="*/ 0 h 5985"/>
              <a:gd name="T20" fmla="*/ 2392 w 5986"/>
              <a:gd name="T21" fmla="*/ 587 h 5985"/>
              <a:gd name="T22" fmla="*/ 1711 w 5986"/>
              <a:gd name="T23" fmla="*/ 870 h 5985"/>
              <a:gd name="T24" fmla="*/ 1327 w 5986"/>
              <a:gd name="T25" fmla="*/ 456 h 5985"/>
              <a:gd name="T26" fmla="*/ 453 w 5986"/>
              <a:gd name="T27" fmla="*/ 1323 h 5985"/>
              <a:gd name="T28" fmla="*/ 868 w 5986"/>
              <a:gd name="T29" fmla="*/ 1710 h 5985"/>
              <a:gd name="T30" fmla="*/ 584 w 5986"/>
              <a:gd name="T31" fmla="*/ 2395 h 5985"/>
              <a:gd name="T32" fmla="*/ 0 w 5986"/>
              <a:gd name="T33" fmla="*/ 2395 h 5985"/>
              <a:gd name="T34" fmla="*/ 0 w 5986"/>
              <a:gd name="T35" fmla="*/ 3587 h 5985"/>
              <a:gd name="T36" fmla="*/ 584 w 5986"/>
              <a:gd name="T37" fmla="*/ 3587 h 5985"/>
              <a:gd name="T38" fmla="*/ 871 w 5986"/>
              <a:gd name="T39" fmla="*/ 4275 h 5985"/>
              <a:gd name="T40" fmla="*/ 442 w 5986"/>
              <a:gd name="T41" fmla="*/ 4651 h 5985"/>
              <a:gd name="T42" fmla="*/ 1320 w 5986"/>
              <a:gd name="T43" fmla="*/ 5529 h 5985"/>
              <a:gd name="T44" fmla="*/ 1711 w 5986"/>
              <a:gd name="T45" fmla="*/ 5114 h 5985"/>
              <a:gd name="T46" fmla="*/ 2392 w 5986"/>
              <a:gd name="T47" fmla="*/ 5398 h 5985"/>
              <a:gd name="T48" fmla="*/ 2392 w 5986"/>
              <a:gd name="T49" fmla="*/ 5985 h 5985"/>
              <a:gd name="T50" fmla="*/ 3584 w 5986"/>
              <a:gd name="T51" fmla="*/ 5985 h 5985"/>
              <a:gd name="T52" fmla="*/ 3584 w 5986"/>
              <a:gd name="T53" fmla="*/ 5401 h 5985"/>
              <a:gd name="T54" fmla="*/ 4279 w 5986"/>
              <a:gd name="T55" fmla="*/ 5114 h 5985"/>
              <a:gd name="T56" fmla="*/ 4662 w 5986"/>
              <a:gd name="T57" fmla="*/ 5533 h 5985"/>
              <a:gd name="T58" fmla="*/ 5523 w 5986"/>
              <a:gd name="T59" fmla="*/ 4669 h 5985"/>
              <a:gd name="T60" fmla="*/ 5112 w 5986"/>
              <a:gd name="T61" fmla="*/ 4285 h 5985"/>
              <a:gd name="T62" fmla="*/ 5402 w 5986"/>
              <a:gd name="T63" fmla="*/ 3594 h 5985"/>
              <a:gd name="T64" fmla="*/ 5986 w 5986"/>
              <a:gd name="T65" fmla="*/ 3594 h 5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6" h="5985">
                <a:moveTo>
                  <a:pt x="5986" y="3594"/>
                </a:moveTo>
                <a:cubicBezTo>
                  <a:pt x="5986" y="3193"/>
                  <a:pt x="5986" y="2795"/>
                  <a:pt x="5986" y="2395"/>
                </a:cubicBezTo>
                <a:cubicBezTo>
                  <a:pt x="5789" y="2395"/>
                  <a:pt x="5595" y="2395"/>
                  <a:pt x="5402" y="2395"/>
                </a:cubicBezTo>
                <a:cubicBezTo>
                  <a:pt x="5343" y="2153"/>
                  <a:pt x="5246" y="1925"/>
                  <a:pt x="5122" y="1717"/>
                </a:cubicBezTo>
                <a:cubicBezTo>
                  <a:pt x="5257" y="1589"/>
                  <a:pt x="5395" y="1458"/>
                  <a:pt x="5533" y="1330"/>
                </a:cubicBezTo>
                <a:cubicBezTo>
                  <a:pt x="5232" y="1029"/>
                  <a:pt x="4956" y="753"/>
                  <a:pt x="4666" y="463"/>
                </a:cubicBezTo>
                <a:cubicBezTo>
                  <a:pt x="4541" y="597"/>
                  <a:pt x="4410" y="736"/>
                  <a:pt x="4282" y="870"/>
                </a:cubicBezTo>
                <a:cubicBezTo>
                  <a:pt x="4071" y="743"/>
                  <a:pt x="3836" y="642"/>
                  <a:pt x="3591" y="584"/>
                </a:cubicBezTo>
                <a:cubicBezTo>
                  <a:pt x="3591" y="397"/>
                  <a:pt x="3591" y="197"/>
                  <a:pt x="3591" y="0"/>
                </a:cubicBezTo>
                <a:cubicBezTo>
                  <a:pt x="3190" y="0"/>
                  <a:pt x="2793" y="0"/>
                  <a:pt x="2392" y="0"/>
                </a:cubicBezTo>
                <a:cubicBezTo>
                  <a:pt x="2392" y="197"/>
                  <a:pt x="2392" y="390"/>
                  <a:pt x="2392" y="587"/>
                </a:cubicBezTo>
                <a:cubicBezTo>
                  <a:pt x="2150" y="649"/>
                  <a:pt x="1918" y="746"/>
                  <a:pt x="1711" y="870"/>
                </a:cubicBezTo>
                <a:cubicBezTo>
                  <a:pt x="1586" y="736"/>
                  <a:pt x="1452" y="594"/>
                  <a:pt x="1327" y="456"/>
                </a:cubicBezTo>
                <a:cubicBezTo>
                  <a:pt x="1023" y="753"/>
                  <a:pt x="747" y="1029"/>
                  <a:pt x="453" y="1323"/>
                </a:cubicBezTo>
                <a:cubicBezTo>
                  <a:pt x="588" y="1451"/>
                  <a:pt x="729" y="1582"/>
                  <a:pt x="868" y="1710"/>
                </a:cubicBezTo>
                <a:cubicBezTo>
                  <a:pt x="740" y="1921"/>
                  <a:pt x="646" y="2149"/>
                  <a:pt x="584" y="2395"/>
                </a:cubicBezTo>
                <a:cubicBezTo>
                  <a:pt x="398" y="2395"/>
                  <a:pt x="201" y="2395"/>
                  <a:pt x="0" y="2395"/>
                </a:cubicBezTo>
                <a:cubicBezTo>
                  <a:pt x="0" y="2795"/>
                  <a:pt x="0" y="3183"/>
                  <a:pt x="0" y="3587"/>
                </a:cubicBezTo>
                <a:cubicBezTo>
                  <a:pt x="197" y="3587"/>
                  <a:pt x="391" y="3587"/>
                  <a:pt x="584" y="3587"/>
                </a:cubicBezTo>
                <a:cubicBezTo>
                  <a:pt x="646" y="3832"/>
                  <a:pt x="743" y="4064"/>
                  <a:pt x="871" y="4275"/>
                </a:cubicBezTo>
                <a:cubicBezTo>
                  <a:pt x="733" y="4396"/>
                  <a:pt x="584" y="4527"/>
                  <a:pt x="442" y="4651"/>
                </a:cubicBezTo>
                <a:cubicBezTo>
                  <a:pt x="750" y="4959"/>
                  <a:pt x="1027" y="5235"/>
                  <a:pt x="1320" y="5529"/>
                </a:cubicBezTo>
                <a:cubicBezTo>
                  <a:pt x="1448" y="5391"/>
                  <a:pt x="1583" y="5249"/>
                  <a:pt x="1711" y="5114"/>
                </a:cubicBezTo>
                <a:cubicBezTo>
                  <a:pt x="1918" y="5242"/>
                  <a:pt x="2150" y="5336"/>
                  <a:pt x="2392" y="5398"/>
                </a:cubicBezTo>
                <a:cubicBezTo>
                  <a:pt x="2392" y="5584"/>
                  <a:pt x="2392" y="5781"/>
                  <a:pt x="2392" y="5985"/>
                </a:cubicBezTo>
                <a:cubicBezTo>
                  <a:pt x="2793" y="5985"/>
                  <a:pt x="3180" y="5985"/>
                  <a:pt x="3584" y="5985"/>
                </a:cubicBezTo>
                <a:cubicBezTo>
                  <a:pt x="3584" y="5788"/>
                  <a:pt x="3584" y="5591"/>
                  <a:pt x="3584" y="5401"/>
                </a:cubicBezTo>
                <a:cubicBezTo>
                  <a:pt x="3833" y="5343"/>
                  <a:pt x="4064" y="5242"/>
                  <a:pt x="4279" y="5114"/>
                </a:cubicBezTo>
                <a:cubicBezTo>
                  <a:pt x="4403" y="5253"/>
                  <a:pt x="4534" y="5394"/>
                  <a:pt x="4662" y="5533"/>
                </a:cubicBezTo>
                <a:cubicBezTo>
                  <a:pt x="4956" y="5239"/>
                  <a:pt x="5232" y="4959"/>
                  <a:pt x="5523" y="4669"/>
                </a:cubicBezTo>
                <a:cubicBezTo>
                  <a:pt x="5388" y="4541"/>
                  <a:pt x="5246" y="4409"/>
                  <a:pt x="5112" y="4285"/>
                </a:cubicBezTo>
                <a:cubicBezTo>
                  <a:pt x="5239" y="4074"/>
                  <a:pt x="5340" y="3843"/>
                  <a:pt x="5402" y="3594"/>
                </a:cubicBezTo>
                <a:cubicBezTo>
                  <a:pt x="5588" y="3594"/>
                  <a:pt x="5785" y="3594"/>
                  <a:pt x="5986" y="35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latinLnBrk="0">
              <a:defRPr/>
            </a:pPr>
            <a:endParaRPr lang="en-US" kern="0">
              <a:solidFill>
                <a:sysClr val="windowText" lastClr="000000"/>
              </a:solidFill>
              <a:latin typeface="Segoe UI"/>
            </a:endParaRPr>
          </a:p>
        </p:txBody>
      </p:sp>
      <p:grpSp>
        <p:nvGrpSpPr>
          <p:cNvPr id="119" name="Group 118"/>
          <p:cNvGrpSpPr/>
          <p:nvPr/>
        </p:nvGrpSpPr>
        <p:grpSpPr>
          <a:xfrm>
            <a:off x="9757507" y="2308220"/>
            <a:ext cx="300826" cy="343570"/>
            <a:chOff x="10832823" y="3353836"/>
            <a:chExt cx="537576" cy="528488"/>
          </a:xfrm>
        </p:grpSpPr>
        <p:sp>
          <p:nvSpPr>
            <p:cNvPr id="121" name="Oval 13"/>
            <p:cNvSpPr>
              <a:spLocks noChangeArrowheads="1"/>
            </p:cNvSpPr>
            <p:nvPr/>
          </p:nvSpPr>
          <p:spPr bwMode="auto">
            <a:xfrm>
              <a:off x="10943701" y="3353836"/>
              <a:ext cx="426698" cy="42669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latinLnBrk="0">
                <a:defRPr/>
              </a:pPr>
              <a:endParaRPr lang="en-US" kern="0">
                <a:solidFill>
                  <a:sysClr val="windowText" lastClr="000000"/>
                </a:solidFill>
                <a:latin typeface="Segoe UI"/>
              </a:endParaRPr>
            </a:p>
          </p:txBody>
        </p:sp>
        <p:sp>
          <p:nvSpPr>
            <p:cNvPr id="124" name="Freeform 14"/>
            <p:cNvSpPr>
              <a:spLocks/>
            </p:cNvSpPr>
            <p:nvPr/>
          </p:nvSpPr>
          <p:spPr bwMode="auto">
            <a:xfrm>
              <a:off x="10832823" y="3702829"/>
              <a:ext cx="179495" cy="179495"/>
            </a:xfrm>
            <a:custGeom>
              <a:avLst/>
              <a:gdLst>
                <a:gd name="T0" fmla="*/ 1224 w 1980"/>
                <a:gd name="T1" fmla="*/ 0 h 1977"/>
                <a:gd name="T2" fmla="*/ 218 w 1980"/>
                <a:gd name="T3" fmla="*/ 985 h 1977"/>
                <a:gd name="T4" fmla="*/ 211 w 1980"/>
                <a:gd name="T5" fmla="*/ 1752 h 1977"/>
                <a:gd name="T6" fmla="*/ 218 w 1980"/>
                <a:gd name="T7" fmla="*/ 1759 h 1977"/>
                <a:gd name="T8" fmla="*/ 985 w 1980"/>
                <a:gd name="T9" fmla="*/ 1766 h 1977"/>
                <a:gd name="T10" fmla="*/ 1980 w 1980"/>
                <a:gd name="T11" fmla="*/ 788 h 1977"/>
                <a:gd name="T12" fmla="*/ 1224 w 1980"/>
                <a:gd name="T13" fmla="*/ 0 h 1977"/>
              </a:gdLst>
              <a:ahLst/>
              <a:cxnLst>
                <a:cxn ang="0">
                  <a:pos x="T0" y="T1"/>
                </a:cxn>
                <a:cxn ang="0">
                  <a:pos x="T2" y="T3"/>
                </a:cxn>
                <a:cxn ang="0">
                  <a:pos x="T4" y="T5"/>
                </a:cxn>
                <a:cxn ang="0">
                  <a:pos x="T6" y="T7"/>
                </a:cxn>
                <a:cxn ang="0">
                  <a:pos x="T8" y="T9"/>
                </a:cxn>
                <a:cxn ang="0">
                  <a:pos x="T10" y="T11"/>
                </a:cxn>
                <a:cxn ang="0">
                  <a:pos x="T12" y="T13"/>
                </a:cxn>
              </a:cxnLst>
              <a:rect l="0" t="0" r="r" b="b"/>
              <a:pathLst>
                <a:path w="1980" h="1977">
                  <a:moveTo>
                    <a:pt x="1224" y="0"/>
                  </a:moveTo>
                  <a:cubicBezTo>
                    <a:pt x="218" y="985"/>
                    <a:pt x="218" y="985"/>
                    <a:pt x="218" y="985"/>
                  </a:cubicBezTo>
                  <a:cubicBezTo>
                    <a:pt x="4" y="1196"/>
                    <a:pt x="0" y="1538"/>
                    <a:pt x="211" y="1752"/>
                  </a:cubicBezTo>
                  <a:cubicBezTo>
                    <a:pt x="218" y="1759"/>
                    <a:pt x="218" y="1759"/>
                    <a:pt x="218" y="1759"/>
                  </a:cubicBezTo>
                  <a:cubicBezTo>
                    <a:pt x="429" y="1974"/>
                    <a:pt x="771" y="1977"/>
                    <a:pt x="985" y="1766"/>
                  </a:cubicBezTo>
                  <a:cubicBezTo>
                    <a:pt x="1980" y="788"/>
                    <a:pt x="1980" y="788"/>
                    <a:pt x="1980" y="788"/>
                  </a:cubicBezTo>
                  <a:cubicBezTo>
                    <a:pt x="1683" y="581"/>
                    <a:pt x="1424" y="315"/>
                    <a:pt x="122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latinLnBrk="0">
                <a:defRPr/>
              </a:pPr>
              <a:endParaRPr lang="en-US" kern="0">
                <a:solidFill>
                  <a:sysClr val="windowText" lastClr="000000"/>
                </a:solidFill>
                <a:latin typeface="Segoe UI"/>
              </a:endParaRPr>
            </a:p>
          </p:txBody>
        </p:sp>
      </p:grpSp>
      <p:sp>
        <p:nvSpPr>
          <p:cNvPr id="96" name="Rectangle 95"/>
          <p:cNvSpPr/>
          <p:nvPr/>
        </p:nvSpPr>
        <p:spPr>
          <a:xfrm>
            <a:off x="269241" y="1302646"/>
            <a:ext cx="11655840" cy="557611"/>
          </a:xfrm>
          <a:prstGeom prst="rect">
            <a:avLst/>
          </a:prstGeom>
          <a:solidFill>
            <a:schemeClr val="tx1"/>
          </a:solidFill>
          <a:ln w="25400" cap="flat" cmpd="sng" algn="ctr">
            <a:noFill/>
            <a:prstDash val="solid"/>
          </a:ln>
          <a:effectLst/>
        </p:spPr>
        <p:txBody>
          <a:bodyPr lIns="116970" tIns="58484" rIns="116970" bIns="5848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78559">
              <a:defRPr/>
            </a:pPr>
            <a:r>
              <a:rPr lang="en-US" sz="3333" b="1" kern="0" dirty="0">
                <a:solidFill>
                  <a:srgbClr val="505050"/>
                </a:solidFill>
                <a:latin typeface="Segoe UI Light"/>
              </a:rPr>
              <a:t>microsoft.com/cognitive</a:t>
            </a:r>
          </a:p>
        </p:txBody>
      </p:sp>
      <p:sp>
        <p:nvSpPr>
          <p:cNvPr id="126" name="Rectangle 125"/>
          <p:cNvSpPr/>
          <p:nvPr/>
        </p:nvSpPr>
        <p:spPr>
          <a:xfrm>
            <a:off x="269241" y="2004605"/>
            <a:ext cx="11655840" cy="4561882"/>
          </a:xfrm>
          <a:prstGeom prst="rect">
            <a:avLst/>
          </a:prstGeom>
          <a:noFill/>
          <a:ln>
            <a:solidFill>
              <a:schemeClr val="tx2">
                <a:lumMod val="40000"/>
                <a:lumOff val="6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lIns="119332" tIns="59666" rIns="119332" bIns="59666" rtlCol="0" anchor="b"/>
          <a:lstStyle/>
          <a:p>
            <a:pPr defTabSz="896386" latinLnBrk="0">
              <a:defRPr/>
            </a:pPr>
            <a:endParaRPr lang="en-US" sz="1078" kern="0" dirty="0">
              <a:gradFill>
                <a:gsLst>
                  <a:gs pos="0">
                    <a:srgbClr val="FFFFFF"/>
                  </a:gs>
                  <a:gs pos="100000">
                    <a:srgbClr val="FFFFFF"/>
                  </a:gs>
                </a:gsLst>
                <a:lin ang="5400000" scaled="0"/>
              </a:gradFill>
              <a:latin typeface="Segoe UI"/>
            </a:endParaRPr>
          </a:p>
        </p:txBody>
      </p:sp>
    </p:spTree>
    <p:extLst>
      <p:ext uri="{BB962C8B-B14F-4D97-AF65-F5344CB8AC3E}">
        <p14:creationId xmlns:p14="http://schemas.microsoft.com/office/powerpoint/2010/main" val="11680564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35564" y="568047"/>
            <a:ext cx="10435342" cy="2136222"/>
          </a:xfrm>
        </p:spPr>
        <p:txBody>
          <a:bodyPr/>
          <a:lstStyle/>
          <a:p>
            <a:r>
              <a:rPr lang="en-US" dirty="0"/>
              <a:t>{Subscription Key}</a:t>
            </a:r>
            <a:br>
              <a:rPr lang="en-US" dirty="0"/>
            </a:br>
            <a:endParaRPr lang="en-US" dirty="0"/>
          </a:p>
        </p:txBody>
      </p:sp>
      <p:pic>
        <p:nvPicPr>
          <p:cNvPr id="2" name="그림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59670" y="1912684"/>
            <a:ext cx="7619611" cy="4156152"/>
          </a:xfrm>
          <a:prstGeom prst="rect">
            <a:avLst/>
          </a:prstGeom>
        </p:spPr>
      </p:pic>
    </p:spTree>
    <p:extLst>
      <p:ext uri="{BB962C8B-B14F-4D97-AF65-F5344CB8AC3E}">
        <p14:creationId xmlns:p14="http://schemas.microsoft.com/office/powerpoint/2010/main" val="7431574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idx="4294967295"/>
          </p:nvPr>
        </p:nvSpPr>
        <p:spPr>
          <a:xfrm>
            <a:off x="866855" y="682921"/>
            <a:ext cx="8964248" cy="1159439"/>
          </a:xfrm>
        </p:spPr>
        <p:txBody>
          <a:bodyPr/>
          <a:lstStyle/>
          <a:p>
            <a:r>
              <a:rPr lang="en-US" altLang="ko-KR" dirty="0"/>
              <a:t>JSON</a:t>
            </a:r>
            <a:endParaRPr lang="ko-KR" altLang="en-US" dirty="0"/>
          </a:p>
        </p:txBody>
      </p:sp>
      <p:sp>
        <p:nvSpPr>
          <p:cNvPr id="3" name="텍스트 개체 틀 2"/>
          <p:cNvSpPr>
            <a:spLocks noGrp="1"/>
          </p:cNvSpPr>
          <p:nvPr>
            <p:ph type="body" sz="quarter" idx="4294967295"/>
          </p:nvPr>
        </p:nvSpPr>
        <p:spPr>
          <a:xfrm>
            <a:off x="867166" y="1624869"/>
            <a:ext cx="8964248" cy="723676"/>
          </a:xfrm>
        </p:spPr>
        <p:txBody>
          <a:bodyPr/>
          <a:lstStyle/>
          <a:p>
            <a:r>
              <a:rPr lang="en-US" altLang="ko-KR" dirty="0"/>
              <a:t>http://www.json.org/json-ko.html</a:t>
            </a:r>
            <a:endParaRPr lang="ko-KR" altLang="en-US" dirty="0"/>
          </a:p>
        </p:txBody>
      </p:sp>
      <p:pic>
        <p:nvPicPr>
          <p:cNvPr id="1026" name="Picture 2" descr="https://camo.githubusercontent.com/00885f7ba31be8b5ebb8293eb559df48de467cc6/68747470733a2f2f7261772e6769746875622e636f6d2f7561636170732f4e534f626a6563742d4f626a6563744d61702f6d61737465722f53637265656e73686f74732f73637265656e312d30312e706e6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2749" y="3130192"/>
            <a:ext cx="6032192" cy="216636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s://addons.cdn.mozilla.net/user-media/previews/full/29/29967.png?modified=133121890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16531" y="765745"/>
            <a:ext cx="4556826" cy="43637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71930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et It Gear 12">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0" y="486"/>
            <a:ext cx="12182746" cy="6745249"/>
          </a:xfrm>
          <a:prstGeom prst="rect">
            <a:avLst/>
          </a:prstGeom>
        </p:spPr>
      </p:pic>
    </p:spTree>
    <p:extLst>
      <p:ext uri="{BB962C8B-B14F-4D97-AF65-F5344CB8AC3E}">
        <p14:creationId xmlns:p14="http://schemas.microsoft.com/office/powerpoint/2010/main" val="2517090189"/>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84567"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그림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8643" y="291513"/>
            <a:ext cx="9860673" cy="5675798"/>
          </a:xfrm>
          <a:prstGeom prst="rect">
            <a:avLst/>
          </a:prstGeom>
        </p:spPr>
      </p:pic>
    </p:spTree>
    <p:extLst>
      <p:ext uri="{BB962C8B-B14F-4D97-AF65-F5344CB8AC3E}">
        <p14:creationId xmlns:p14="http://schemas.microsoft.com/office/powerpoint/2010/main" val="13685006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6889" y="2777828"/>
            <a:ext cx="11032958" cy="1158629"/>
          </a:xfrm>
        </p:spPr>
        <p:txBody>
          <a:bodyPr/>
          <a:lstStyle/>
          <a:p>
            <a:r>
              <a:rPr lang="en-US" dirty="0"/>
              <a:t>Demo</a:t>
            </a:r>
          </a:p>
        </p:txBody>
      </p:sp>
    </p:spTree>
    <p:extLst>
      <p:ext uri="{BB962C8B-B14F-4D97-AF65-F5344CB8AC3E}">
        <p14:creationId xmlns:p14="http://schemas.microsoft.com/office/powerpoint/2010/main" val="26221412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081335" y="791570"/>
            <a:ext cx="5691302" cy="960263"/>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altLang="ko-KR" sz="4800" b="1" i="0" u="none" strike="noStrike" kern="0" cap="none" spc="0" normalizeH="0" baseline="0" noProof="0" dirty="0">
                <a:ln>
                  <a:noFill/>
                </a:ln>
                <a:solidFill>
                  <a:schemeClr val="bg1"/>
                </a:solidFill>
                <a:effectLst/>
                <a:uLnTx/>
                <a:uFillTx/>
              </a:rPr>
              <a:t>Internet of Things</a:t>
            </a:r>
            <a:endParaRPr kumimoji="0" lang="ko-KR" altLang="en-US" sz="2400" b="0" i="0" u="none" strike="noStrike" kern="0" cap="none" spc="0" normalizeH="0" baseline="0" noProof="0" dirty="0">
              <a:ln>
                <a:noFill/>
              </a:ln>
              <a:solidFill>
                <a:schemeClr val="bg1"/>
              </a:solidFill>
              <a:effectLst/>
              <a:uLnTx/>
              <a:uFillTx/>
            </a:endParaRPr>
          </a:p>
        </p:txBody>
      </p:sp>
      <p:pic>
        <p:nvPicPr>
          <p:cNvPr id="4" name="그림 3"/>
          <p:cNvPicPr>
            <a:picLocks noChangeAspect="1"/>
          </p:cNvPicPr>
          <p:nvPr/>
        </p:nvPicPr>
        <p:blipFill rotWithShape="1">
          <a:blip r:embed="rId2">
            <a:extLst>
              <a:ext uri="{28A0092B-C50C-407E-A947-70E740481C1C}">
                <a14:useLocalDpi xmlns:a14="http://schemas.microsoft.com/office/drawing/2010/main" val="0"/>
              </a:ext>
            </a:extLst>
          </a:blip>
          <a:srcRect t="1824"/>
          <a:stretch/>
        </p:blipFill>
        <p:spPr>
          <a:xfrm>
            <a:off x="1200978" y="1751833"/>
            <a:ext cx="9525000" cy="4638261"/>
          </a:xfrm>
          <a:prstGeom prst="rect">
            <a:avLst/>
          </a:prstGeom>
        </p:spPr>
      </p:pic>
    </p:spTree>
    <p:extLst>
      <p:ext uri="{BB962C8B-B14F-4D97-AF65-F5344CB8AC3E}">
        <p14:creationId xmlns:p14="http://schemas.microsoft.com/office/powerpoint/2010/main" val="3029877825"/>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직사각형 32"/>
          <p:cNvSpPr/>
          <p:nvPr/>
        </p:nvSpPr>
        <p:spPr>
          <a:xfrm>
            <a:off x="379587" y="826592"/>
            <a:ext cx="2224011" cy="1161417"/>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ko-KR" altLang="en-US" sz="1600" b="1" i="0" u="none" strike="noStrike" kern="1200" cap="none" spc="0" normalizeH="0" baseline="0" noProof="0" dirty="0">
                <a:ln>
                  <a:noFill/>
                </a:ln>
                <a:solidFill>
                  <a:prstClr val="white"/>
                </a:solidFill>
                <a:effectLst/>
                <a:uLnTx/>
                <a:uFillTx/>
                <a:latin typeface="맑은 고딕" panose="020F0502020204030204"/>
                <a:ea typeface="맑은 고딕" panose="020B0503020000020004" pitchFamily="50" charset="-127"/>
                <a:cs typeface="+mn-cs"/>
              </a:rPr>
              <a:t>디바이스 및 센서</a:t>
            </a:r>
          </a:p>
        </p:txBody>
      </p:sp>
      <p:pic>
        <p:nvPicPr>
          <p:cNvPr id="34" name="Picture 4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36019" y="1534325"/>
            <a:ext cx="136483" cy="139374"/>
          </a:xfrm>
          <a:prstGeom prst="rect">
            <a:avLst/>
          </a:prstGeom>
        </p:spPr>
      </p:pic>
      <p:sp>
        <p:nvSpPr>
          <p:cNvPr id="35" name="Round Same Side Corner Rectangle 11"/>
          <p:cNvSpPr/>
          <p:nvPr/>
        </p:nvSpPr>
        <p:spPr>
          <a:xfrm>
            <a:off x="1048671" y="1534327"/>
            <a:ext cx="311546" cy="106121"/>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marL="0" marR="0" lvl="0" indent="0" algn="ctr" defTabSz="913063" rtl="0" eaLnBrk="1" fontAlgn="auto" latinLnBrk="1" hangingPunct="1">
              <a:lnSpc>
                <a:spcPct val="100000"/>
              </a:lnSpc>
              <a:spcBef>
                <a:spcPts val="0"/>
              </a:spcBef>
              <a:spcAft>
                <a:spcPts val="0"/>
              </a:spcAft>
              <a:buClrTx/>
              <a:buSzTx/>
              <a:buFontTx/>
              <a:buNone/>
              <a:tabLst/>
              <a:defRPr/>
            </a:pPr>
            <a:endParaRPr kumimoji="0" lang="en-US" sz="1174" b="0" i="0" u="none" strike="noStrike" kern="0" cap="none" spc="0" normalizeH="0" baseline="0" noProof="0">
              <a:ln>
                <a:noFill/>
              </a:ln>
              <a:solidFill>
                <a:srgbClr val="000000"/>
              </a:solidFill>
              <a:effectLst/>
              <a:uLnTx/>
              <a:uFillTx/>
              <a:latin typeface="맑은 고딕" panose="020F0502020204030204"/>
              <a:ea typeface="+mn-ea"/>
              <a:cs typeface="+mn-cs"/>
              <a:sym typeface="Segoe UI" panose="020B0502040204020203" pitchFamily="34" charset="0"/>
            </a:endParaRPr>
          </a:p>
        </p:txBody>
      </p:sp>
      <p:sp>
        <p:nvSpPr>
          <p:cNvPr id="36" name="Rounded Rectangle 6"/>
          <p:cNvSpPr>
            <a:spLocks noChangeAspect="1"/>
          </p:cNvSpPr>
          <p:nvPr/>
        </p:nvSpPr>
        <p:spPr bwMode="auto">
          <a:xfrm rot="16200000">
            <a:off x="1752261" y="1420355"/>
            <a:ext cx="133318" cy="365319"/>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w="10795" cap="flat" cmpd="sng" algn="ctr">
            <a:noFill/>
            <a:prstDash val="solid"/>
            <a:headEnd type="none" w="med" len="med"/>
            <a:tailEnd type="none" w="med" len="med"/>
          </a:ln>
          <a:effectLst/>
        </p:spPr>
        <p:txBody>
          <a:bodyPr vert="horz" wrap="square" lIns="89577" tIns="44788" rIns="89577" bIns="44788" numCol="1" rtlCol="0" anchor="ctr" anchorCtr="0" compatLnSpc="1">
            <a:prstTxWarp prst="textNoShape">
              <a:avLst/>
            </a:prstTxWarp>
          </a:bodyPr>
          <a:lstStyle/>
          <a:p>
            <a:pPr marL="0" marR="0" lvl="0" indent="0" algn="ctr" defTabSz="805562" rtl="0" eaLnBrk="1" fontAlgn="auto" latinLnBrk="1"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000000"/>
              </a:solidFill>
              <a:effectLst/>
              <a:uLnTx/>
              <a:uFillTx/>
              <a:latin typeface="Segoe UI Light" panose="020B0502040204020203" pitchFamily="34" charset="0"/>
              <a:ea typeface="+mn-ea"/>
              <a:cs typeface="+mn-cs"/>
              <a:sym typeface="Segoe UI Light" panose="020B0502040204020203" pitchFamily="34" charset="0"/>
            </a:endParaRPr>
          </a:p>
        </p:txBody>
      </p:sp>
      <p:pic>
        <p:nvPicPr>
          <p:cNvPr id="37" name="Picture 2" descr="\\MAGNUM\Projects\Microsoft\Cloud Power FY12\Design\ICONS_PNG\Next_Gen_Application.png"/>
          <p:cNvPicPr>
            <a:picLocks noChangeAspect="1" noChangeArrowheads="1"/>
          </p:cNvPicPr>
          <p:nvPr/>
        </p:nvPicPr>
        <p:blipFill>
          <a:blip r:embed="rId3" cstate="screen">
            <a:lum bright="100000"/>
            <a:extLst>
              <a:ext uri="{28A0092B-C50C-407E-A947-70E740481C1C}">
                <a14:useLocalDpi xmlns:a14="http://schemas.microsoft.com/office/drawing/2010/main"/>
              </a:ext>
            </a:extLst>
          </a:blip>
          <a:srcRect/>
          <a:stretch>
            <a:fillRect/>
          </a:stretch>
        </p:blipFill>
        <p:spPr bwMode="auto">
          <a:xfrm>
            <a:off x="935693" y="1653719"/>
            <a:ext cx="459004" cy="243904"/>
          </a:xfrm>
          <a:prstGeom prst="rect">
            <a:avLst/>
          </a:prstGeom>
          <a:noFill/>
        </p:spPr>
      </p:pic>
      <p:pic>
        <p:nvPicPr>
          <p:cNvPr id="38" name="Picture 24" descr="E:\Eric Suchiang FD\Icons\Metro Icon\Metro icons ALL WHITE\cctv.png"/>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1550721" y="1681013"/>
            <a:ext cx="524576" cy="153748"/>
          </a:xfrm>
          <a:prstGeom prst="rect">
            <a:avLst/>
          </a:prstGeom>
          <a:noFill/>
          <a:extLst>
            <a:ext uri="{909E8E84-426E-40DD-AFC4-6F175D3DCCD1}">
              <a14:hiddenFill xmlns:a14="http://schemas.microsoft.com/office/drawing/2010/main">
                <a:solidFill>
                  <a:srgbClr val="FFFFFF"/>
                </a:solidFill>
              </a14:hiddenFill>
            </a:ext>
          </a:extLst>
        </p:spPr>
      </p:pic>
      <p:sp>
        <p:nvSpPr>
          <p:cNvPr id="39" name="Freeform 95"/>
          <p:cNvSpPr>
            <a:spLocks noChangeAspect="1"/>
          </p:cNvSpPr>
          <p:nvPr/>
        </p:nvSpPr>
        <p:spPr bwMode="auto">
          <a:xfrm flipH="1">
            <a:off x="1384938" y="1690750"/>
            <a:ext cx="218105" cy="169841"/>
          </a:xfrm>
          <a:custGeom>
            <a:avLst/>
            <a:gdLst/>
            <a:ahLst/>
            <a:cxnLst/>
            <a:rect l="l" t="t" r="r" b="b"/>
            <a:pathLst>
              <a:path w="739747" h="1113745">
                <a:moveTo>
                  <a:pt x="580449" y="183754"/>
                </a:moveTo>
                <a:lnTo>
                  <a:pt x="608377" y="183754"/>
                </a:lnTo>
                <a:cubicBezTo>
                  <a:pt x="612233" y="183754"/>
                  <a:pt x="615359" y="186880"/>
                  <a:pt x="615359" y="190736"/>
                </a:cubicBezTo>
                <a:lnTo>
                  <a:pt x="615359" y="243798"/>
                </a:lnTo>
                <a:cubicBezTo>
                  <a:pt x="615359" y="247654"/>
                  <a:pt x="612233" y="250780"/>
                  <a:pt x="608377" y="250780"/>
                </a:cubicBezTo>
                <a:lnTo>
                  <a:pt x="580449" y="250780"/>
                </a:lnTo>
                <a:cubicBezTo>
                  <a:pt x="576593" y="250780"/>
                  <a:pt x="573467" y="247654"/>
                  <a:pt x="573467" y="243798"/>
                </a:cubicBezTo>
                <a:lnTo>
                  <a:pt x="573467" y="190736"/>
                </a:lnTo>
                <a:cubicBezTo>
                  <a:pt x="573467" y="186880"/>
                  <a:pt x="576593" y="183754"/>
                  <a:pt x="580449" y="183754"/>
                </a:cubicBezTo>
                <a:close/>
                <a:moveTo>
                  <a:pt x="425201" y="49190"/>
                </a:moveTo>
                <a:lnTo>
                  <a:pt x="413467" y="958610"/>
                </a:lnTo>
                <a:lnTo>
                  <a:pt x="51654" y="872558"/>
                </a:lnTo>
                <a:lnTo>
                  <a:pt x="55565" y="51146"/>
                </a:lnTo>
                <a:close/>
                <a:moveTo>
                  <a:pt x="565200" y="20779"/>
                </a:moveTo>
                <a:lnTo>
                  <a:pt x="565200" y="995333"/>
                </a:lnTo>
                <a:lnTo>
                  <a:pt x="621304" y="987021"/>
                </a:lnTo>
                <a:lnTo>
                  <a:pt x="625460" y="20779"/>
                </a:lnTo>
                <a:close/>
                <a:moveTo>
                  <a:pt x="681565" y="0"/>
                </a:moveTo>
                <a:lnTo>
                  <a:pt x="677409" y="1005723"/>
                </a:lnTo>
                <a:lnTo>
                  <a:pt x="627538" y="1011957"/>
                </a:lnTo>
                <a:lnTo>
                  <a:pt x="627538" y="1022346"/>
                </a:lnTo>
                <a:lnTo>
                  <a:pt x="739747" y="1061827"/>
                </a:lnTo>
                <a:lnTo>
                  <a:pt x="669097" y="1070139"/>
                </a:lnTo>
                <a:cubicBezTo>
                  <a:pt x="592617" y="1050415"/>
                  <a:pt x="552151" y="1057209"/>
                  <a:pt x="515329" y="1090918"/>
                </a:cubicBezTo>
                <a:lnTo>
                  <a:pt x="422658" y="1113745"/>
                </a:lnTo>
                <a:lnTo>
                  <a:pt x="409354" y="1068061"/>
                </a:lnTo>
                <a:cubicBezTo>
                  <a:pt x="306312" y="1018127"/>
                  <a:pt x="187349" y="984387"/>
                  <a:pt x="81040" y="978710"/>
                </a:cubicBezTo>
                <a:lnTo>
                  <a:pt x="0" y="984943"/>
                </a:lnTo>
                <a:lnTo>
                  <a:pt x="72728" y="945463"/>
                </a:lnTo>
                <a:lnTo>
                  <a:pt x="108053" y="937151"/>
                </a:lnTo>
                <a:lnTo>
                  <a:pt x="108053" y="922605"/>
                </a:lnTo>
                <a:lnTo>
                  <a:pt x="64416" y="912216"/>
                </a:lnTo>
                <a:lnTo>
                  <a:pt x="64483" y="897455"/>
                </a:lnTo>
                <a:lnTo>
                  <a:pt x="441070" y="987021"/>
                </a:lnTo>
                <a:lnTo>
                  <a:pt x="453538" y="20779"/>
                </a:lnTo>
                <a:lnTo>
                  <a:pt x="68477" y="22817"/>
                </a:lnTo>
                <a:lnTo>
                  <a:pt x="68572" y="2078"/>
                </a:lnTo>
                <a:close/>
              </a:path>
            </a:pathLst>
          </a:custGeom>
          <a:solidFill>
            <a:srgbClr val="FFFFFF"/>
          </a:solidFill>
          <a:ln w="12700" cap="flat" cmpd="sng" algn="ctr">
            <a:noFill/>
            <a:prstDash val="solid"/>
            <a:headEnd type="none" w="med" len="med"/>
            <a:tailEnd type="none" w="med" len="med"/>
          </a:ln>
          <a:effectLst/>
        </p:spPr>
        <p:txBody>
          <a:bodyPr vert="horz" wrap="none" lIns="87816" tIns="43908" rIns="87816" bIns="43908" numCol="1" rtlCol="0" anchor="ctr" anchorCtr="0" compatLnSpc="1">
            <a:prstTxWarp prst="textNoShape">
              <a:avLst/>
            </a:prstTxWarp>
          </a:bodyPr>
          <a:lstStyle/>
          <a:p>
            <a:pPr marL="0" marR="0" lvl="0" indent="0" algn="ctr" defTabSz="877154" rtl="0" eaLnBrk="1" fontAlgn="base" latinLnBrk="1" hangingPunct="1">
              <a:lnSpc>
                <a:spcPct val="100000"/>
              </a:lnSpc>
              <a:spcBef>
                <a:spcPct val="0"/>
              </a:spcBef>
              <a:spcAft>
                <a:spcPct val="0"/>
              </a:spcAft>
              <a:buClrTx/>
              <a:buSzTx/>
              <a:buFontTx/>
              <a:buNone/>
              <a:tabLst/>
              <a:defRPr/>
            </a:pPr>
            <a:endParaRPr kumimoji="0" lang="en-US" sz="1666" b="0" i="0" u="none" strike="noStrike" kern="0" cap="none" spc="0" normalizeH="0" baseline="0" noProof="0">
              <a:ln>
                <a:noFill/>
              </a:ln>
              <a:solidFill>
                <a:srgbClr val="000000"/>
              </a:solidFill>
              <a:effectLst/>
              <a:uLnTx/>
              <a:uFillTx/>
              <a:latin typeface="맑은 고딕" panose="020F0502020204030204"/>
              <a:ea typeface="+mn-ea"/>
              <a:cs typeface="+mn-cs"/>
            </a:endParaRPr>
          </a:p>
        </p:txBody>
      </p:sp>
      <p:grpSp>
        <p:nvGrpSpPr>
          <p:cNvPr id="40" name="그룹 39"/>
          <p:cNvGrpSpPr/>
          <p:nvPr/>
        </p:nvGrpSpPr>
        <p:grpSpPr>
          <a:xfrm>
            <a:off x="2672293" y="826592"/>
            <a:ext cx="2161609" cy="1161417"/>
            <a:chOff x="3118318" y="749058"/>
            <a:chExt cx="1748414" cy="1718268"/>
          </a:xfrm>
        </p:grpSpPr>
        <p:sp>
          <p:nvSpPr>
            <p:cNvPr id="41" name="직사각형 40"/>
            <p:cNvSpPr/>
            <p:nvPr/>
          </p:nvSpPr>
          <p:spPr>
            <a:xfrm>
              <a:off x="3118318" y="749058"/>
              <a:ext cx="1748414" cy="1718268"/>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ko-KR" altLang="en-US" sz="1600" b="1" i="0" u="none" strike="noStrike" kern="1200" cap="none" spc="0" normalizeH="0" baseline="0" noProof="0" dirty="0">
                  <a:ln>
                    <a:noFill/>
                  </a:ln>
                  <a:solidFill>
                    <a:prstClr val="white"/>
                  </a:solidFill>
                  <a:effectLst/>
                  <a:uLnTx/>
                  <a:uFillTx/>
                  <a:latin typeface="맑은 고딕" panose="020F0502020204030204"/>
                  <a:ea typeface="맑은 고딕" panose="020B0503020000020004" pitchFamily="50" charset="-127"/>
                  <a:cs typeface="+mn-cs"/>
                </a:rPr>
                <a:t>데이터 연결 및 처리</a:t>
              </a:r>
            </a:p>
          </p:txBody>
        </p:sp>
        <p:pic>
          <p:nvPicPr>
            <p:cNvPr id="42" name="Picture 86"/>
            <p:cNvPicPr>
              <a:picLocks noChangeAspect="1"/>
            </p:cNvPicPr>
            <p:nvPr/>
          </p:nvPicPr>
          <p:blipFill>
            <a:blip r:embed="rId5" cstate="screen">
              <a:biLevel thresh="25000"/>
              <a:extLst>
                <a:ext uri="{28A0092B-C50C-407E-A947-70E740481C1C}">
                  <a14:useLocalDpi xmlns:a14="http://schemas.microsoft.com/office/drawing/2010/main"/>
                </a:ext>
              </a:extLst>
            </a:blip>
            <a:stretch>
              <a:fillRect/>
            </a:stretch>
          </p:blipFill>
          <p:spPr>
            <a:xfrm>
              <a:off x="3799786" y="1818149"/>
              <a:ext cx="449780" cy="602983"/>
            </a:xfrm>
            <a:prstGeom prst="rect">
              <a:avLst/>
            </a:prstGeom>
          </p:spPr>
        </p:pic>
      </p:grpSp>
      <p:grpSp>
        <p:nvGrpSpPr>
          <p:cNvPr id="43" name="그룹 42"/>
          <p:cNvGrpSpPr/>
          <p:nvPr/>
        </p:nvGrpSpPr>
        <p:grpSpPr>
          <a:xfrm>
            <a:off x="4902597" y="826592"/>
            <a:ext cx="2235133" cy="1161417"/>
            <a:chOff x="5212391" y="749058"/>
            <a:chExt cx="1748414" cy="1718268"/>
          </a:xfrm>
          <a:solidFill>
            <a:schemeClr val="accent1">
              <a:lumMod val="50000"/>
            </a:schemeClr>
          </a:solidFill>
        </p:grpSpPr>
        <p:sp>
          <p:nvSpPr>
            <p:cNvPr id="44" name="직사각형 43"/>
            <p:cNvSpPr/>
            <p:nvPr/>
          </p:nvSpPr>
          <p:spPr>
            <a:xfrm>
              <a:off x="5212391" y="749058"/>
              <a:ext cx="1748414" cy="1718268"/>
            </a:xfrm>
            <a:prstGeom prst="rect">
              <a:avLst/>
            </a:prstGeom>
            <a:grpFill/>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ko-KR" altLang="en-US" sz="1600" b="1" i="0" u="none" strike="noStrike" kern="1200" cap="none" spc="0" normalizeH="0" baseline="0" noProof="0" dirty="0">
                  <a:ln>
                    <a:noFill/>
                  </a:ln>
                  <a:solidFill>
                    <a:prstClr val="white"/>
                  </a:solidFill>
                  <a:effectLst/>
                  <a:uLnTx/>
                  <a:uFillTx/>
                  <a:latin typeface="맑은 고딕" panose="020F0502020204030204"/>
                  <a:ea typeface="맑은 고딕" panose="020B0503020000020004" pitchFamily="50" charset="-127"/>
                  <a:cs typeface="+mn-cs"/>
                </a:rPr>
                <a:t>데이터 저장 및 성능</a:t>
              </a:r>
              <a:endParaRPr kumimoji="0" lang="ko-KR" altLang="en-US" sz="1600" b="0" i="0" u="none" strike="noStrike" kern="1200" cap="none" spc="0" normalizeH="0" baseline="0" noProof="0" dirty="0">
                <a:ln>
                  <a:noFill/>
                </a:ln>
                <a:solidFill>
                  <a:prstClr val="white"/>
                </a:solidFill>
                <a:effectLst/>
                <a:uLnTx/>
                <a:uFillTx/>
                <a:latin typeface="맑은 고딕" panose="020F0502020204030204"/>
                <a:ea typeface="맑은 고딕" panose="020B0503020000020004" pitchFamily="50" charset="-127"/>
                <a:cs typeface="+mn-cs"/>
              </a:endParaRPr>
            </a:p>
          </p:txBody>
        </p:sp>
        <p:pic>
          <p:nvPicPr>
            <p:cNvPr id="45" name="Picture 3"/>
            <p:cNvPicPr>
              <a:picLocks noChangeAspect="1"/>
            </p:cNvPicPr>
            <p:nvPr/>
          </p:nvPicPr>
          <p:blipFill>
            <a:blip r:embed="rId6">
              <a:biLevel thresh="25000"/>
              <a:extLst>
                <a:ext uri="{28A0092B-C50C-407E-A947-70E740481C1C}">
                  <a14:useLocalDpi xmlns:a14="http://schemas.microsoft.com/office/drawing/2010/main"/>
                </a:ext>
              </a:extLst>
            </a:blip>
            <a:srcRect/>
            <a:stretch>
              <a:fillRect/>
            </a:stretch>
          </p:blipFill>
          <p:spPr bwMode="auto">
            <a:xfrm>
              <a:off x="5897124" y="1769742"/>
              <a:ext cx="413080" cy="5674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grpSp>
        <p:nvGrpSpPr>
          <p:cNvPr id="46" name="그룹 45"/>
          <p:cNvGrpSpPr/>
          <p:nvPr/>
        </p:nvGrpSpPr>
        <p:grpSpPr>
          <a:xfrm>
            <a:off x="9417841" y="826592"/>
            <a:ext cx="2267411" cy="1161417"/>
            <a:chOff x="9400536" y="749058"/>
            <a:chExt cx="1748414" cy="1718268"/>
          </a:xfrm>
        </p:grpSpPr>
        <p:sp>
          <p:nvSpPr>
            <p:cNvPr id="47" name="직사각형 46"/>
            <p:cNvSpPr/>
            <p:nvPr/>
          </p:nvSpPr>
          <p:spPr>
            <a:xfrm>
              <a:off x="9400536" y="749058"/>
              <a:ext cx="1748414" cy="1718268"/>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ko-KR" altLang="en-US" sz="1600" b="1" i="0" u="none" strike="noStrike" kern="1200" cap="none" spc="0" normalizeH="0" baseline="0" noProof="0" dirty="0">
                  <a:ln>
                    <a:noFill/>
                  </a:ln>
                  <a:solidFill>
                    <a:prstClr val="white"/>
                  </a:solidFill>
                  <a:effectLst/>
                  <a:uLnTx/>
                  <a:uFillTx/>
                  <a:latin typeface="맑은 고딕" panose="020F0502020204030204"/>
                  <a:ea typeface="맑은 고딕" panose="020B0503020000020004" pitchFamily="50" charset="-127"/>
                  <a:cs typeface="+mn-cs"/>
                </a:rPr>
                <a:t>프레젠테이션 및 활용</a:t>
              </a:r>
            </a:p>
          </p:txBody>
        </p:sp>
        <p:pic>
          <p:nvPicPr>
            <p:cNvPr id="48" name="Picture 73"/>
            <p:cNvPicPr>
              <a:picLocks noChangeAspect="1"/>
            </p:cNvPicPr>
            <p:nvPr/>
          </p:nvPicPr>
          <p:blipFill>
            <a:blip r:embed="rId7">
              <a:biLevel thresh="25000"/>
              <a:extLst>
                <a:ext uri="{28A0092B-C50C-407E-A947-70E740481C1C}">
                  <a14:useLocalDpi xmlns:a14="http://schemas.microsoft.com/office/drawing/2010/main"/>
                </a:ext>
              </a:extLst>
            </a:blip>
            <a:srcRect/>
            <a:stretch>
              <a:fillRect/>
            </a:stretch>
          </p:blipFill>
          <p:spPr bwMode="auto">
            <a:xfrm>
              <a:off x="10160543" y="1754357"/>
              <a:ext cx="243338" cy="5973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 name="그룹 48"/>
          <p:cNvGrpSpPr/>
          <p:nvPr/>
        </p:nvGrpSpPr>
        <p:grpSpPr>
          <a:xfrm>
            <a:off x="7206425" y="826592"/>
            <a:ext cx="2142722" cy="1249098"/>
            <a:chOff x="7316854" y="2463558"/>
            <a:chExt cx="1748414" cy="1847988"/>
          </a:xfrm>
        </p:grpSpPr>
        <p:sp>
          <p:nvSpPr>
            <p:cNvPr id="50" name="직사각형 49"/>
            <p:cNvSpPr/>
            <p:nvPr/>
          </p:nvSpPr>
          <p:spPr>
            <a:xfrm>
              <a:off x="7316854" y="2463558"/>
              <a:ext cx="1748414" cy="1718268"/>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ko-KR" altLang="en-US" sz="1600" b="1" i="0" u="none" strike="noStrike" kern="1200" cap="none" spc="0" normalizeH="0" baseline="0" noProof="0">
                  <a:ln>
                    <a:noFill/>
                  </a:ln>
                  <a:solidFill>
                    <a:prstClr val="white"/>
                  </a:solidFill>
                  <a:effectLst/>
                  <a:uLnTx/>
                  <a:uFillTx/>
                  <a:latin typeface="맑은 고딕" panose="020F0502020204030204"/>
                  <a:ea typeface="맑은 고딕" panose="020B0503020000020004" pitchFamily="50" charset="-127"/>
                  <a:cs typeface="+mn-cs"/>
                </a:rPr>
                <a:t>분석</a:t>
              </a:r>
            </a:p>
          </p:txBody>
        </p:sp>
        <p:pic>
          <p:nvPicPr>
            <p:cNvPr id="51" name="Picture 81"/>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850681" y="3264624"/>
              <a:ext cx="724232" cy="1046922"/>
            </a:xfrm>
            <a:prstGeom prst="rect">
              <a:avLst/>
            </a:prstGeom>
          </p:spPr>
        </p:pic>
      </p:grpSp>
      <p:sp>
        <p:nvSpPr>
          <p:cNvPr id="2" name="제목 1"/>
          <p:cNvSpPr>
            <a:spLocks noGrp="1"/>
          </p:cNvSpPr>
          <p:nvPr>
            <p:ph type="title"/>
          </p:nvPr>
        </p:nvSpPr>
        <p:spPr/>
        <p:txBody>
          <a:bodyPr>
            <a:normAutofit fontScale="90000"/>
          </a:bodyPr>
          <a:lstStyle/>
          <a:p>
            <a:r>
              <a:rPr lang="en-US" altLang="ko-KR" dirty="0"/>
              <a:t>Microsoft Data platform</a:t>
            </a:r>
            <a:r>
              <a:rPr lang="ko-KR" altLang="en-US" dirty="0"/>
              <a:t> </a:t>
            </a:r>
            <a:r>
              <a:rPr lang="en-US" altLang="ko-KR" dirty="0"/>
              <a:t>End-to-end</a:t>
            </a:r>
            <a:r>
              <a:rPr lang="ko-KR" altLang="en-US" dirty="0"/>
              <a:t> 서비스</a:t>
            </a:r>
            <a:r>
              <a:rPr lang="en-US" altLang="ko-KR" dirty="0"/>
              <a:t> </a:t>
            </a:r>
            <a:endParaRPr lang="ko-KR" altLang="en-US" dirty="0"/>
          </a:p>
        </p:txBody>
      </p:sp>
      <p:sp>
        <p:nvSpPr>
          <p:cNvPr id="26" name="이등변 삼각형 25"/>
          <p:cNvSpPr/>
          <p:nvPr/>
        </p:nvSpPr>
        <p:spPr>
          <a:xfrm rot="5400000">
            <a:off x="2484969" y="1221221"/>
            <a:ext cx="342900" cy="24765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맑은 고딕" panose="020F0502020204030204"/>
              <a:ea typeface="맑은 고딕" panose="020B0503020000020004" pitchFamily="50" charset="-127"/>
              <a:cs typeface="+mn-cs"/>
            </a:endParaRPr>
          </a:p>
        </p:txBody>
      </p:sp>
      <p:sp>
        <p:nvSpPr>
          <p:cNvPr id="27" name="이등변 삼각형 26"/>
          <p:cNvSpPr/>
          <p:nvPr/>
        </p:nvSpPr>
        <p:spPr>
          <a:xfrm rot="5400000">
            <a:off x="4731080" y="1258217"/>
            <a:ext cx="342900" cy="24765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맑은 고딕" panose="020F0502020204030204"/>
              <a:ea typeface="맑은 고딕" panose="020B0503020000020004" pitchFamily="50" charset="-127"/>
              <a:cs typeface="+mn-cs"/>
            </a:endParaRPr>
          </a:p>
        </p:txBody>
      </p:sp>
      <p:sp>
        <p:nvSpPr>
          <p:cNvPr id="28" name="이등변 삼각형 27"/>
          <p:cNvSpPr/>
          <p:nvPr/>
        </p:nvSpPr>
        <p:spPr>
          <a:xfrm rot="5400000">
            <a:off x="7009641" y="1206448"/>
            <a:ext cx="342900" cy="24765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맑은 고딕" panose="020F0502020204030204"/>
              <a:ea typeface="맑은 고딕" panose="020B0503020000020004" pitchFamily="50" charset="-127"/>
              <a:cs typeface="+mn-cs"/>
            </a:endParaRPr>
          </a:p>
        </p:txBody>
      </p:sp>
      <p:sp>
        <p:nvSpPr>
          <p:cNvPr id="29" name="이등변 삼각형 28"/>
          <p:cNvSpPr/>
          <p:nvPr/>
        </p:nvSpPr>
        <p:spPr>
          <a:xfrm rot="5400000">
            <a:off x="9228851" y="1206448"/>
            <a:ext cx="342900" cy="24765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맑은 고딕" panose="020F0502020204030204"/>
              <a:ea typeface="맑은 고딕" panose="020B0503020000020004" pitchFamily="50" charset="-127"/>
              <a:cs typeface="+mn-cs"/>
            </a:endParaRPr>
          </a:p>
        </p:txBody>
      </p:sp>
    </p:spTree>
    <p:extLst>
      <p:ext uri="{BB962C8B-B14F-4D97-AF65-F5344CB8AC3E}">
        <p14:creationId xmlns:p14="http://schemas.microsoft.com/office/powerpoint/2010/main" val="261958553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제목 2"/>
          <p:cNvSpPr>
            <a:spLocks noGrp="1"/>
          </p:cNvSpPr>
          <p:nvPr>
            <p:ph type="title"/>
          </p:nvPr>
        </p:nvSpPr>
        <p:spPr/>
        <p:txBody>
          <a:bodyPr>
            <a:normAutofit fontScale="90000"/>
          </a:bodyPr>
          <a:lstStyle/>
          <a:p>
            <a:r>
              <a:rPr lang="en-US" altLang="ko-KR" dirty="0"/>
              <a:t>Microsoft IoT platform</a:t>
            </a:r>
            <a:r>
              <a:rPr lang="ko-KR" altLang="en-US" dirty="0"/>
              <a:t> </a:t>
            </a:r>
            <a:r>
              <a:rPr lang="en-US" altLang="ko-KR" dirty="0"/>
              <a:t>End-to-end</a:t>
            </a:r>
            <a:r>
              <a:rPr lang="ko-KR" altLang="en-US" dirty="0"/>
              <a:t> 서비스</a:t>
            </a:r>
            <a:r>
              <a:rPr lang="en-US" altLang="ko-KR" dirty="0"/>
              <a:t> </a:t>
            </a:r>
            <a:endParaRPr lang="ko-KR" altLang="en-US" dirty="0"/>
          </a:p>
        </p:txBody>
      </p:sp>
      <p:graphicFrame>
        <p:nvGraphicFramePr>
          <p:cNvPr id="59" name="Table 53"/>
          <p:cNvGraphicFramePr>
            <a:graphicFrameLocks noGrp="1"/>
          </p:cNvGraphicFramePr>
          <p:nvPr>
            <p:extLst/>
          </p:nvPr>
        </p:nvGraphicFramePr>
        <p:xfrm>
          <a:off x="385083" y="1042801"/>
          <a:ext cx="11316010" cy="5740381"/>
        </p:xfrm>
        <a:graphic>
          <a:graphicData uri="http://schemas.openxmlformats.org/drawingml/2006/table">
            <a:tbl>
              <a:tblPr firstRow="1" bandRow="1">
                <a:tableStyleId>{5C22544A-7EE6-4342-B048-85BDC9FD1C3A}</a:tableStyleId>
              </a:tblPr>
              <a:tblGrid>
                <a:gridCol w="2263202">
                  <a:extLst>
                    <a:ext uri="{9D8B030D-6E8A-4147-A177-3AD203B41FA5}">
                      <a16:colId xmlns:a16="http://schemas.microsoft.com/office/drawing/2014/main" val="20000"/>
                    </a:ext>
                  </a:extLst>
                </a:gridCol>
                <a:gridCol w="2263202">
                  <a:extLst>
                    <a:ext uri="{9D8B030D-6E8A-4147-A177-3AD203B41FA5}">
                      <a16:colId xmlns:a16="http://schemas.microsoft.com/office/drawing/2014/main" val="20001"/>
                    </a:ext>
                  </a:extLst>
                </a:gridCol>
                <a:gridCol w="2263202">
                  <a:extLst>
                    <a:ext uri="{9D8B030D-6E8A-4147-A177-3AD203B41FA5}">
                      <a16:colId xmlns:a16="http://schemas.microsoft.com/office/drawing/2014/main" val="20002"/>
                    </a:ext>
                  </a:extLst>
                </a:gridCol>
                <a:gridCol w="2263202">
                  <a:extLst>
                    <a:ext uri="{9D8B030D-6E8A-4147-A177-3AD203B41FA5}">
                      <a16:colId xmlns:a16="http://schemas.microsoft.com/office/drawing/2014/main" val="20003"/>
                    </a:ext>
                  </a:extLst>
                </a:gridCol>
                <a:gridCol w="2263202">
                  <a:extLst>
                    <a:ext uri="{9D8B030D-6E8A-4147-A177-3AD203B41FA5}">
                      <a16:colId xmlns:a16="http://schemas.microsoft.com/office/drawing/2014/main" val="20004"/>
                    </a:ext>
                  </a:extLst>
                </a:gridCol>
              </a:tblGrid>
              <a:tr h="479554">
                <a:tc>
                  <a:txBody>
                    <a:bodyPr/>
                    <a:lstStyle/>
                    <a:p>
                      <a:pPr algn="ctr"/>
                      <a:endParaRPr lang="en-US" sz="1600" b="1" dirty="0">
                        <a:solidFill>
                          <a:srgbClr val="FFFFFF"/>
                        </a:solidFill>
                        <a:latin typeface="Segoe UI Semibold" panose="020B0702040204020203" pitchFamily="34" charset="0"/>
                      </a:endParaRPr>
                    </a:p>
                    <a:p>
                      <a:pPr algn="ctr"/>
                      <a:endParaRPr lang="en-US" sz="1600" b="1" dirty="0">
                        <a:solidFill>
                          <a:srgbClr val="FFFFFF"/>
                        </a:solidFill>
                        <a:latin typeface="Segoe UI Semibold" panose="020B0702040204020203" pitchFamily="34" charset="0"/>
                      </a:endParaRPr>
                    </a:p>
                  </a:txBody>
                  <a:tcPr marL="86165" marR="86165" marT="43083" marB="43083" anchor="ctr">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ko-KR" altLang="en-US" sz="1600" b="1" dirty="0"/>
                    </a:p>
                  </a:txBody>
                  <a:tcPr marL="86165" marR="86165"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b="1" dirty="0">
                        <a:solidFill>
                          <a:srgbClr val="FFFFFF"/>
                        </a:solidFill>
                        <a:latin typeface="Segoe UI Semibold" panose="020B0702040204020203" pitchFamily="34" charset="0"/>
                      </a:endParaRPr>
                    </a:p>
                  </a:txBody>
                  <a:tcPr marL="86165" marR="86165"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b="1" dirty="0">
                        <a:solidFill>
                          <a:srgbClr val="FFFFFF"/>
                        </a:solidFill>
                        <a:latin typeface="Segoe UI Semibold" panose="020B0702040204020203" pitchFamily="34" charset="0"/>
                      </a:endParaRPr>
                    </a:p>
                  </a:txBody>
                  <a:tcPr marL="86165" marR="86165"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699630" rtl="0" eaLnBrk="1" fontAlgn="auto" latinLnBrk="0" hangingPunct="1">
                        <a:lnSpc>
                          <a:spcPct val="100000"/>
                        </a:lnSpc>
                        <a:spcBef>
                          <a:spcPts val="0"/>
                        </a:spcBef>
                        <a:spcAft>
                          <a:spcPts val="0"/>
                        </a:spcAft>
                        <a:buClrTx/>
                        <a:buSzTx/>
                        <a:buFontTx/>
                        <a:buNone/>
                        <a:tabLst/>
                        <a:defRPr/>
                      </a:pPr>
                      <a:endParaRPr lang="en-GB" sz="1600" b="1" kern="1200" dirty="0">
                        <a:solidFill>
                          <a:srgbClr val="FFFFFF"/>
                        </a:solidFill>
                        <a:latin typeface="Segoe UI Semibold" panose="020B0702040204020203" pitchFamily="34" charset="0"/>
                        <a:ea typeface="+mn-ea"/>
                        <a:cs typeface="+mn-cs"/>
                      </a:endParaRPr>
                    </a:p>
                  </a:txBody>
                  <a:tcPr marL="86165" marR="86165"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841748">
                <a:tc>
                  <a:txBody>
                    <a:bodyPr/>
                    <a:lstStyle/>
                    <a:p>
                      <a:r>
                        <a:rPr lang="en-US" sz="1200" baseline="0" dirty="0"/>
                        <a:t>        </a:t>
                      </a:r>
                      <a:r>
                        <a:rPr lang="ko-KR" altLang="en-US" sz="1400" b="1" baseline="0" dirty="0">
                          <a:solidFill>
                            <a:schemeClr val="bg1"/>
                          </a:solidFill>
                        </a:rPr>
                        <a:t>각종 소형 디          </a:t>
                      </a:r>
                      <a:endParaRPr lang="en-US" altLang="ko-KR" sz="1400" b="1" baseline="0" dirty="0">
                        <a:solidFill>
                          <a:schemeClr val="bg1"/>
                        </a:solidFill>
                      </a:endParaRPr>
                    </a:p>
                    <a:p>
                      <a:r>
                        <a:rPr lang="en-US" altLang="ko-KR" sz="1400" b="1" baseline="0" dirty="0">
                          <a:solidFill>
                            <a:schemeClr val="bg1"/>
                          </a:solidFill>
                        </a:rPr>
                        <a:t>       </a:t>
                      </a:r>
                      <a:r>
                        <a:rPr lang="ko-KR" altLang="en-US" sz="1400" b="1" baseline="0" dirty="0" err="1">
                          <a:solidFill>
                            <a:schemeClr val="bg1"/>
                          </a:solidFill>
                        </a:rPr>
                        <a:t>바이스</a:t>
                      </a:r>
                      <a:r>
                        <a:rPr lang="ko-KR" altLang="en-US" sz="1400" b="1" baseline="0" dirty="0">
                          <a:solidFill>
                            <a:schemeClr val="bg1"/>
                          </a:solidFill>
                        </a:rPr>
                        <a:t> 및 센서</a:t>
                      </a:r>
                      <a:endParaRPr lang="en-US" sz="1400" b="1" dirty="0">
                        <a:solidFill>
                          <a:schemeClr val="bg1"/>
                        </a:solidFill>
                      </a:endParaRPr>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altLang="ko-KR" sz="1600" kern="0" dirty="0" err="1">
                          <a:solidFill>
                            <a:srgbClr val="FFFFFF"/>
                          </a:solidFill>
                        </a:rPr>
                        <a:t>IoT</a:t>
                      </a:r>
                      <a:r>
                        <a:rPr lang="ko-KR" altLang="en-US" sz="1600" kern="0" dirty="0">
                          <a:solidFill>
                            <a:srgbClr val="FFFFFF"/>
                          </a:solidFill>
                        </a:rPr>
                        <a:t> 허브</a:t>
                      </a:r>
                      <a:endParaRPr lang="en-US" altLang="ko-KR" sz="1600" kern="0" dirty="0">
                        <a:solidFill>
                          <a:srgbClr val="FFFFFF"/>
                        </a:solidFill>
                      </a:endParaRPr>
                    </a:p>
                    <a:p>
                      <a:pPr marL="0" marR="0" indent="0" algn="l" defTabSz="699630" rtl="0" eaLnBrk="1" fontAlgn="auto" latinLnBrk="0" hangingPunct="1">
                        <a:lnSpc>
                          <a:spcPct val="100000"/>
                        </a:lnSpc>
                        <a:spcBef>
                          <a:spcPts val="0"/>
                        </a:spcBef>
                        <a:spcAft>
                          <a:spcPts val="0"/>
                        </a:spcAft>
                        <a:buClrTx/>
                        <a:buSzTx/>
                        <a:buFontTx/>
                        <a:buNone/>
                        <a:tabLst/>
                        <a:defRPr/>
                      </a:pPr>
                      <a:r>
                        <a:rPr lang="en-US" sz="1200" kern="0" dirty="0">
                          <a:solidFill>
                            <a:srgbClr val="FFFFFF"/>
                          </a:solidFill>
                        </a:rPr>
                        <a:t>(</a:t>
                      </a:r>
                      <a:r>
                        <a:rPr lang="ko-KR" altLang="en-US" sz="1200" kern="0" dirty="0">
                          <a:solidFill>
                            <a:srgbClr val="FFFFFF"/>
                          </a:solidFill>
                        </a:rPr>
                        <a:t>대량 </a:t>
                      </a:r>
                      <a:r>
                        <a:rPr lang="en-US" altLang="ko-KR" sz="1200" kern="0" dirty="0">
                          <a:solidFill>
                            <a:srgbClr val="FFFFFF"/>
                          </a:solidFill>
                        </a:rPr>
                        <a:t>Telemetry</a:t>
                      </a:r>
                      <a:r>
                        <a:rPr lang="ko-KR" altLang="en-US" sz="1200" kern="0" dirty="0">
                          <a:solidFill>
                            <a:srgbClr val="FFFFFF"/>
                          </a:solidFill>
                        </a:rPr>
                        <a:t> 수집</a:t>
                      </a:r>
                      <a:r>
                        <a:rPr lang="en-US" altLang="ko-KR" sz="1200" kern="0" dirty="0">
                          <a:solidFill>
                            <a:srgbClr val="FFFFFF"/>
                          </a:solidFill>
                        </a:rPr>
                        <a:t>)</a:t>
                      </a:r>
                      <a:endParaRPr lang="en-US" sz="1200" kern="0" dirty="0">
                        <a:solidFill>
                          <a:srgbClr val="FFFFFF"/>
                        </a:solidFill>
                      </a:endParaRPr>
                    </a:p>
                  </a:txBody>
                  <a:tcPr marL="861659" marR="43083" marT="43083" marB="43083">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SQL Database</a:t>
                      </a:r>
                    </a:p>
                    <a:p>
                      <a:pPr marL="0" marR="0" indent="0" algn="l" defTabSz="699630" rtl="0" eaLnBrk="1" fontAlgn="auto" latinLnBrk="0" hangingPunct="1">
                        <a:lnSpc>
                          <a:spcPct val="100000"/>
                        </a:lnSpc>
                        <a:spcBef>
                          <a:spcPts val="0"/>
                        </a:spcBef>
                        <a:spcAft>
                          <a:spcPts val="0"/>
                        </a:spcAft>
                        <a:buClrTx/>
                        <a:buSzTx/>
                        <a:buFontTx/>
                        <a:buNone/>
                        <a:tabLst/>
                        <a:defRPr/>
                      </a:pPr>
                      <a:r>
                        <a:rPr lang="en-US" sz="1200" kern="0" dirty="0">
                          <a:solidFill>
                            <a:srgbClr val="FFFFFF"/>
                          </a:solidFill>
                        </a:rPr>
                        <a:t>(PaaS</a:t>
                      </a:r>
                      <a:r>
                        <a:rPr lang="en-US" sz="1200" kern="0" baseline="0" dirty="0">
                          <a:solidFill>
                            <a:srgbClr val="FFFFFF"/>
                          </a:solidFill>
                        </a:rPr>
                        <a:t> </a:t>
                      </a:r>
                      <a:r>
                        <a:rPr lang="ko-KR" altLang="en-US" sz="1200" kern="0" baseline="0" dirty="0">
                          <a:solidFill>
                            <a:srgbClr val="FFFFFF"/>
                          </a:solidFill>
                        </a:rPr>
                        <a:t>형태의 </a:t>
                      </a:r>
                      <a:r>
                        <a:rPr lang="en-US" altLang="ko-KR" sz="1200" kern="0" baseline="0" dirty="0">
                          <a:solidFill>
                            <a:srgbClr val="FFFFFF"/>
                          </a:solidFill>
                        </a:rPr>
                        <a:t>SQL Server </a:t>
                      </a:r>
                      <a:r>
                        <a:rPr lang="ko-KR" altLang="en-US" sz="1200" kern="0" baseline="0" dirty="0">
                          <a:solidFill>
                            <a:srgbClr val="FFFFFF"/>
                          </a:solidFill>
                        </a:rPr>
                        <a:t>서비스</a:t>
                      </a:r>
                      <a:r>
                        <a:rPr lang="en-US" altLang="ko-KR" sz="1200" kern="0" baseline="0" dirty="0">
                          <a:solidFill>
                            <a:srgbClr val="FFFFFF"/>
                          </a:solidFill>
                        </a:rPr>
                        <a:t>)</a:t>
                      </a:r>
                      <a:endParaRPr lang="en-US" sz="1600" kern="0" dirty="0">
                        <a:solidFill>
                          <a:srgbClr val="FFFFFF"/>
                        </a:solidFill>
                      </a:endParaRPr>
                    </a:p>
                  </a:txBody>
                  <a:tcPr marL="861659" marR="43083" marT="43083" marB="43083">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ko-KR" altLang="en-US" sz="1600" kern="0" dirty="0" err="1">
                          <a:solidFill>
                            <a:srgbClr val="FFFFFF"/>
                          </a:solidFill>
                        </a:rPr>
                        <a:t>머신러닝</a:t>
                      </a:r>
                      <a:endParaRPr lang="en-US" altLang="ko-KR" sz="1600" kern="0" dirty="0">
                        <a:solidFill>
                          <a:srgbClr val="FFFFFF"/>
                        </a:solidFill>
                      </a:endParaRPr>
                    </a:p>
                    <a:p>
                      <a:pPr marL="0" marR="0" indent="0" algn="l" defTabSz="699630" rtl="0" eaLnBrk="1" fontAlgn="auto" latinLnBrk="0" hangingPunct="1">
                        <a:lnSpc>
                          <a:spcPct val="100000"/>
                        </a:lnSpc>
                        <a:spcBef>
                          <a:spcPts val="0"/>
                        </a:spcBef>
                        <a:spcAft>
                          <a:spcPts val="0"/>
                        </a:spcAft>
                        <a:buClrTx/>
                        <a:buSzTx/>
                        <a:buFontTx/>
                        <a:buNone/>
                        <a:tabLst/>
                        <a:defRPr/>
                      </a:pPr>
                      <a:r>
                        <a:rPr lang="en-US" sz="1200" kern="0" dirty="0">
                          <a:solidFill>
                            <a:srgbClr val="FFFFFF"/>
                          </a:solidFill>
                        </a:rPr>
                        <a:t>(</a:t>
                      </a:r>
                      <a:r>
                        <a:rPr lang="ko-KR" altLang="en-US" sz="1200" kern="0" dirty="0">
                          <a:solidFill>
                            <a:srgbClr val="FFFFFF"/>
                          </a:solidFill>
                        </a:rPr>
                        <a:t>고급 분석 및 기계학습</a:t>
                      </a:r>
                      <a:r>
                        <a:rPr lang="en-US" altLang="ko-KR" sz="1200" kern="0" dirty="0">
                          <a:solidFill>
                            <a:srgbClr val="FFFFFF"/>
                          </a:solidFill>
                        </a:rPr>
                        <a:t>)</a:t>
                      </a:r>
                      <a:endParaRPr lang="en-US" sz="1200" kern="0" dirty="0">
                        <a:solidFill>
                          <a:srgbClr val="FFFFFF"/>
                        </a:solidFill>
                      </a:endParaRPr>
                    </a:p>
                  </a:txBody>
                  <a:tcPr marL="861659" marR="43083" marT="43083" marB="43083">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Power BI</a:t>
                      </a:r>
                    </a:p>
                    <a:p>
                      <a:pPr marL="0" marR="0" indent="0" algn="l" defTabSz="699630" rtl="0" eaLnBrk="1" fontAlgn="auto" latinLnBrk="0" hangingPunct="1">
                        <a:lnSpc>
                          <a:spcPct val="100000"/>
                        </a:lnSpc>
                        <a:spcBef>
                          <a:spcPts val="0"/>
                        </a:spcBef>
                        <a:spcAft>
                          <a:spcPts val="0"/>
                        </a:spcAft>
                        <a:buClrTx/>
                        <a:buSzTx/>
                        <a:buFontTx/>
                        <a:buNone/>
                        <a:tabLst/>
                        <a:defRPr/>
                      </a:pPr>
                      <a:r>
                        <a:rPr lang="en-US" sz="1200" kern="0" dirty="0">
                          <a:solidFill>
                            <a:srgbClr val="FFFFFF"/>
                          </a:solidFill>
                        </a:rPr>
                        <a:t>(</a:t>
                      </a:r>
                      <a:r>
                        <a:rPr lang="ko-KR" altLang="en-US" sz="1200" kern="0" dirty="0">
                          <a:solidFill>
                            <a:srgbClr val="FFFFFF"/>
                          </a:solidFill>
                        </a:rPr>
                        <a:t>데이터</a:t>
                      </a:r>
                      <a:r>
                        <a:rPr lang="ko-KR" altLang="en-US" sz="1200" kern="0" baseline="0" dirty="0">
                          <a:solidFill>
                            <a:srgbClr val="FFFFFF"/>
                          </a:solidFill>
                        </a:rPr>
                        <a:t> 분석</a:t>
                      </a:r>
                      <a:r>
                        <a:rPr lang="en-US" altLang="ko-KR" sz="1200" kern="0" baseline="0" dirty="0">
                          <a:solidFill>
                            <a:srgbClr val="FFFFFF"/>
                          </a:solidFill>
                        </a:rPr>
                        <a:t>&amp; </a:t>
                      </a:r>
                      <a:r>
                        <a:rPr lang="ko-KR" altLang="en-US" sz="1200" kern="0" baseline="0" dirty="0">
                          <a:solidFill>
                            <a:srgbClr val="FFFFFF"/>
                          </a:solidFill>
                        </a:rPr>
                        <a:t>시각화 플랫폼</a:t>
                      </a:r>
                      <a:r>
                        <a:rPr lang="en-US" altLang="ko-KR" sz="1200" kern="0" baseline="0" dirty="0">
                          <a:solidFill>
                            <a:srgbClr val="FFFFFF"/>
                          </a:solidFill>
                        </a:rPr>
                        <a:t>)</a:t>
                      </a:r>
                      <a:endParaRPr lang="en-US" sz="1200" kern="0" dirty="0">
                        <a:solidFill>
                          <a:srgbClr val="FFFFFF"/>
                        </a:solidFill>
                      </a:endParaRPr>
                    </a:p>
                  </a:txBody>
                  <a:tcPr marL="861659" marR="43083" marT="43083" marB="43083">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1"/>
                  </a:ext>
                </a:extLst>
              </a:tr>
              <a:tr h="841748">
                <a:tc>
                  <a:txBody>
                    <a:bodyPr/>
                    <a:lstStyle/>
                    <a:p>
                      <a:r>
                        <a:rPr lang="en-US" sz="1200" dirty="0"/>
                        <a:t>           </a:t>
                      </a:r>
                      <a:r>
                        <a:rPr lang="ko-KR" altLang="en-US" sz="1400" dirty="0">
                          <a:solidFill>
                            <a:schemeClr val="bg1"/>
                          </a:solidFill>
                        </a:rPr>
                        <a:t>대형 기계 장    </a:t>
                      </a:r>
                      <a:endParaRPr lang="en-US" altLang="ko-KR" sz="1400" dirty="0">
                        <a:solidFill>
                          <a:schemeClr val="bg1"/>
                        </a:solidFill>
                      </a:endParaRPr>
                    </a:p>
                    <a:p>
                      <a:r>
                        <a:rPr lang="en-US" altLang="ko-KR" sz="1400" dirty="0">
                          <a:solidFill>
                            <a:schemeClr val="bg1"/>
                          </a:solidFill>
                        </a:rPr>
                        <a:t>         </a:t>
                      </a:r>
                      <a:r>
                        <a:rPr lang="ko-KR" altLang="en-US" sz="1400" dirty="0">
                          <a:solidFill>
                            <a:schemeClr val="bg1"/>
                          </a:solidFill>
                        </a:rPr>
                        <a:t>치 및 그 센서</a:t>
                      </a:r>
                      <a:endParaRPr lang="en-US" sz="1400" dirty="0">
                        <a:solidFill>
                          <a:schemeClr val="bg1"/>
                        </a:solidFill>
                      </a:endParaRPr>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r>
                        <a:rPr lang="en-US" altLang="ko-KR" sz="1600" dirty="0">
                          <a:solidFill>
                            <a:schemeClr val="bg1"/>
                          </a:solidFill>
                        </a:rPr>
                        <a:t>Event Hub</a:t>
                      </a:r>
                    </a:p>
                    <a:p>
                      <a:pPr marL="0" marR="0" indent="0" algn="l" defTabSz="685517" rtl="0" eaLnBrk="1" fontAlgn="auto" latinLnBrk="0" hangingPunct="1">
                        <a:lnSpc>
                          <a:spcPct val="100000"/>
                        </a:lnSpc>
                        <a:spcBef>
                          <a:spcPts val="0"/>
                        </a:spcBef>
                        <a:spcAft>
                          <a:spcPts val="0"/>
                        </a:spcAft>
                        <a:buClrTx/>
                        <a:buSzTx/>
                        <a:buFontTx/>
                        <a:buNone/>
                        <a:tabLst/>
                        <a:defRPr/>
                      </a:pPr>
                      <a:r>
                        <a:rPr lang="en-US" sz="1200" dirty="0">
                          <a:solidFill>
                            <a:schemeClr val="bg1"/>
                          </a:solidFill>
                        </a:rPr>
                        <a:t>(</a:t>
                      </a:r>
                      <a:r>
                        <a:rPr lang="ko-KR" altLang="en-US" sz="1200" dirty="0">
                          <a:solidFill>
                            <a:schemeClr val="bg1"/>
                          </a:solidFill>
                        </a:rPr>
                        <a:t>대량 이벤트 </a:t>
                      </a:r>
                      <a:r>
                        <a:rPr lang="ko-KR" altLang="en-US" sz="1200" baseline="0" dirty="0">
                          <a:solidFill>
                            <a:schemeClr val="bg1"/>
                          </a:solidFill>
                        </a:rPr>
                        <a:t>수집</a:t>
                      </a:r>
                      <a:r>
                        <a:rPr lang="en-US" altLang="ko-KR" sz="1200" dirty="0">
                          <a:solidFill>
                            <a:schemeClr val="bg1"/>
                          </a:solidFill>
                        </a:rPr>
                        <a:t>)</a:t>
                      </a:r>
                      <a:endParaRPr lang="en-US" sz="1200" dirty="0">
                        <a:solidFill>
                          <a:schemeClr val="bg1"/>
                        </a:solidFill>
                      </a:endParaRPr>
                    </a:p>
                  </a:txBody>
                  <a:tcPr marL="861659" marR="43083" marT="43083" marB="43083">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Table/Blob </a:t>
                      </a:r>
                      <a:r>
                        <a:rPr lang="ko-KR" altLang="en-US" sz="1600" kern="0" dirty="0">
                          <a:solidFill>
                            <a:srgbClr val="FFFFFF"/>
                          </a:solidFill>
                        </a:rPr>
                        <a:t>저장소</a:t>
                      </a:r>
                      <a:endParaRPr lang="en-US" altLang="ko-KR" sz="1600" kern="0" dirty="0">
                        <a:solidFill>
                          <a:srgbClr val="FFFFFF"/>
                        </a:solidFill>
                      </a:endParaRPr>
                    </a:p>
                    <a:p>
                      <a:pPr marL="0" marR="0" indent="0" algn="l" defTabSz="699630" rtl="0" eaLnBrk="1" fontAlgn="auto" latinLnBrk="0" hangingPunct="1">
                        <a:lnSpc>
                          <a:spcPct val="100000"/>
                        </a:lnSpc>
                        <a:spcBef>
                          <a:spcPts val="0"/>
                        </a:spcBef>
                        <a:spcAft>
                          <a:spcPts val="0"/>
                        </a:spcAft>
                        <a:buClrTx/>
                        <a:buSzTx/>
                        <a:buFontTx/>
                        <a:buNone/>
                        <a:tabLst/>
                        <a:defRPr/>
                      </a:pPr>
                      <a:r>
                        <a:rPr lang="en-US" sz="1200" kern="0" dirty="0">
                          <a:solidFill>
                            <a:srgbClr val="FFFFFF"/>
                          </a:solidFill>
                        </a:rPr>
                        <a:t>(</a:t>
                      </a:r>
                      <a:r>
                        <a:rPr lang="ko-KR" altLang="en-US" sz="1200" kern="0" dirty="0" err="1">
                          <a:solidFill>
                            <a:srgbClr val="FFFFFF"/>
                          </a:solidFill>
                        </a:rPr>
                        <a:t>클라우드</a:t>
                      </a:r>
                      <a:r>
                        <a:rPr lang="ko-KR" altLang="en-US" sz="1200" kern="0" dirty="0">
                          <a:solidFill>
                            <a:srgbClr val="FFFFFF"/>
                          </a:solidFill>
                        </a:rPr>
                        <a:t> 저장소</a:t>
                      </a:r>
                      <a:r>
                        <a:rPr lang="en-US" altLang="ko-KR" sz="1200" kern="0" dirty="0">
                          <a:solidFill>
                            <a:srgbClr val="FFFFFF"/>
                          </a:solidFill>
                        </a:rPr>
                        <a:t>)</a:t>
                      </a:r>
                      <a:endParaRPr lang="en-US" sz="1200" kern="0" dirty="0">
                        <a:solidFill>
                          <a:srgbClr val="FFFFFF"/>
                        </a:solidFill>
                      </a:endParaRPr>
                    </a:p>
                  </a:txBody>
                  <a:tcPr marL="861659" marR="43083" marT="43083" marB="43083">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ko-KR" altLang="en-US" sz="1600" kern="0" dirty="0">
                          <a:solidFill>
                            <a:srgbClr val="FFFFFF"/>
                          </a:solidFill>
                        </a:rPr>
                        <a:t>스트림 분석</a:t>
                      </a:r>
                      <a:endParaRPr lang="en-US" altLang="ko-KR" sz="1600" kern="0" dirty="0">
                        <a:solidFill>
                          <a:srgbClr val="FFFFFF"/>
                        </a:solidFill>
                      </a:endParaRPr>
                    </a:p>
                    <a:p>
                      <a:pPr marL="0" marR="0" indent="0" algn="l" defTabSz="699630" rtl="0" eaLnBrk="1" fontAlgn="auto" latinLnBrk="0" hangingPunct="1">
                        <a:lnSpc>
                          <a:spcPct val="100000"/>
                        </a:lnSpc>
                        <a:spcBef>
                          <a:spcPts val="0"/>
                        </a:spcBef>
                        <a:spcAft>
                          <a:spcPts val="0"/>
                        </a:spcAft>
                        <a:buClrTx/>
                        <a:buSzTx/>
                        <a:buFontTx/>
                        <a:buNone/>
                        <a:tabLst/>
                        <a:defRPr/>
                      </a:pPr>
                      <a:r>
                        <a:rPr lang="en-US" altLang="ko-KR" sz="1200" kern="0" dirty="0">
                          <a:solidFill>
                            <a:srgbClr val="FFFFFF"/>
                          </a:solidFill>
                        </a:rPr>
                        <a:t>(</a:t>
                      </a:r>
                      <a:r>
                        <a:rPr lang="ko-KR" altLang="en-US" sz="1200" kern="0" dirty="0">
                          <a:solidFill>
                            <a:srgbClr val="FFFFFF"/>
                          </a:solidFill>
                        </a:rPr>
                        <a:t>실시간 분석</a:t>
                      </a:r>
                      <a:r>
                        <a:rPr lang="en-US" altLang="ko-KR" sz="1200" kern="0" dirty="0">
                          <a:solidFill>
                            <a:srgbClr val="FFFFFF"/>
                          </a:solidFill>
                        </a:rPr>
                        <a:t>)</a:t>
                      </a:r>
                    </a:p>
                  </a:txBody>
                  <a:tcPr marL="861659" marR="43083" marT="43083" marB="43083">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endParaRPr lang="en-US" sz="1200" kern="0" dirty="0">
                        <a:solidFill>
                          <a:srgbClr val="FFFFFF"/>
                        </a:solidFill>
                      </a:endParaRPr>
                    </a:p>
                  </a:txBody>
                  <a:tcPr marL="861659" marR="43083" marT="43083" marB="43083">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r>
                        <a:rPr lang="ko-KR" altLang="en-US" sz="1600" dirty="0">
                          <a:solidFill>
                            <a:schemeClr val="bg1"/>
                          </a:solidFill>
                        </a:rPr>
                        <a:t>서비스 버스</a:t>
                      </a:r>
                      <a:endParaRPr lang="en-US" altLang="ko-KR" sz="1600" dirty="0">
                        <a:solidFill>
                          <a:schemeClr val="bg1"/>
                        </a:solidFill>
                      </a:endParaRPr>
                    </a:p>
                    <a:p>
                      <a:pPr marL="0" marR="0" indent="0" algn="l" defTabSz="685517" rtl="0" eaLnBrk="1" fontAlgn="auto" latinLnBrk="0" hangingPunct="1">
                        <a:lnSpc>
                          <a:spcPct val="100000"/>
                        </a:lnSpc>
                        <a:spcBef>
                          <a:spcPts val="0"/>
                        </a:spcBef>
                        <a:spcAft>
                          <a:spcPts val="0"/>
                        </a:spcAft>
                        <a:buClrTx/>
                        <a:buSzTx/>
                        <a:buFontTx/>
                        <a:buNone/>
                        <a:tabLst/>
                        <a:defRPr/>
                      </a:pPr>
                      <a:r>
                        <a:rPr lang="en-US" sz="1200" dirty="0">
                          <a:solidFill>
                            <a:schemeClr val="bg1"/>
                          </a:solidFill>
                        </a:rPr>
                        <a:t>(</a:t>
                      </a:r>
                      <a:r>
                        <a:rPr lang="ko-KR" altLang="en-US" sz="1200" dirty="0">
                          <a:solidFill>
                            <a:schemeClr val="bg1"/>
                          </a:solidFill>
                        </a:rPr>
                        <a:t>메시지 연결</a:t>
                      </a:r>
                      <a:r>
                        <a:rPr lang="en-US" altLang="ko-KR" sz="1200" dirty="0">
                          <a:solidFill>
                            <a:schemeClr val="bg1"/>
                          </a:solidFill>
                        </a:rPr>
                        <a:t>)</a:t>
                      </a:r>
                      <a:endParaRPr lang="en-US" sz="1200" dirty="0">
                        <a:solidFill>
                          <a:schemeClr val="bg1"/>
                        </a:solidFill>
                      </a:endParaRPr>
                    </a:p>
                  </a:txBody>
                  <a:tcPr marL="861659" marR="43083" marT="43083" marB="43083">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err="1">
                          <a:solidFill>
                            <a:srgbClr val="FFFFFF"/>
                          </a:solidFill>
                        </a:rPr>
                        <a:t>DocumentDB</a:t>
                      </a:r>
                      <a:endParaRPr lang="en-US" sz="1600" kern="0" dirty="0">
                        <a:solidFill>
                          <a:srgbClr val="FFFFFF"/>
                        </a:solidFill>
                      </a:endParaRPr>
                    </a:p>
                    <a:p>
                      <a:pPr marL="0" marR="0" indent="0" algn="l" defTabSz="699630" rtl="0" eaLnBrk="1" fontAlgn="auto" latinLnBrk="0" hangingPunct="1">
                        <a:lnSpc>
                          <a:spcPct val="100000"/>
                        </a:lnSpc>
                        <a:spcBef>
                          <a:spcPts val="0"/>
                        </a:spcBef>
                        <a:spcAft>
                          <a:spcPts val="0"/>
                        </a:spcAft>
                        <a:buClrTx/>
                        <a:buSzTx/>
                        <a:buFontTx/>
                        <a:buNone/>
                        <a:tabLst/>
                        <a:defRPr/>
                      </a:pPr>
                      <a:r>
                        <a:rPr lang="en-US" sz="1200" kern="0" dirty="0">
                          <a:solidFill>
                            <a:srgbClr val="FFFFFF"/>
                          </a:solidFill>
                        </a:rPr>
                        <a:t>(NoSQL </a:t>
                      </a:r>
                      <a:r>
                        <a:rPr lang="ko-KR" altLang="en-US" sz="1200" kern="0" dirty="0">
                          <a:solidFill>
                            <a:srgbClr val="FFFFFF"/>
                          </a:solidFill>
                        </a:rPr>
                        <a:t>문서</a:t>
                      </a:r>
                      <a:r>
                        <a:rPr lang="en-US" altLang="ko-KR" sz="1200" kern="0" dirty="0">
                          <a:solidFill>
                            <a:srgbClr val="FFFFFF"/>
                          </a:solidFill>
                        </a:rPr>
                        <a:t>DB </a:t>
                      </a:r>
                      <a:r>
                        <a:rPr lang="ko-KR" altLang="en-US" sz="1200" kern="0" dirty="0">
                          <a:solidFill>
                            <a:srgbClr val="FFFFFF"/>
                          </a:solidFill>
                        </a:rPr>
                        <a:t>서비스</a:t>
                      </a:r>
                      <a:r>
                        <a:rPr lang="en-US" altLang="ko-KR" sz="1200" kern="0" dirty="0">
                          <a:solidFill>
                            <a:srgbClr val="FFFFFF"/>
                          </a:solidFill>
                        </a:rPr>
                        <a:t>)</a:t>
                      </a:r>
                      <a:endParaRPr lang="en-US" sz="1200" kern="0" dirty="0">
                        <a:solidFill>
                          <a:srgbClr val="FFFFFF"/>
                        </a:solidFill>
                      </a:endParaRPr>
                    </a:p>
                  </a:txBody>
                  <a:tcPr marL="861659" marR="43083" marT="43083" marB="43083">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HDInsight</a:t>
                      </a:r>
                    </a:p>
                    <a:p>
                      <a:pPr marL="0" marR="0" indent="0" algn="l" defTabSz="699630" rtl="0" eaLnBrk="1" fontAlgn="auto" latinLnBrk="0" hangingPunct="1">
                        <a:lnSpc>
                          <a:spcPct val="100000"/>
                        </a:lnSpc>
                        <a:spcBef>
                          <a:spcPts val="0"/>
                        </a:spcBef>
                        <a:spcAft>
                          <a:spcPts val="0"/>
                        </a:spcAft>
                        <a:buClrTx/>
                        <a:buSzTx/>
                        <a:buFontTx/>
                        <a:buNone/>
                        <a:tabLst/>
                        <a:defRPr/>
                      </a:pPr>
                      <a:r>
                        <a:rPr lang="en-US" sz="1200" kern="0" dirty="0">
                          <a:solidFill>
                            <a:srgbClr val="FFFFFF"/>
                          </a:solidFill>
                        </a:rPr>
                        <a:t>(</a:t>
                      </a:r>
                      <a:r>
                        <a:rPr lang="ko-KR" altLang="en-US" sz="1200" kern="0" dirty="0" err="1">
                          <a:solidFill>
                            <a:srgbClr val="FFFFFF"/>
                          </a:solidFill>
                        </a:rPr>
                        <a:t>클라우드</a:t>
                      </a:r>
                      <a:r>
                        <a:rPr lang="ko-KR" altLang="en-US" sz="1200" kern="0" dirty="0">
                          <a:solidFill>
                            <a:srgbClr val="FFFFFF"/>
                          </a:solidFill>
                        </a:rPr>
                        <a:t> 상의 </a:t>
                      </a:r>
                      <a:r>
                        <a:rPr lang="en-US" sz="1200" kern="0" dirty="0">
                          <a:solidFill>
                            <a:srgbClr val="FFFFFF"/>
                          </a:solidFill>
                        </a:rPr>
                        <a:t>Hadoop </a:t>
                      </a:r>
                      <a:r>
                        <a:rPr lang="ko-KR" altLang="en-US" sz="1200" kern="0" dirty="0">
                          <a:solidFill>
                            <a:srgbClr val="FFFFFF"/>
                          </a:solidFill>
                        </a:rPr>
                        <a:t>시스템</a:t>
                      </a:r>
                      <a:r>
                        <a:rPr lang="en-US" altLang="ko-KR" sz="1200" kern="0" dirty="0">
                          <a:solidFill>
                            <a:srgbClr val="FFFFFF"/>
                          </a:solidFill>
                        </a:rPr>
                        <a:t>)</a:t>
                      </a:r>
                      <a:endParaRPr lang="en-US" sz="1200" kern="0" dirty="0">
                        <a:solidFill>
                          <a:srgbClr val="FFFFFF"/>
                        </a:solidFill>
                      </a:endParaRPr>
                    </a:p>
                  </a:txBody>
                  <a:tcPr marL="861659" marR="43083" marT="43083" marB="43083">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endParaRPr lang="en-US" sz="1600" kern="0" dirty="0">
                        <a:solidFill>
                          <a:srgbClr val="FFFFFF"/>
                        </a:solidFill>
                      </a:endParaRPr>
                    </a:p>
                  </a:txBody>
                  <a:tcPr marL="861659" marR="43083" marT="43083" marB="43083">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957795">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r>
                        <a:rPr lang="ko-KR" altLang="en-US" sz="1500" dirty="0">
                          <a:solidFill>
                            <a:schemeClr val="bg1"/>
                          </a:solidFill>
                        </a:rPr>
                        <a:t>데이터카탈로그</a:t>
                      </a:r>
                      <a:endParaRPr lang="en-US" altLang="ko-KR" sz="1500" dirty="0">
                        <a:solidFill>
                          <a:schemeClr val="bg1"/>
                        </a:solidFill>
                      </a:endParaRPr>
                    </a:p>
                    <a:p>
                      <a:pPr marL="0" marR="0" indent="0" algn="l" defTabSz="685517" rtl="0" eaLnBrk="1" fontAlgn="auto" latinLnBrk="0" hangingPunct="1">
                        <a:lnSpc>
                          <a:spcPct val="100000"/>
                        </a:lnSpc>
                        <a:spcBef>
                          <a:spcPts val="0"/>
                        </a:spcBef>
                        <a:spcAft>
                          <a:spcPts val="0"/>
                        </a:spcAft>
                        <a:buClrTx/>
                        <a:buSzTx/>
                        <a:buFontTx/>
                        <a:buNone/>
                        <a:tabLst/>
                        <a:defRPr/>
                      </a:pPr>
                      <a:r>
                        <a:rPr lang="en-US" sz="1200" dirty="0">
                          <a:solidFill>
                            <a:schemeClr val="bg1"/>
                          </a:solidFill>
                        </a:rPr>
                        <a:t>(</a:t>
                      </a:r>
                      <a:r>
                        <a:rPr lang="ko-KR" altLang="en-US" sz="1200" dirty="0">
                          <a:solidFill>
                            <a:schemeClr val="bg1"/>
                          </a:solidFill>
                        </a:rPr>
                        <a:t>데이터 원본</a:t>
                      </a:r>
                      <a:r>
                        <a:rPr lang="ko-KR" altLang="en-US" sz="1200" baseline="0" dirty="0">
                          <a:solidFill>
                            <a:schemeClr val="bg1"/>
                          </a:solidFill>
                        </a:rPr>
                        <a:t> </a:t>
                      </a:r>
                      <a:r>
                        <a:rPr lang="ko-KR" altLang="en-US" sz="1200" dirty="0">
                          <a:solidFill>
                            <a:schemeClr val="bg1"/>
                          </a:solidFill>
                        </a:rPr>
                        <a:t>검색</a:t>
                      </a:r>
                      <a:r>
                        <a:rPr lang="en-US" altLang="ko-KR" sz="1200" dirty="0">
                          <a:solidFill>
                            <a:schemeClr val="bg1"/>
                          </a:solidFill>
                        </a:rPr>
                        <a:t>)</a:t>
                      </a:r>
                      <a:endParaRPr lang="en-US" sz="1200" dirty="0">
                        <a:solidFill>
                          <a:schemeClr val="bg1"/>
                        </a:solidFill>
                      </a:endParaRPr>
                    </a:p>
                  </a:txBody>
                  <a:tcPr marL="861659" marR="43083" marT="43083" marB="43083">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ko-KR" altLang="en-US" sz="1600" kern="0" dirty="0">
                          <a:solidFill>
                            <a:srgbClr val="FFFFFF"/>
                          </a:solidFill>
                        </a:rPr>
                        <a:t>데이터 레이크</a:t>
                      </a:r>
                      <a:endParaRPr lang="en-US" altLang="ko-KR" sz="1600" kern="0" dirty="0">
                        <a:solidFill>
                          <a:srgbClr val="FFFFFF"/>
                        </a:solidFill>
                      </a:endParaRPr>
                    </a:p>
                    <a:p>
                      <a:pPr marL="0" marR="0" indent="0" algn="l" defTabSz="699630" rtl="0" eaLnBrk="1" fontAlgn="auto" latinLnBrk="0" hangingPunct="1">
                        <a:lnSpc>
                          <a:spcPct val="100000"/>
                        </a:lnSpc>
                        <a:spcBef>
                          <a:spcPts val="0"/>
                        </a:spcBef>
                        <a:spcAft>
                          <a:spcPts val="0"/>
                        </a:spcAft>
                        <a:buClrTx/>
                        <a:buSzTx/>
                        <a:buFontTx/>
                        <a:buNone/>
                        <a:tabLst/>
                        <a:defRPr/>
                      </a:pPr>
                      <a:r>
                        <a:rPr lang="en-US" altLang="ko-KR" sz="1200" kern="0" dirty="0">
                          <a:solidFill>
                            <a:srgbClr val="FFFFFF"/>
                          </a:solidFill>
                        </a:rPr>
                        <a:t>(</a:t>
                      </a:r>
                      <a:r>
                        <a:rPr lang="ko-KR" altLang="en-US" sz="1200" kern="0" dirty="0">
                          <a:solidFill>
                            <a:srgbClr val="FFFFFF"/>
                          </a:solidFill>
                        </a:rPr>
                        <a:t>빅데이터를 위한 저장소 및 분석</a:t>
                      </a:r>
                      <a:r>
                        <a:rPr lang="en-US" altLang="ko-KR" sz="1200" kern="0" dirty="0">
                          <a:solidFill>
                            <a:srgbClr val="FFFFFF"/>
                          </a:solidFill>
                        </a:rPr>
                        <a:t>)</a:t>
                      </a:r>
                    </a:p>
                  </a:txBody>
                  <a:tcPr marL="861659" marR="43083" marT="43083" marB="43083">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altLang="ko-KR" sz="1600" kern="0" dirty="0" err="1">
                          <a:solidFill>
                            <a:srgbClr val="FFFFFF"/>
                          </a:solidFill>
                        </a:rPr>
                        <a:t>Revoluton</a:t>
                      </a:r>
                      <a:endParaRPr lang="en-US" altLang="ko-KR" sz="1600" kern="0" dirty="0">
                        <a:solidFill>
                          <a:srgbClr val="FFFFFF"/>
                        </a:solidFill>
                      </a:endParaRPr>
                    </a:p>
                    <a:p>
                      <a:pPr marL="0" marR="0" indent="0" algn="l" defTabSz="699630" rtl="0" eaLnBrk="1" fontAlgn="auto" latinLnBrk="0" hangingPunct="1">
                        <a:lnSpc>
                          <a:spcPct val="100000"/>
                        </a:lnSpc>
                        <a:spcBef>
                          <a:spcPts val="0"/>
                        </a:spcBef>
                        <a:spcAft>
                          <a:spcPts val="0"/>
                        </a:spcAft>
                        <a:buClrTx/>
                        <a:buSzTx/>
                        <a:buFontTx/>
                        <a:buNone/>
                        <a:tabLst/>
                        <a:defRPr/>
                      </a:pPr>
                      <a:r>
                        <a:rPr lang="en-US" altLang="ko-KR" sz="1600" kern="0" dirty="0">
                          <a:solidFill>
                            <a:srgbClr val="FFFFFF"/>
                          </a:solidFill>
                        </a:rPr>
                        <a:t>Analytics</a:t>
                      </a:r>
                    </a:p>
                    <a:p>
                      <a:pPr marL="0" marR="0" indent="0" algn="l" defTabSz="699630" rtl="0" eaLnBrk="1" fontAlgn="auto" latinLnBrk="0" hangingPunct="1">
                        <a:lnSpc>
                          <a:spcPct val="100000"/>
                        </a:lnSpc>
                        <a:spcBef>
                          <a:spcPts val="0"/>
                        </a:spcBef>
                        <a:spcAft>
                          <a:spcPts val="0"/>
                        </a:spcAft>
                        <a:buClrTx/>
                        <a:buSzTx/>
                        <a:buFontTx/>
                        <a:buNone/>
                        <a:tabLst/>
                        <a:defRPr/>
                      </a:pPr>
                      <a:r>
                        <a:rPr lang="en-US" altLang="ko-KR" sz="1200" kern="0" dirty="0">
                          <a:solidFill>
                            <a:srgbClr val="FFFFFF"/>
                          </a:solidFill>
                        </a:rPr>
                        <a:t>(</a:t>
                      </a:r>
                      <a:r>
                        <a:rPr lang="ko-KR" altLang="en-US" sz="1200" kern="0" dirty="0">
                          <a:solidFill>
                            <a:srgbClr val="FFFFFF"/>
                          </a:solidFill>
                        </a:rPr>
                        <a:t>고성능 </a:t>
                      </a:r>
                      <a:r>
                        <a:rPr lang="en-US" altLang="ko-KR" sz="1200" kern="0" dirty="0">
                          <a:solidFill>
                            <a:srgbClr val="FFFFFF"/>
                          </a:solidFill>
                        </a:rPr>
                        <a:t>R </a:t>
                      </a:r>
                      <a:r>
                        <a:rPr lang="ko-KR" altLang="en-US" sz="1200" kern="0" dirty="0">
                          <a:solidFill>
                            <a:srgbClr val="FFFFFF"/>
                          </a:solidFill>
                        </a:rPr>
                        <a:t>통계분석</a:t>
                      </a:r>
                      <a:r>
                        <a:rPr lang="en-US" altLang="ko-KR" sz="1200" kern="0" dirty="0">
                          <a:solidFill>
                            <a:srgbClr val="FFFFFF"/>
                          </a:solidFill>
                        </a:rPr>
                        <a:t>)</a:t>
                      </a:r>
                    </a:p>
                  </a:txBody>
                  <a:tcPr marL="861659" marR="43083" marT="43083" marB="43083">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endParaRPr lang="en-US" sz="1600" kern="0" dirty="0">
                        <a:solidFill>
                          <a:srgbClr val="FFFFFF"/>
                        </a:solidFill>
                      </a:endParaRPr>
                    </a:p>
                  </a:txBody>
                  <a:tcPr marL="861659" marR="43083" marT="43083" marB="43083">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1" hangingPunct="1">
                        <a:lnSpc>
                          <a:spcPct val="100000"/>
                        </a:lnSpc>
                        <a:spcBef>
                          <a:spcPts val="0"/>
                        </a:spcBef>
                        <a:spcAft>
                          <a:spcPts val="0"/>
                        </a:spcAft>
                        <a:buClrTx/>
                        <a:buSzTx/>
                        <a:buFontTx/>
                        <a:buNone/>
                        <a:tabLst/>
                        <a:defRPr/>
                      </a:pPr>
                      <a:r>
                        <a:rPr lang="en-US" altLang="ko-KR" sz="1800" kern="0" dirty="0">
                          <a:solidFill>
                            <a:srgbClr val="FFFFFF"/>
                          </a:solidFill>
                        </a:rPr>
                        <a:t>Data</a:t>
                      </a:r>
                      <a:r>
                        <a:rPr lang="en-US" altLang="ko-KR" sz="1800" kern="0" baseline="0" dirty="0">
                          <a:solidFill>
                            <a:srgbClr val="FFFFFF"/>
                          </a:solidFill>
                        </a:rPr>
                        <a:t> Factory</a:t>
                      </a:r>
                      <a:endParaRPr lang="en-US" altLang="ko-KR" sz="1800" kern="0" dirty="0">
                        <a:solidFill>
                          <a:srgbClr val="FFFFFF"/>
                        </a:solidFill>
                      </a:endParaRPr>
                    </a:p>
                    <a:p>
                      <a:r>
                        <a:rPr lang="en-US" altLang="ko-KR" sz="1200" dirty="0">
                          <a:solidFill>
                            <a:schemeClr val="bg1"/>
                          </a:solidFill>
                        </a:rPr>
                        <a:t>(</a:t>
                      </a:r>
                      <a:r>
                        <a:rPr lang="ko-KR" altLang="en-US" sz="1200" dirty="0" err="1">
                          <a:solidFill>
                            <a:schemeClr val="bg1"/>
                          </a:solidFill>
                        </a:rPr>
                        <a:t>클라우드</a:t>
                      </a:r>
                      <a:r>
                        <a:rPr lang="ko-KR" altLang="en-US" sz="1200" dirty="0">
                          <a:solidFill>
                            <a:schemeClr val="bg1"/>
                          </a:solidFill>
                        </a:rPr>
                        <a:t> 상의 </a:t>
                      </a:r>
                      <a:r>
                        <a:rPr lang="en-US" altLang="ko-KR" sz="1200" dirty="0">
                          <a:solidFill>
                            <a:schemeClr val="bg1"/>
                          </a:solidFill>
                        </a:rPr>
                        <a:t>ETL)</a:t>
                      </a:r>
                      <a:endParaRPr lang="ko-KR" altLang="en-US" sz="1200" dirty="0">
                        <a:solidFill>
                          <a:schemeClr val="bg1"/>
                        </a:solidFill>
                      </a:endParaRPr>
                    </a:p>
                  </a:txBody>
                  <a:tcPr marL="861659" marR="43083" marT="43083" marB="43083">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altLang="ko-KR" sz="1600" kern="0" dirty="0">
                          <a:solidFill>
                            <a:srgbClr val="FFFFFF"/>
                          </a:solidFill>
                        </a:rPr>
                        <a:t>SQL</a:t>
                      </a:r>
                      <a:r>
                        <a:rPr lang="en-US" altLang="ko-KR" sz="1600" kern="0" baseline="0" dirty="0">
                          <a:solidFill>
                            <a:srgbClr val="FFFFFF"/>
                          </a:solidFill>
                        </a:rPr>
                        <a:t> DW</a:t>
                      </a:r>
                    </a:p>
                    <a:p>
                      <a:pPr marL="0" marR="0" indent="0" algn="l" defTabSz="699630" rtl="0" eaLnBrk="1" fontAlgn="auto" latinLnBrk="0" hangingPunct="1">
                        <a:lnSpc>
                          <a:spcPct val="100000"/>
                        </a:lnSpc>
                        <a:spcBef>
                          <a:spcPts val="0"/>
                        </a:spcBef>
                        <a:spcAft>
                          <a:spcPts val="0"/>
                        </a:spcAft>
                        <a:buClrTx/>
                        <a:buSzTx/>
                        <a:buFontTx/>
                        <a:buNone/>
                        <a:tabLst/>
                        <a:defRPr/>
                      </a:pPr>
                      <a:r>
                        <a:rPr lang="en-US" altLang="ko-KR" sz="1200" kern="0" baseline="0" dirty="0">
                          <a:solidFill>
                            <a:srgbClr val="FFFFFF"/>
                          </a:solidFill>
                        </a:rPr>
                        <a:t>(DW </a:t>
                      </a:r>
                      <a:r>
                        <a:rPr lang="ko-KR" altLang="en-US" sz="1200" kern="0" baseline="0" dirty="0">
                          <a:solidFill>
                            <a:srgbClr val="FFFFFF"/>
                          </a:solidFill>
                        </a:rPr>
                        <a:t>특화 서비스</a:t>
                      </a:r>
                      <a:r>
                        <a:rPr lang="en-US" altLang="ko-KR" sz="1200" kern="0" baseline="0" dirty="0">
                          <a:solidFill>
                            <a:srgbClr val="FFFFFF"/>
                          </a:solidFill>
                        </a:rPr>
                        <a:t>)</a:t>
                      </a:r>
                      <a:endParaRPr lang="en-US" altLang="ko-KR" sz="1200" kern="0" dirty="0">
                        <a:solidFill>
                          <a:srgbClr val="FFFFFF"/>
                        </a:solidFill>
                      </a:endParaRPr>
                    </a:p>
                  </a:txBody>
                  <a:tcPr marL="861659" marR="43083" marT="43083" marB="43083">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l" defTabSz="914400" rtl="0" eaLnBrk="1" fontAlgn="auto" latinLnBrk="1" hangingPunct="1">
                        <a:lnSpc>
                          <a:spcPct val="100000"/>
                        </a:lnSpc>
                        <a:spcBef>
                          <a:spcPts val="0"/>
                        </a:spcBef>
                        <a:spcAft>
                          <a:spcPts val="0"/>
                        </a:spcAft>
                        <a:buClrTx/>
                        <a:buSzTx/>
                        <a:buFontTx/>
                        <a:buNone/>
                        <a:tabLst/>
                        <a:defRPr/>
                      </a:pPr>
                      <a:endParaRPr lang="en-US" altLang="ko-KR" sz="1600" dirty="0">
                        <a:solidFill>
                          <a:schemeClr val="bg1"/>
                        </a:solidFill>
                      </a:endParaRPr>
                    </a:p>
                  </a:txBody>
                  <a:tcPr marL="861659" marR="43083" marT="43083" marB="43083">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endParaRPr lang="en-US" sz="1600" kern="0" dirty="0">
                        <a:solidFill>
                          <a:srgbClr val="FFFFFF"/>
                        </a:solidFill>
                      </a:endParaRPr>
                    </a:p>
                  </a:txBody>
                  <a:tcPr marL="861659" marR="43083" marT="43083" marB="43083">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noFill/>
                  </a:tcPr>
                </a:tc>
                <a:tc>
                  <a:txBody>
                    <a:bodyPr/>
                    <a:lstStyle/>
                    <a:p>
                      <a:endParaRPr lang="ko-KR" altLang="en-US" dirty="0"/>
                    </a:p>
                  </a:txBody>
                  <a:tcPr marL="861659" marR="43083" marT="43083" marB="43083">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altLang="ko-KR" sz="1600" kern="0" dirty="0" err="1">
                          <a:solidFill>
                            <a:srgbClr val="FFFFFF"/>
                          </a:solidFill>
                        </a:rPr>
                        <a:t>Redis</a:t>
                      </a:r>
                      <a:r>
                        <a:rPr lang="en-US" altLang="ko-KR" sz="1600" kern="0" dirty="0">
                          <a:solidFill>
                            <a:srgbClr val="FFFFFF"/>
                          </a:solidFill>
                        </a:rPr>
                        <a:t> Cache</a:t>
                      </a:r>
                    </a:p>
                    <a:p>
                      <a:pPr marL="0" marR="0" indent="0" algn="l" defTabSz="699630" rtl="0" eaLnBrk="1" fontAlgn="auto" latinLnBrk="0" hangingPunct="1">
                        <a:lnSpc>
                          <a:spcPct val="100000"/>
                        </a:lnSpc>
                        <a:spcBef>
                          <a:spcPts val="0"/>
                        </a:spcBef>
                        <a:spcAft>
                          <a:spcPts val="0"/>
                        </a:spcAft>
                        <a:buClrTx/>
                        <a:buSzTx/>
                        <a:buFontTx/>
                        <a:buNone/>
                        <a:tabLst/>
                        <a:defRPr/>
                      </a:pPr>
                      <a:r>
                        <a:rPr lang="en-US" altLang="ko-KR" sz="1200" kern="0" dirty="0">
                          <a:solidFill>
                            <a:srgbClr val="FFFFFF"/>
                          </a:solidFill>
                        </a:rPr>
                        <a:t>(</a:t>
                      </a:r>
                      <a:r>
                        <a:rPr lang="ko-KR" altLang="en-US" sz="1200" kern="0" dirty="0" err="1">
                          <a:solidFill>
                            <a:srgbClr val="FFFFFF"/>
                          </a:solidFill>
                        </a:rPr>
                        <a:t>클라우드</a:t>
                      </a:r>
                      <a:r>
                        <a:rPr lang="ko-KR" altLang="en-US" sz="1200" kern="0" dirty="0">
                          <a:solidFill>
                            <a:srgbClr val="FFFFFF"/>
                          </a:solidFill>
                        </a:rPr>
                        <a:t> 앱을 위한 </a:t>
                      </a:r>
                      <a:r>
                        <a:rPr lang="en-US" altLang="ko-KR" sz="1200" kern="0" dirty="0" err="1">
                          <a:solidFill>
                            <a:srgbClr val="FFFFFF"/>
                          </a:solidFill>
                        </a:rPr>
                        <a:t>Redis</a:t>
                      </a:r>
                      <a:r>
                        <a:rPr lang="en-US" altLang="ko-KR" sz="1200" kern="0" baseline="0" dirty="0">
                          <a:solidFill>
                            <a:srgbClr val="FFFFFF"/>
                          </a:solidFill>
                        </a:rPr>
                        <a:t> cache)</a:t>
                      </a:r>
                      <a:endParaRPr lang="en-US" altLang="ko-KR" sz="1200" kern="0" dirty="0">
                        <a:solidFill>
                          <a:srgbClr val="FFFFFF"/>
                        </a:solidFill>
                      </a:endParaRPr>
                    </a:p>
                  </a:txBody>
                  <a:tcPr marL="861659" marR="43083" marT="43083" marB="43083">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1600" dirty="0">
                        <a:solidFill>
                          <a:schemeClr val="bg1"/>
                        </a:solidFill>
                      </a:endParaRPr>
                    </a:p>
                  </a:txBody>
                  <a:tcPr marL="861659" marR="43083" marT="43083" marB="43083">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endParaRPr lang="en-US" sz="1600" kern="0" dirty="0">
                        <a:solidFill>
                          <a:srgbClr val="FFFFFF"/>
                        </a:solidFill>
                      </a:endParaRPr>
                    </a:p>
                  </a:txBody>
                  <a:tcPr marL="861659" marR="43083" marT="43083" marB="43083">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2327105"/>
                  </a:ext>
                </a:extLst>
              </a:tr>
            </a:tbl>
          </a:graphicData>
        </a:graphic>
      </p:graphicFrame>
      <p:sp>
        <p:nvSpPr>
          <p:cNvPr id="61" name="직사각형 60"/>
          <p:cNvSpPr/>
          <p:nvPr/>
        </p:nvSpPr>
        <p:spPr>
          <a:xfrm>
            <a:off x="380588" y="748708"/>
            <a:ext cx="2224011" cy="829185"/>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ko-KR" altLang="en-US" sz="1600" b="1" i="0" u="none" strike="noStrike" kern="1200" cap="none" spc="0" normalizeH="0" baseline="0" noProof="0" dirty="0">
                <a:ln>
                  <a:noFill/>
                </a:ln>
                <a:solidFill>
                  <a:prstClr val="white"/>
                </a:solidFill>
                <a:effectLst/>
                <a:uLnTx/>
                <a:uFillTx/>
                <a:latin typeface="맑은 고딕" panose="020F0502020204030204"/>
                <a:ea typeface="맑은 고딕" panose="020B0503020000020004" pitchFamily="50" charset="-127"/>
                <a:cs typeface="+mn-cs"/>
              </a:rPr>
              <a:t>디바이스 및 센서</a:t>
            </a:r>
          </a:p>
        </p:txBody>
      </p:sp>
      <p:pic>
        <p:nvPicPr>
          <p:cNvPr id="63" name="Picture 4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37020" y="1124210"/>
            <a:ext cx="136483" cy="139374"/>
          </a:xfrm>
          <a:prstGeom prst="rect">
            <a:avLst/>
          </a:prstGeom>
        </p:spPr>
      </p:pic>
      <p:sp>
        <p:nvSpPr>
          <p:cNvPr id="83" name="Round Same Side Corner Rectangle 11"/>
          <p:cNvSpPr/>
          <p:nvPr/>
        </p:nvSpPr>
        <p:spPr>
          <a:xfrm>
            <a:off x="1049672" y="1124212"/>
            <a:ext cx="311546" cy="106121"/>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marL="0" marR="0" lvl="0" indent="0" algn="ctr" defTabSz="913063" rtl="0" eaLnBrk="1" fontAlgn="auto" latinLnBrk="1" hangingPunct="1">
              <a:lnSpc>
                <a:spcPct val="100000"/>
              </a:lnSpc>
              <a:spcBef>
                <a:spcPts val="0"/>
              </a:spcBef>
              <a:spcAft>
                <a:spcPts val="0"/>
              </a:spcAft>
              <a:buClrTx/>
              <a:buSzTx/>
              <a:buFontTx/>
              <a:buNone/>
              <a:tabLst/>
              <a:defRPr/>
            </a:pPr>
            <a:endParaRPr kumimoji="0" lang="en-US" sz="1174" b="0" i="0" u="none" strike="noStrike" kern="0" cap="none" spc="0" normalizeH="0" baseline="0" noProof="0">
              <a:ln>
                <a:noFill/>
              </a:ln>
              <a:solidFill>
                <a:srgbClr val="000000"/>
              </a:solidFill>
              <a:effectLst/>
              <a:uLnTx/>
              <a:uFillTx/>
              <a:latin typeface="맑은 고딕" panose="020F0502020204030204"/>
              <a:ea typeface="+mn-ea"/>
              <a:cs typeface="+mn-cs"/>
              <a:sym typeface="Segoe UI" panose="020B0502040204020203" pitchFamily="34" charset="0"/>
            </a:endParaRPr>
          </a:p>
        </p:txBody>
      </p:sp>
      <p:pic>
        <p:nvPicPr>
          <p:cNvPr id="86" name="Picture 3"/>
          <p:cNvPicPr>
            <a:picLocks noChangeAspect="1"/>
          </p:cNvPicPr>
          <p:nvPr/>
        </p:nvPicPr>
        <p:blipFill>
          <a:blip r:embed="rId3">
            <a:biLevel thresh="25000"/>
            <a:extLst>
              <a:ext uri="{28A0092B-C50C-407E-A947-70E740481C1C}">
                <a14:useLocalDpi xmlns:a14="http://schemas.microsoft.com/office/drawing/2010/main"/>
              </a:ext>
            </a:extLst>
          </a:blip>
          <a:srcRect/>
          <a:stretch>
            <a:fillRect/>
          </a:stretch>
        </p:blipFill>
        <p:spPr bwMode="auto">
          <a:xfrm>
            <a:off x="5114258" y="1814619"/>
            <a:ext cx="423739" cy="44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7" name="Picture 6"/>
          <p:cNvPicPr>
            <a:picLocks noChangeAspect="1"/>
          </p:cNvPicPr>
          <p:nvPr/>
        </p:nvPicPr>
        <p:blipFill>
          <a:blip r:embed="rId4">
            <a:biLevel thresh="25000"/>
            <a:extLst>
              <a:ext uri="{28A0092B-C50C-407E-A947-70E740481C1C}">
                <a14:useLocalDpi xmlns:a14="http://schemas.microsoft.com/office/drawing/2010/main"/>
              </a:ext>
            </a:extLst>
          </a:blip>
          <a:srcRect/>
          <a:stretch>
            <a:fillRect/>
          </a:stretch>
        </p:blipFill>
        <p:spPr bwMode="auto">
          <a:xfrm>
            <a:off x="5112324" y="2701104"/>
            <a:ext cx="451665" cy="392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3" name="Picture 7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941993" y="3322967"/>
            <a:ext cx="792325" cy="792325"/>
          </a:xfrm>
          <a:prstGeom prst="rect">
            <a:avLst/>
          </a:prstGeom>
        </p:spPr>
      </p:pic>
      <p:sp>
        <p:nvSpPr>
          <p:cNvPr id="94" name="TextBox 93"/>
          <p:cNvSpPr txBox="1"/>
          <p:nvPr/>
        </p:nvSpPr>
        <p:spPr>
          <a:xfrm>
            <a:off x="5143703" y="3599061"/>
            <a:ext cx="364848" cy="240136"/>
          </a:xfrm>
          <a:prstGeom prst="rect">
            <a:avLst/>
          </a:prstGeom>
          <a:noFill/>
          <a:ln>
            <a:noFill/>
            <a:headEnd type="none" w="med" len="med"/>
            <a:tailEnd type="none" w="med" len="med"/>
          </a:ln>
        </p:spPr>
        <p:txBody>
          <a:bodyPr wrap="square" lIns="0" tIns="0" rIns="0" bIns="0" rtlCol="0">
            <a:spAutoFit/>
          </a:bodyPr>
          <a:lstStyle/>
          <a:p>
            <a:pPr marL="0" marR="0" lvl="0" indent="0" algn="ctr" defTabSz="699385" rtl="0" eaLnBrk="1" fontAlgn="auto" latinLnBrk="1" hangingPunct="1">
              <a:lnSpc>
                <a:spcPct val="100000"/>
              </a:lnSpc>
              <a:spcBef>
                <a:spcPts val="0"/>
              </a:spcBef>
              <a:spcAft>
                <a:spcPts val="0"/>
              </a:spcAft>
              <a:buClrTx/>
              <a:buSzTx/>
              <a:buFontTx/>
              <a:buNone/>
              <a:tabLst/>
              <a:defRPr/>
            </a:pPr>
            <a:r>
              <a:rPr kumimoji="0" lang="en-US" sz="1530" b="0" i="0" u="none" strike="noStrike" kern="1200" cap="none" spc="-30" normalizeH="0" baseline="0" noProof="0">
                <a:ln>
                  <a:noFill/>
                </a:ln>
                <a:solidFill>
                  <a:srgbClr val="4668C5"/>
                </a:solidFill>
                <a:effectLst/>
                <a:uLnTx/>
                <a:uFillTx/>
                <a:latin typeface="맑은 고딕" panose="020F0502020204030204"/>
                <a:ea typeface="Segoe UI" pitchFamily="34" charset="0"/>
                <a:cs typeface="Segoe UI" pitchFamily="34" charset="0"/>
              </a:rPr>
              <a:t>{  }</a:t>
            </a:r>
          </a:p>
        </p:txBody>
      </p:sp>
      <p:pic>
        <p:nvPicPr>
          <p:cNvPr id="95" name="Picture 81"/>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244022" y="1606515"/>
            <a:ext cx="753850" cy="753850"/>
          </a:xfrm>
          <a:prstGeom prst="rect">
            <a:avLst/>
          </a:prstGeom>
        </p:spPr>
      </p:pic>
      <p:pic>
        <p:nvPicPr>
          <p:cNvPr id="96" name="Picture 85"/>
          <p:cNvPicPr>
            <a:picLocks noChangeAspect="1"/>
          </p:cNvPicPr>
          <p:nvPr/>
        </p:nvPicPr>
        <p:blipFill>
          <a:blip r:embed="rId7" cstate="screen">
            <a:biLevel thresh="25000"/>
            <a:extLst>
              <a:ext uri="{28A0092B-C50C-407E-A947-70E740481C1C}">
                <a14:useLocalDpi xmlns:a14="http://schemas.microsoft.com/office/drawing/2010/main"/>
              </a:ext>
            </a:extLst>
          </a:blip>
          <a:stretch>
            <a:fillRect/>
          </a:stretch>
        </p:blipFill>
        <p:spPr>
          <a:xfrm>
            <a:off x="2867276" y="5286499"/>
            <a:ext cx="479521" cy="479521"/>
          </a:xfrm>
          <a:prstGeom prst="rect">
            <a:avLst/>
          </a:prstGeom>
        </p:spPr>
      </p:pic>
      <p:pic>
        <p:nvPicPr>
          <p:cNvPr id="97" name="Picture 88"/>
          <p:cNvPicPr>
            <a:picLocks noChangeAspect="1"/>
          </p:cNvPicPr>
          <p:nvPr/>
        </p:nvPicPr>
        <p:blipFill>
          <a:blip r:embed="rId8"/>
          <a:stretch>
            <a:fillRect/>
          </a:stretch>
        </p:blipFill>
        <p:spPr>
          <a:xfrm>
            <a:off x="7327323" y="2608457"/>
            <a:ext cx="529819" cy="529819"/>
          </a:xfrm>
          <a:prstGeom prst="rect">
            <a:avLst/>
          </a:prstGeom>
        </p:spPr>
      </p:pic>
      <p:pic>
        <p:nvPicPr>
          <p:cNvPr id="99" name="Picture 90"/>
          <p:cNvPicPr>
            <a:picLocks noChangeAspect="1"/>
          </p:cNvPicPr>
          <p:nvPr/>
        </p:nvPicPr>
        <p:blipFill>
          <a:blip r:embed="rId9"/>
          <a:stretch>
            <a:fillRect/>
          </a:stretch>
        </p:blipFill>
        <p:spPr>
          <a:xfrm>
            <a:off x="7327323" y="3393486"/>
            <a:ext cx="610610" cy="610610"/>
          </a:xfrm>
          <a:prstGeom prst="rect">
            <a:avLst/>
          </a:prstGeom>
        </p:spPr>
      </p:pic>
      <p:sp>
        <p:nvSpPr>
          <p:cNvPr id="100" name="Trapezoid 12"/>
          <p:cNvSpPr/>
          <p:nvPr/>
        </p:nvSpPr>
        <p:spPr>
          <a:xfrm>
            <a:off x="1506326" y="1501537"/>
            <a:ext cx="367766" cy="24677"/>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p>
            <a:pPr marL="0" marR="0" lvl="0" indent="0" algn="ctr" defTabSz="913063" rtl="0" eaLnBrk="1" fontAlgn="auto" latinLnBrk="1" hangingPunct="1">
              <a:lnSpc>
                <a:spcPct val="100000"/>
              </a:lnSpc>
              <a:spcBef>
                <a:spcPts val="0"/>
              </a:spcBef>
              <a:spcAft>
                <a:spcPts val="0"/>
              </a:spcAft>
              <a:buClrTx/>
              <a:buSzTx/>
              <a:buFontTx/>
              <a:buNone/>
              <a:tabLst/>
              <a:defRPr/>
            </a:pPr>
            <a:endParaRPr kumimoji="0" lang="en-US" sz="1174" b="0" i="0" u="none" strike="noStrike" kern="0" cap="none" spc="0" normalizeH="0" baseline="0" noProof="0">
              <a:ln>
                <a:noFill/>
              </a:ln>
              <a:solidFill>
                <a:srgbClr val="000000"/>
              </a:solidFill>
              <a:effectLst/>
              <a:uLnTx/>
              <a:uFillTx/>
              <a:latin typeface="맑은 고딕" panose="020F0502020204030204"/>
              <a:ea typeface="+mn-ea"/>
              <a:cs typeface="+mn-cs"/>
              <a:sym typeface="Segoe UI" panose="020B0502040204020203" pitchFamily="34" charset="0"/>
            </a:endParaRPr>
          </a:p>
        </p:txBody>
      </p:sp>
      <p:sp>
        <p:nvSpPr>
          <p:cNvPr id="101" name="Rectangle 98"/>
          <p:cNvSpPr/>
          <p:nvPr/>
        </p:nvSpPr>
        <p:spPr>
          <a:xfrm>
            <a:off x="883086" y="1553512"/>
            <a:ext cx="367438" cy="8047"/>
          </a:xfrm>
          <a:prstGeom prst="rect">
            <a:avLst/>
          </a:prstGeom>
          <a:solidFill>
            <a:srgbClr val="FFFFFF"/>
          </a:solidFill>
          <a:ln w="25400" cap="flat" cmpd="sng" algn="ctr">
            <a:noFill/>
            <a:prstDash val="solid"/>
          </a:ln>
          <a:effectLst/>
        </p:spPr>
        <p:txBody>
          <a:bodyPr rtlCol="0" anchor="ctr"/>
          <a:lstStyle/>
          <a:p>
            <a:pPr marL="0" marR="0" lvl="0" indent="0" algn="ctr" defTabSz="913063" rtl="0" eaLnBrk="1" fontAlgn="auto" latinLnBrk="1" hangingPunct="1">
              <a:lnSpc>
                <a:spcPct val="100000"/>
              </a:lnSpc>
              <a:spcBef>
                <a:spcPts val="0"/>
              </a:spcBef>
              <a:spcAft>
                <a:spcPts val="0"/>
              </a:spcAft>
              <a:buClrTx/>
              <a:buSzTx/>
              <a:buFontTx/>
              <a:buNone/>
              <a:tabLst/>
              <a:defRPr/>
            </a:pPr>
            <a:endParaRPr kumimoji="0" lang="en-US" sz="1174" b="0" i="0" u="none" strike="noStrike" kern="0" cap="none" spc="0" normalizeH="0" baseline="0" noProof="0">
              <a:ln>
                <a:noFill/>
              </a:ln>
              <a:solidFill>
                <a:srgbClr val="000000"/>
              </a:solidFill>
              <a:effectLst/>
              <a:uLnTx/>
              <a:uFillTx/>
              <a:latin typeface="맑은 고딕" panose="020F0502020204030204"/>
              <a:ea typeface="+mn-ea"/>
              <a:cs typeface="+mn-cs"/>
              <a:sym typeface="Segoe UI" panose="020B0502040204020203" pitchFamily="34" charset="0"/>
            </a:endParaRPr>
          </a:p>
        </p:txBody>
      </p:sp>
      <p:sp>
        <p:nvSpPr>
          <p:cNvPr id="102" name="Rounded Rectangle 6"/>
          <p:cNvSpPr>
            <a:spLocks noChangeAspect="1"/>
          </p:cNvSpPr>
          <p:nvPr/>
        </p:nvSpPr>
        <p:spPr bwMode="auto">
          <a:xfrm rot="16200000">
            <a:off x="1753262" y="1010240"/>
            <a:ext cx="133318" cy="365319"/>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w="10795" cap="flat" cmpd="sng" algn="ctr">
            <a:noFill/>
            <a:prstDash val="solid"/>
            <a:headEnd type="none" w="med" len="med"/>
            <a:tailEnd type="none" w="med" len="med"/>
          </a:ln>
          <a:effectLst/>
        </p:spPr>
        <p:txBody>
          <a:bodyPr vert="horz" wrap="square" lIns="89577" tIns="44788" rIns="89577" bIns="44788" numCol="1" rtlCol="0" anchor="ctr" anchorCtr="0" compatLnSpc="1">
            <a:prstTxWarp prst="textNoShape">
              <a:avLst/>
            </a:prstTxWarp>
          </a:bodyPr>
          <a:lstStyle/>
          <a:p>
            <a:pPr marL="0" marR="0" lvl="0" indent="0" algn="ctr" defTabSz="805562" rtl="0" eaLnBrk="1" fontAlgn="auto" latinLnBrk="1"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000000"/>
              </a:solidFill>
              <a:effectLst/>
              <a:uLnTx/>
              <a:uFillTx/>
              <a:latin typeface="Segoe UI Light" panose="020B0502040204020203" pitchFamily="34" charset="0"/>
              <a:ea typeface="+mn-ea"/>
              <a:cs typeface="+mn-cs"/>
              <a:sym typeface="Segoe UI Light" panose="020B0502040204020203" pitchFamily="34" charset="0"/>
            </a:endParaRPr>
          </a:p>
        </p:txBody>
      </p:sp>
      <p:pic>
        <p:nvPicPr>
          <p:cNvPr id="103" name="Picture 2" descr="\\MAGNUM\Projects\Microsoft\Cloud Power FY12\Design\ICONS_PNG\Next_Gen_Application.png"/>
          <p:cNvPicPr>
            <a:picLocks noChangeAspect="1" noChangeArrowheads="1"/>
          </p:cNvPicPr>
          <p:nvPr/>
        </p:nvPicPr>
        <p:blipFill>
          <a:blip r:embed="rId10" cstate="screen">
            <a:lum bright="100000"/>
            <a:extLst>
              <a:ext uri="{28A0092B-C50C-407E-A947-70E740481C1C}">
                <a14:useLocalDpi xmlns:a14="http://schemas.microsoft.com/office/drawing/2010/main"/>
              </a:ext>
            </a:extLst>
          </a:blip>
          <a:srcRect/>
          <a:stretch>
            <a:fillRect/>
          </a:stretch>
        </p:blipFill>
        <p:spPr bwMode="auto">
          <a:xfrm>
            <a:off x="936694" y="1243604"/>
            <a:ext cx="459004" cy="243904"/>
          </a:xfrm>
          <a:prstGeom prst="rect">
            <a:avLst/>
          </a:prstGeom>
          <a:noFill/>
        </p:spPr>
      </p:pic>
      <p:pic>
        <p:nvPicPr>
          <p:cNvPr id="104" name="Picture 24" descr="E:\Eric Suchiang FD\Icons\Metro Icon\Metro icons ALL WHITE\cctv.png"/>
          <p:cNvPicPr>
            <a:picLocks noChangeAspect="1" noChangeArrowheads="1"/>
          </p:cNvPicPr>
          <p:nvPr/>
        </p:nvPicPr>
        <p:blipFill rotWithShape="1">
          <a:blip r:embed="rId11" cstate="screen">
            <a:extLst>
              <a:ext uri="{28A0092B-C50C-407E-A947-70E740481C1C}">
                <a14:useLocalDpi xmlns:a14="http://schemas.microsoft.com/office/drawing/2010/main"/>
              </a:ext>
            </a:extLst>
          </a:blip>
          <a:srcRect/>
          <a:stretch/>
        </p:blipFill>
        <p:spPr bwMode="auto">
          <a:xfrm>
            <a:off x="1551722" y="1270898"/>
            <a:ext cx="524576" cy="153748"/>
          </a:xfrm>
          <a:prstGeom prst="rect">
            <a:avLst/>
          </a:prstGeom>
          <a:noFill/>
          <a:extLst>
            <a:ext uri="{909E8E84-426E-40DD-AFC4-6F175D3DCCD1}">
              <a14:hiddenFill xmlns:a14="http://schemas.microsoft.com/office/drawing/2010/main">
                <a:solidFill>
                  <a:srgbClr val="FFFFFF"/>
                </a:solidFill>
              </a14:hiddenFill>
            </a:ext>
          </a:extLst>
        </p:spPr>
      </p:pic>
      <p:sp>
        <p:nvSpPr>
          <p:cNvPr id="105" name="Freeform 95"/>
          <p:cNvSpPr>
            <a:spLocks noChangeAspect="1"/>
          </p:cNvSpPr>
          <p:nvPr/>
        </p:nvSpPr>
        <p:spPr bwMode="auto">
          <a:xfrm flipH="1">
            <a:off x="1385939" y="1280635"/>
            <a:ext cx="218105" cy="169841"/>
          </a:xfrm>
          <a:custGeom>
            <a:avLst/>
            <a:gdLst/>
            <a:ahLst/>
            <a:cxnLst/>
            <a:rect l="l" t="t" r="r" b="b"/>
            <a:pathLst>
              <a:path w="739747" h="1113745">
                <a:moveTo>
                  <a:pt x="580449" y="183754"/>
                </a:moveTo>
                <a:lnTo>
                  <a:pt x="608377" y="183754"/>
                </a:lnTo>
                <a:cubicBezTo>
                  <a:pt x="612233" y="183754"/>
                  <a:pt x="615359" y="186880"/>
                  <a:pt x="615359" y="190736"/>
                </a:cubicBezTo>
                <a:lnTo>
                  <a:pt x="615359" y="243798"/>
                </a:lnTo>
                <a:cubicBezTo>
                  <a:pt x="615359" y="247654"/>
                  <a:pt x="612233" y="250780"/>
                  <a:pt x="608377" y="250780"/>
                </a:cubicBezTo>
                <a:lnTo>
                  <a:pt x="580449" y="250780"/>
                </a:lnTo>
                <a:cubicBezTo>
                  <a:pt x="576593" y="250780"/>
                  <a:pt x="573467" y="247654"/>
                  <a:pt x="573467" y="243798"/>
                </a:cubicBezTo>
                <a:lnTo>
                  <a:pt x="573467" y="190736"/>
                </a:lnTo>
                <a:cubicBezTo>
                  <a:pt x="573467" y="186880"/>
                  <a:pt x="576593" y="183754"/>
                  <a:pt x="580449" y="183754"/>
                </a:cubicBezTo>
                <a:close/>
                <a:moveTo>
                  <a:pt x="425201" y="49190"/>
                </a:moveTo>
                <a:lnTo>
                  <a:pt x="413467" y="958610"/>
                </a:lnTo>
                <a:lnTo>
                  <a:pt x="51654" y="872558"/>
                </a:lnTo>
                <a:lnTo>
                  <a:pt x="55565" y="51146"/>
                </a:lnTo>
                <a:close/>
                <a:moveTo>
                  <a:pt x="565200" y="20779"/>
                </a:moveTo>
                <a:lnTo>
                  <a:pt x="565200" y="995333"/>
                </a:lnTo>
                <a:lnTo>
                  <a:pt x="621304" y="987021"/>
                </a:lnTo>
                <a:lnTo>
                  <a:pt x="625460" y="20779"/>
                </a:lnTo>
                <a:close/>
                <a:moveTo>
                  <a:pt x="681565" y="0"/>
                </a:moveTo>
                <a:lnTo>
                  <a:pt x="677409" y="1005723"/>
                </a:lnTo>
                <a:lnTo>
                  <a:pt x="627538" y="1011957"/>
                </a:lnTo>
                <a:lnTo>
                  <a:pt x="627538" y="1022346"/>
                </a:lnTo>
                <a:lnTo>
                  <a:pt x="739747" y="1061827"/>
                </a:lnTo>
                <a:lnTo>
                  <a:pt x="669097" y="1070139"/>
                </a:lnTo>
                <a:cubicBezTo>
                  <a:pt x="592617" y="1050415"/>
                  <a:pt x="552151" y="1057209"/>
                  <a:pt x="515329" y="1090918"/>
                </a:cubicBezTo>
                <a:lnTo>
                  <a:pt x="422658" y="1113745"/>
                </a:lnTo>
                <a:lnTo>
                  <a:pt x="409354" y="1068061"/>
                </a:lnTo>
                <a:cubicBezTo>
                  <a:pt x="306312" y="1018127"/>
                  <a:pt x="187349" y="984387"/>
                  <a:pt x="81040" y="978710"/>
                </a:cubicBezTo>
                <a:lnTo>
                  <a:pt x="0" y="984943"/>
                </a:lnTo>
                <a:lnTo>
                  <a:pt x="72728" y="945463"/>
                </a:lnTo>
                <a:lnTo>
                  <a:pt x="108053" y="937151"/>
                </a:lnTo>
                <a:lnTo>
                  <a:pt x="108053" y="922605"/>
                </a:lnTo>
                <a:lnTo>
                  <a:pt x="64416" y="912216"/>
                </a:lnTo>
                <a:lnTo>
                  <a:pt x="64483" y="897455"/>
                </a:lnTo>
                <a:lnTo>
                  <a:pt x="441070" y="987021"/>
                </a:lnTo>
                <a:lnTo>
                  <a:pt x="453538" y="20779"/>
                </a:lnTo>
                <a:lnTo>
                  <a:pt x="68477" y="22817"/>
                </a:lnTo>
                <a:lnTo>
                  <a:pt x="68572" y="2078"/>
                </a:lnTo>
                <a:close/>
              </a:path>
            </a:pathLst>
          </a:custGeom>
          <a:solidFill>
            <a:srgbClr val="FFFFFF"/>
          </a:solidFill>
          <a:ln w="12700" cap="flat" cmpd="sng" algn="ctr">
            <a:noFill/>
            <a:prstDash val="solid"/>
            <a:headEnd type="none" w="med" len="med"/>
            <a:tailEnd type="none" w="med" len="med"/>
          </a:ln>
          <a:effectLst/>
        </p:spPr>
        <p:txBody>
          <a:bodyPr vert="horz" wrap="none" lIns="87816" tIns="43908" rIns="87816" bIns="43908" numCol="1" rtlCol="0" anchor="ctr" anchorCtr="0" compatLnSpc="1">
            <a:prstTxWarp prst="textNoShape">
              <a:avLst/>
            </a:prstTxWarp>
          </a:bodyPr>
          <a:lstStyle/>
          <a:p>
            <a:pPr marL="0" marR="0" lvl="0" indent="0" algn="ctr" defTabSz="877154" rtl="0" eaLnBrk="1" fontAlgn="base" latinLnBrk="1" hangingPunct="1">
              <a:lnSpc>
                <a:spcPct val="100000"/>
              </a:lnSpc>
              <a:spcBef>
                <a:spcPct val="0"/>
              </a:spcBef>
              <a:spcAft>
                <a:spcPct val="0"/>
              </a:spcAft>
              <a:buClrTx/>
              <a:buSzTx/>
              <a:buFontTx/>
              <a:buNone/>
              <a:tabLst/>
              <a:defRPr/>
            </a:pPr>
            <a:endParaRPr kumimoji="0" lang="en-US" sz="1666" b="0" i="0" u="none" strike="noStrike" kern="0" cap="none" spc="0" normalizeH="0" baseline="0" noProof="0">
              <a:ln>
                <a:noFill/>
              </a:ln>
              <a:solidFill>
                <a:srgbClr val="000000"/>
              </a:solidFill>
              <a:effectLst/>
              <a:uLnTx/>
              <a:uFillTx/>
              <a:latin typeface="맑은 고딕" panose="020F0502020204030204"/>
              <a:ea typeface="+mn-ea"/>
              <a:cs typeface="+mn-cs"/>
            </a:endParaRPr>
          </a:p>
        </p:txBody>
      </p:sp>
      <p:grpSp>
        <p:nvGrpSpPr>
          <p:cNvPr id="106" name="그룹 105"/>
          <p:cNvGrpSpPr/>
          <p:nvPr/>
        </p:nvGrpSpPr>
        <p:grpSpPr>
          <a:xfrm>
            <a:off x="2673294" y="748708"/>
            <a:ext cx="2161609" cy="829185"/>
            <a:chOff x="3118318" y="749058"/>
            <a:chExt cx="1748414" cy="1718268"/>
          </a:xfrm>
        </p:grpSpPr>
        <p:sp>
          <p:nvSpPr>
            <p:cNvPr id="107" name="직사각형 106"/>
            <p:cNvSpPr/>
            <p:nvPr/>
          </p:nvSpPr>
          <p:spPr>
            <a:xfrm>
              <a:off x="3118318" y="749058"/>
              <a:ext cx="1748414" cy="1718268"/>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ko-KR" altLang="en-US" sz="1600" b="1" i="0" u="none" strike="noStrike" kern="1200" cap="none" spc="0" normalizeH="0" baseline="0" noProof="0" dirty="0">
                  <a:ln>
                    <a:noFill/>
                  </a:ln>
                  <a:solidFill>
                    <a:prstClr val="white"/>
                  </a:solidFill>
                  <a:effectLst/>
                  <a:uLnTx/>
                  <a:uFillTx/>
                  <a:latin typeface="맑은 고딕" panose="020F0502020204030204"/>
                  <a:ea typeface="맑은 고딕" panose="020B0503020000020004" pitchFamily="50" charset="-127"/>
                  <a:cs typeface="+mn-cs"/>
                </a:rPr>
                <a:t>데이터 연결 및 처리</a:t>
              </a:r>
            </a:p>
          </p:txBody>
        </p:sp>
        <p:pic>
          <p:nvPicPr>
            <p:cNvPr id="108" name="Picture 86"/>
            <p:cNvPicPr>
              <a:picLocks noChangeAspect="1"/>
            </p:cNvPicPr>
            <p:nvPr/>
          </p:nvPicPr>
          <p:blipFill>
            <a:blip r:embed="rId12" cstate="screen">
              <a:biLevel thresh="25000"/>
              <a:extLst>
                <a:ext uri="{28A0092B-C50C-407E-A947-70E740481C1C}">
                  <a14:useLocalDpi xmlns:a14="http://schemas.microsoft.com/office/drawing/2010/main"/>
                </a:ext>
              </a:extLst>
            </a:blip>
            <a:stretch>
              <a:fillRect/>
            </a:stretch>
          </p:blipFill>
          <p:spPr>
            <a:xfrm>
              <a:off x="3799848" y="1538481"/>
              <a:ext cx="493094" cy="661050"/>
            </a:xfrm>
            <a:prstGeom prst="rect">
              <a:avLst/>
            </a:prstGeom>
          </p:spPr>
        </p:pic>
      </p:grpSp>
      <p:grpSp>
        <p:nvGrpSpPr>
          <p:cNvPr id="109" name="그룹 108"/>
          <p:cNvGrpSpPr/>
          <p:nvPr/>
        </p:nvGrpSpPr>
        <p:grpSpPr>
          <a:xfrm>
            <a:off x="4903598" y="748708"/>
            <a:ext cx="2235133" cy="829185"/>
            <a:chOff x="5212391" y="930761"/>
            <a:chExt cx="1748414" cy="1536565"/>
          </a:xfrm>
          <a:solidFill>
            <a:schemeClr val="accent1">
              <a:lumMod val="50000"/>
            </a:schemeClr>
          </a:solidFill>
        </p:grpSpPr>
        <p:sp>
          <p:nvSpPr>
            <p:cNvPr id="110" name="직사각형 109"/>
            <p:cNvSpPr/>
            <p:nvPr/>
          </p:nvSpPr>
          <p:spPr>
            <a:xfrm>
              <a:off x="5212391" y="930761"/>
              <a:ext cx="1748414" cy="1536565"/>
            </a:xfrm>
            <a:prstGeom prst="rect">
              <a:avLst/>
            </a:prstGeom>
            <a:grpFill/>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ko-KR" altLang="en-US" sz="1600" b="1" i="0" u="none" strike="noStrike" kern="1200" cap="none" spc="0" normalizeH="0" baseline="0" noProof="0" dirty="0">
                  <a:ln>
                    <a:noFill/>
                  </a:ln>
                  <a:solidFill>
                    <a:prstClr val="white"/>
                  </a:solidFill>
                  <a:effectLst/>
                  <a:uLnTx/>
                  <a:uFillTx/>
                  <a:latin typeface="맑은 고딕" panose="020F0502020204030204"/>
                  <a:ea typeface="맑은 고딕" panose="020B0503020000020004" pitchFamily="50" charset="-127"/>
                  <a:cs typeface="+mn-cs"/>
                </a:rPr>
                <a:t>데이터 저장 및 성능</a:t>
              </a:r>
              <a:endParaRPr kumimoji="0" lang="en-US" altLang="ko-KR" sz="1600" b="1" i="0" u="none" strike="noStrike" kern="1200" cap="none" spc="0" normalizeH="0" baseline="0" noProof="0" dirty="0">
                <a:ln>
                  <a:noFill/>
                </a:ln>
                <a:solidFill>
                  <a:prstClr val="white"/>
                </a:solidFill>
                <a:effectLst/>
                <a:uLnTx/>
                <a:uFillTx/>
                <a:latin typeface="맑은 고딕" panose="020F0502020204030204"/>
                <a:ea typeface="맑은 고딕" panose="020B0503020000020004" pitchFamily="50" charset="-127"/>
                <a:cs typeface="+mn-cs"/>
              </a:endParaRPr>
            </a:p>
          </p:txBody>
        </p:sp>
        <p:pic>
          <p:nvPicPr>
            <p:cNvPr id="111" name="Picture 3"/>
            <p:cNvPicPr>
              <a:picLocks noChangeAspect="1"/>
            </p:cNvPicPr>
            <p:nvPr/>
          </p:nvPicPr>
          <p:blipFill>
            <a:blip r:embed="rId3">
              <a:biLevel thresh="25000"/>
              <a:extLst>
                <a:ext uri="{28A0092B-C50C-407E-A947-70E740481C1C}">
                  <a14:useLocalDpi xmlns:a14="http://schemas.microsoft.com/office/drawing/2010/main"/>
                </a:ext>
              </a:extLst>
            </a:blip>
            <a:srcRect/>
            <a:stretch>
              <a:fillRect/>
            </a:stretch>
          </p:blipFill>
          <p:spPr bwMode="auto">
            <a:xfrm>
              <a:off x="5897124" y="1769742"/>
              <a:ext cx="413080" cy="5674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grpSp>
        <p:nvGrpSpPr>
          <p:cNvPr id="112" name="그룹 111"/>
          <p:cNvGrpSpPr/>
          <p:nvPr/>
        </p:nvGrpSpPr>
        <p:grpSpPr>
          <a:xfrm>
            <a:off x="9418842" y="748708"/>
            <a:ext cx="2267411" cy="829186"/>
            <a:chOff x="9400536" y="749058"/>
            <a:chExt cx="1748414" cy="1718268"/>
          </a:xfrm>
        </p:grpSpPr>
        <p:sp>
          <p:nvSpPr>
            <p:cNvPr id="113" name="직사각형 112"/>
            <p:cNvSpPr/>
            <p:nvPr/>
          </p:nvSpPr>
          <p:spPr>
            <a:xfrm>
              <a:off x="9400536" y="749058"/>
              <a:ext cx="1748414" cy="1718268"/>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ko-KR" altLang="en-US" sz="1600" b="1" i="0" u="none" strike="noStrike" kern="1200" cap="none" spc="0" normalizeH="0" baseline="0" noProof="0" dirty="0">
                  <a:ln>
                    <a:noFill/>
                  </a:ln>
                  <a:solidFill>
                    <a:prstClr val="white"/>
                  </a:solidFill>
                  <a:effectLst/>
                  <a:uLnTx/>
                  <a:uFillTx/>
                  <a:latin typeface="맑은 고딕" panose="020F0502020204030204"/>
                  <a:ea typeface="맑은 고딕" panose="020B0503020000020004" pitchFamily="50" charset="-127"/>
                  <a:cs typeface="+mn-cs"/>
                </a:rPr>
                <a:t>프레젠테이션 및 활용</a:t>
              </a:r>
            </a:p>
          </p:txBody>
        </p:sp>
        <p:pic>
          <p:nvPicPr>
            <p:cNvPr id="114" name="Picture 73"/>
            <p:cNvPicPr>
              <a:picLocks noChangeAspect="1"/>
            </p:cNvPicPr>
            <p:nvPr/>
          </p:nvPicPr>
          <p:blipFill>
            <a:blip r:embed="rId13">
              <a:biLevel thresh="25000"/>
              <a:extLst>
                <a:ext uri="{28A0092B-C50C-407E-A947-70E740481C1C}">
                  <a14:useLocalDpi xmlns:a14="http://schemas.microsoft.com/office/drawing/2010/main"/>
                </a:ext>
              </a:extLst>
            </a:blip>
            <a:srcRect/>
            <a:stretch>
              <a:fillRect/>
            </a:stretch>
          </p:blipFill>
          <p:spPr bwMode="auto">
            <a:xfrm>
              <a:off x="10160543" y="1501213"/>
              <a:ext cx="346469" cy="8504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5" name="그룹 114"/>
          <p:cNvGrpSpPr/>
          <p:nvPr/>
        </p:nvGrpSpPr>
        <p:grpSpPr>
          <a:xfrm>
            <a:off x="7207426" y="745367"/>
            <a:ext cx="2142722" cy="867657"/>
            <a:chOff x="7316854" y="2463558"/>
            <a:chExt cx="1748414" cy="1783188"/>
          </a:xfrm>
        </p:grpSpPr>
        <p:sp>
          <p:nvSpPr>
            <p:cNvPr id="116" name="직사각형 115"/>
            <p:cNvSpPr/>
            <p:nvPr/>
          </p:nvSpPr>
          <p:spPr>
            <a:xfrm>
              <a:off x="7316854" y="2463558"/>
              <a:ext cx="1748414" cy="1718268"/>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ko-KR" altLang="en-US" sz="1600" b="1" i="0" u="none" strike="noStrike" kern="1200" cap="none" spc="0" normalizeH="0" baseline="0" noProof="0" dirty="0">
                  <a:ln>
                    <a:noFill/>
                  </a:ln>
                  <a:solidFill>
                    <a:prstClr val="white"/>
                  </a:solidFill>
                  <a:effectLst/>
                  <a:uLnTx/>
                  <a:uFillTx/>
                  <a:latin typeface="맑은 고딕" panose="020F0502020204030204"/>
                  <a:ea typeface="맑은 고딕" panose="020B0503020000020004" pitchFamily="50" charset="-127"/>
                  <a:cs typeface="+mn-cs"/>
                </a:rPr>
                <a:t>분석</a:t>
              </a:r>
            </a:p>
          </p:txBody>
        </p:sp>
        <p:pic>
          <p:nvPicPr>
            <p:cNvPr id="117" name="Picture 81"/>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850681" y="3199825"/>
              <a:ext cx="724232" cy="1046921"/>
            </a:xfrm>
            <a:prstGeom prst="rect">
              <a:avLst/>
            </a:prstGeom>
          </p:spPr>
        </p:pic>
      </p:grpSp>
      <p:pic>
        <p:nvPicPr>
          <p:cNvPr id="118" name="Picture 86"/>
          <p:cNvPicPr>
            <a:picLocks noChangeAspect="1"/>
          </p:cNvPicPr>
          <p:nvPr/>
        </p:nvPicPr>
        <p:blipFill>
          <a:blip r:embed="rId12" cstate="screen">
            <a:biLevel thresh="25000"/>
            <a:extLst>
              <a:ext uri="{28A0092B-C50C-407E-A947-70E740481C1C}">
                <a14:useLocalDpi xmlns:a14="http://schemas.microsoft.com/office/drawing/2010/main"/>
              </a:ext>
            </a:extLst>
          </a:blip>
          <a:stretch>
            <a:fillRect/>
          </a:stretch>
        </p:blipFill>
        <p:spPr>
          <a:xfrm>
            <a:off x="2833690" y="3445406"/>
            <a:ext cx="546694" cy="546694"/>
          </a:xfrm>
          <a:prstGeom prst="rect">
            <a:avLst/>
          </a:prstGeom>
        </p:spPr>
      </p:pic>
      <p:pic>
        <p:nvPicPr>
          <p:cNvPr id="119" name="Picture 11" descr="RRE_wordmark_250w.fw.png"/>
          <p:cNvPicPr>
            <a:picLocks noChangeAspect="1"/>
          </p:cNvPicPr>
          <p:nvPr/>
        </p:nvPicPr>
        <p:blipFill>
          <a:blip r:embed="rId14" cstate="print">
            <a:lum bright="70000" contrast="-70000"/>
            <a:extLst>
              <a:ext uri="{28A0092B-C50C-407E-A947-70E740481C1C}">
                <a14:useLocalDpi xmlns:a14="http://schemas.microsoft.com/office/drawing/2010/main" val="0"/>
              </a:ext>
            </a:extLst>
          </a:blip>
          <a:stretch>
            <a:fillRect/>
          </a:stretch>
        </p:blipFill>
        <p:spPr>
          <a:xfrm>
            <a:off x="7355019" y="4432646"/>
            <a:ext cx="531855" cy="387047"/>
          </a:xfrm>
          <a:prstGeom prst="rect">
            <a:avLst/>
          </a:prstGeom>
        </p:spPr>
      </p:pic>
      <p:pic>
        <p:nvPicPr>
          <p:cNvPr id="123" name="Picture 92"/>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703906" y="1811282"/>
            <a:ext cx="428144" cy="450900"/>
          </a:xfrm>
          <a:prstGeom prst="rect">
            <a:avLst/>
          </a:prstGeom>
        </p:spPr>
      </p:pic>
      <p:sp>
        <p:nvSpPr>
          <p:cNvPr id="125" name="이등변 삼각형 124"/>
          <p:cNvSpPr/>
          <p:nvPr/>
        </p:nvSpPr>
        <p:spPr>
          <a:xfrm rot="5400000">
            <a:off x="2485970" y="1043122"/>
            <a:ext cx="342900" cy="24765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맑은 고딕" panose="020F0502020204030204"/>
              <a:ea typeface="맑은 고딕" panose="020B0503020000020004" pitchFamily="50" charset="-127"/>
              <a:cs typeface="+mn-cs"/>
            </a:endParaRPr>
          </a:p>
        </p:txBody>
      </p:sp>
      <p:sp>
        <p:nvSpPr>
          <p:cNvPr id="126" name="이등변 삼각형 125"/>
          <p:cNvSpPr/>
          <p:nvPr/>
        </p:nvSpPr>
        <p:spPr>
          <a:xfrm rot="5400000">
            <a:off x="4732081" y="1080118"/>
            <a:ext cx="342900" cy="24765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맑은 고딕" panose="020F0502020204030204"/>
              <a:ea typeface="맑은 고딕" panose="020B0503020000020004" pitchFamily="50" charset="-127"/>
              <a:cs typeface="+mn-cs"/>
            </a:endParaRPr>
          </a:p>
        </p:txBody>
      </p:sp>
      <p:sp>
        <p:nvSpPr>
          <p:cNvPr id="127" name="이등변 삼각형 126"/>
          <p:cNvSpPr/>
          <p:nvPr/>
        </p:nvSpPr>
        <p:spPr>
          <a:xfrm rot="5400000">
            <a:off x="7010642" y="1028349"/>
            <a:ext cx="342900" cy="24765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맑은 고딕" panose="020F0502020204030204"/>
              <a:ea typeface="맑은 고딕" panose="020B0503020000020004" pitchFamily="50" charset="-127"/>
              <a:cs typeface="+mn-cs"/>
            </a:endParaRPr>
          </a:p>
        </p:txBody>
      </p:sp>
      <p:sp>
        <p:nvSpPr>
          <p:cNvPr id="128" name="이등변 삼각형 127"/>
          <p:cNvSpPr/>
          <p:nvPr/>
        </p:nvSpPr>
        <p:spPr>
          <a:xfrm rot="5400000">
            <a:off x="9229852" y="1028349"/>
            <a:ext cx="342900" cy="24765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맑은 고딕" panose="020F0502020204030204"/>
              <a:ea typeface="맑은 고딕" panose="020B0503020000020004" pitchFamily="50" charset="-127"/>
              <a:cs typeface="+mn-cs"/>
            </a:endParaRPr>
          </a:p>
        </p:txBody>
      </p:sp>
      <p:sp>
        <p:nvSpPr>
          <p:cNvPr id="129" name="Donut 100"/>
          <p:cNvSpPr>
            <a:spLocks noChangeAspect="1"/>
          </p:cNvSpPr>
          <p:nvPr/>
        </p:nvSpPr>
        <p:spPr bwMode="auto">
          <a:xfrm>
            <a:off x="527826" y="2766874"/>
            <a:ext cx="632321" cy="301370"/>
          </a:xfrm>
          <a:custGeom>
            <a:avLst/>
            <a:gdLst/>
            <a:ahLst/>
            <a:cxnLst/>
            <a:rect l="l" t="t" r="r" b="b"/>
            <a:pathLst>
              <a:path w="6911584" h="2912616">
                <a:moveTo>
                  <a:pt x="4928423" y="2274235"/>
                </a:moveTo>
                <a:cubicBezTo>
                  <a:pt x="4810900" y="2274235"/>
                  <a:pt x="4715629" y="2369506"/>
                  <a:pt x="4715629" y="2487029"/>
                </a:cubicBezTo>
                <a:cubicBezTo>
                  <a:pt x="4715629" y="2604552"/>
                  <a:pt x="4810900" y="2699823"/>
                  <a:pt x="4928423" y="2699823"/>
                </a:cubicBezTo>
                <a:cubicBezTo>
                  <a:pt x="5045946" y="2699823"/>
                  <a:pt x="5141217" y="2604552"/>
                  <a:pt x="5141217" y="2487029"/>
                </a:cubicBezTo>
                <a:cubicBezTo>
                  <a:pt x="5141217" y="2369506"/>
                  <a:pt x="5045946" y="2274235"/>
                  <a:pt x="4928423" y="2274235"/>
                </a:cubicBezTo>
                <a:close/>
                <a:moveTo>
                  <a:pt x="813623" y="2274235"/>
                </a:moveTo>
                <a:cubicBezTo>
                  <a:pt x="696100" y="2274235"/>
                  <a:pt x="600829" y="2369506"/>
                  <a:pt x="600829" y="2487029"/>
                </a:cubicBezTo>
                <a:cubicBezTo>
                  <a:pt x="600829" y="2604552"/>
                  <a:pt x="696100" y="2699823"/>
                  <a:pt x="813623" y="2699823"/>
                </a:cubicBezTo>
                <a:cubicBezTo>
                  <a:pt x="931146" y="2699823"/>
                  <a:pt x="1026417" y="2604552"/>
                  <a:pt x="1026417" y="2487029"/>
                </a:cubicBezTo>
                <a:cubicBezTo>
                  <a:pt x="1026417" y="2369506"/>
                  <a:pt x="931146" y="2274235"/>
                  <a:pt x="813623" y="2274235"/>
                </a:cubicBezTo>
                <a:close/>
                <a:moveTo>
                  <a:pt x="4928422" y="2061442"/>
                </a:moveTo>
                <a:cubicBezTo>
                  <a:pt x="5163467" y="2061442"/>
                  <a:pt x="5354009" y="2251984"/>
                  <a:pt x="5354009" y="2487029"/>
                </a:cubicBezTo>
                <a:cubicBezTo>
                  <a:pt x="5354009" y="2722074"/>
                  <a:pt x="5163467" y="2912616"/>
                  <a:pt x="4928422" y="2912616"/>
                </a:cubicBezTo>
                <a:cubicBezTo>
                  <a:pt x="4693377" y="2912616"/>
                  <a:pt x="4502835" y="2722074"/>
                  <a:pt x="4502835" y="2487029"/>
                </a:cubicBezTo>
                <a:cubicBezTo>
                  <a:pt x="4502835" y="2251984"/>
                  <a:pt x="4693377" y="2061442"/>
                  <a:pt x="4928422" y="2061442"/>
                </a:cubicBezTo>
                <a:close/>
                <a:moveTo>
                  <a:pt x="813622" y="2061442"/>
                </a:moveTo>
                <a:cubicBezTo>
                  <a:pt x="1048667" y="2061442"/>
                  <a:pt x="1239209" y="2251984"/>
                  <a:pt x="1239209" y="2487029"/>
                </a:cubicBezTo>
                <a:cubicBezTo>
                  <a:pt x="1239209" y="2722074"/>
                  <a:pt x="1048667" y="2912616"/>
                  <a:pt x="813622" y="2912616"/>
                </a:cubicBezTo>
                <a:cubicBezTo>
                  <a:pt x="578577" y="2912616"/>
                  <a:pt x="388035" y="2722074"/>
                  <a:pt x="388035" y="2487029"/>
                </a:cubicBezTo>
                <a:cubicBezTo>
                  <a:pt x="388035" y="2251984"/>
                  <a:pt x="578577" y="2061442"/>
                  <a:pt x="813622" y="2061442"/>
                </a:cubicBezTo>
                <a:close/>
                <a:moveTo>
                  <a:pt x="2036754" y="1611385"/>
                </a:moveTo>
                <a:cubicBezTo>
                  <a:pt x="2013445" y="1611385"/>
                  <a:pt x="1994550" y="1630280"/>
                  <a:pt x="1994550" y="1653589"/>
                </a:cubicBezTo>
                <a:lnTo>
                  <a:pt x="1994550" y="1854931"/>
                </a:lnTo>
                <a:cubicBezTo>
                  <a:pt x="1994550" y="1878240"/>
                  <a:pt x="2013445" y="1897135"/>
                  <a:pt x="2036754" y="1897135"/>
                </a:cubicBezTo>
                <a:lnTo>
                  <a:pt x="2066645" y="1897135"/>
                </a:lnTo>
                <a:cubicBezTo>
                  <a:pt x="2089954" y="1897135"/>
                  <a:pt x="2108849" y="1878240"/>
                  <a:pt x="2108849" y="1854931"/>
                </a:cubicBezTo>
                <a:lnTo>
                  <a:pt x="2108849" y="1653589"/>
                </a:lnTo>
                <a:cubicBezTo>
                  <a:pt x="2108849" y="1630280"/>
                  <a:pt x="2089954" y="1611385"/>
                  <a:pt x="2066645" y="1611385"/>
                </a:cubicBezTo>
                <a:close/>
                <a:moveTo>
                  <a:pt x="1475440" y="727942"/>
                </a:moveTo>
                <a:cubicBezTo>
                  <a:pt x="1454397" y="727942"/>
                  <a:pt x="1437338" y="745001"/>
                  <a:pt x="1437338" y="766044"/>
                </a:cubicBezTo>
                <a:lnTo>
                  <a:pt x="1437338" y="1383960"/>
                </a:lnTo>
                <a:cubicBezTo>
                  <a:pt x="1437338" y="1405003"/>
                  <a:pt x="1454397" y="1422062"/>
                  <a:pt x="1475440" y="1422062"/>
                </a:cubicBezTo>
                <a:lnTo>
                  <a:pt x="2070748" y="1422062"/>
                </a:lnTo>
                <a:cubicBezTo>
                  <a:pt x="2091791" y="1422062"/>
                  <a:pt x="2108850" y="1405003"/>
                  <a:pt x="2108850" y="1383960"/>
                </a:cubicBezTo>
                <a:lnTo>
                  <a:pt x="2108850" y="766044"/>
                </a:lnTo>
                <a:cubicBezTo>
                  <a:pt x="2108850" y="745001"/>
                  <a:pt x="2091791" y="727942"/>
                  <a:pt x="2070748" y="727942"/>
                </a:cubicBezTo>
                <a:close/>
                <a:moveTo>
                  <a:pt x="1119593" y="646850"/>
                </a:moveTo>
                <a:lnTo>
                  <a:pt x="732731" y="1335162"/>
                </a:lnTo>
                <a:lnTo>
                  <a:pt x="848287" y="1415549"/>
                </a:lnTo>
                <a:lnTo>
                  <a:pt x="1124617" y="1400476"/>
                </a:lnTo>
                <a:cubicBezTo>
                  <a:pt x="1122942" y="1150942"/>
                  <a:pt x="1121269" y="876287"/>
                  <a:pt x="1119593" y="646850"/>
                </a:cubicBezTo>
                <a:close/>
                <a:moveTo>
                  <a:pt x="1397179" y="570778"/>
                </a:moveTo>
                <a:lnTo>
                  <a:pt x="2125675" y="570778"/>
                </a:lnTo>
                <a:cubicBezTo>
                  <a:pt x="2202933" y="570778"/>
                  <a:pt x="2252218" y="637545"/>
                  <a:pt x="2252218" y="717081"/>
                </a:cubicBezTo>
                <a:cubicBezTo>
                  <a:pt x="2253123" y="910308"/>
                  <a:pt x="2249578" y="2044608"/>
                  <a:pt x="2248259" y="2269890"/>
                </a:cubicBezTo>
                <a:cubicBezTo>
                  <a:pt x="2250483" y="2331108"/>
                  <a:pt x="2252033" y="2459994"/>
                  <a:pt x="2105231" y="2459767"/>
                </a:cubicBezTo>
                <a:lnTo>
                  <a:pt x="1635886" y="2456926"/>
                </a:lnTo>
                <a:cubicBezTo>
                  <a:pt x="1549301" y="2441989"/>
                  <a:pt x="1520317" y="2406126"/>
                  <a:pt x="1487860" y="2315192"/>
                </a:cubicBezTo>
                <a:cubicBezTo>
                  <a:pt x="1453241" y="2211444"/>
                  <a:pt x="1369113" y="2004793"/>
                  <a:pt x="1281013" y="1739585"/>
                </a:cubicBezTo>
                <a:cubicBezTo>
                  <a:pt x="1281013" y="1190396"/>
                  <a:pt x="1277309" y="1261690"/>
                  <a:pt x="1277309" y="712501"/>
                </a:cubicBezTo>
                <a:cubicBezTo>
                  <a:pt x="1277309" y="632964"/>
                  <a:pt x="1319921" y="570778"/>
                  <a:pt x="1397179" y="570778"/>
                </a:cubicBezTo>
                <a:close/>
                <a:moveTo>
                  <a:pt x="1378516" y="531296"/>
                </a:moveTo>
                <a:cubicBezTo>
                  <a:pt x="1295800" y="531296"/>
                  <a:pt x="1250178" y="595968"/>
                  <a:pt x="1250178" y="678684"/>
                </a:cubicBezTo>
                <a:cubicBezTo>
                  <a:pt x="1250178" y="1249827"/>
                  <a:pt x="1254144" y="1175683"/>
                  <a:pt x="1254144" y="1746826"/>
                </a:cubicBezTo>
                <a:cubicBezTo>
                  <a:pt x="1348468" y="2022635"/>
                  <a:pt x="1438538" y="2237547"/>
                  <a:pt x="1475603" y="2345442"/>
                </a:cubicBezTo>
                <a:cubicBezTo>
                  <a:pt x="1510353" y="2440012"/>
                  <a:pt x="1541385" y="2477308"/>
                  <a:pt x="1634086" y="2492842"/>
                </a:cubicBezTo>
                <a:lnTo>
                  <a:pt x="2136588" y="2495797"/>
                </a:lnTo>
                <a:cubicBezTo>
                  <a:pt x="2293761" y="2496033"/>
                  <a:pt x="2292101" y="2361995"/>
                  <a:pt x="2289720" y="2298329"/>
                </a:cubicBezTo>
                <a:cubicBezTo>
                  <a:pt x="2291132" y="2064042"/>
                  <a:pt x="2294928" y="884398"/>
                  <a:pt x="2293959" y="683448"/>
                </a:cubicBezTo>
                <a:cubicBezTo>
                  <a:pt x="2293959" y="600732"/>
                  <a:pt x="2241192" y="531296"/>
                  <a:pt x="2158476" y="531296"/>
                </a:cubicBezTo>
                <a:close/>
                <a:moveTo>
                  <a:pt x="1423549" y="416"/>
                </a:moveTo>
                <a:cubicBezTo>
                  <a:pt x="1438368" y="-304"/>
                  <a:pt x="1455791" y="-118"/>
                  <a:pt x="1476421" y="1183"/>
                </a:cubicBezTo>
                <a:lnTo>
                  <a:pt x="6481089" y="10105"/>
                </a:lnTo>
                <a:cubicBezTo>
                  <a:pt x="6632014" y="13345"/>
                  <a:pt x="6655620" y="51095"/>
                  <a:pt x="6655050" y="184063"/>
                </a:cubicBezTo>
                <a:lnTo>
                  <a:pt x="6646128" y="2374162"/>
                </a:lnTo>
                <a:lnTo>
                  <a:pt x="6863866" y="2378147"/>
                </a:lnTo>
                <a:cubicBezTo>
                  <a:pt x="6877434" y="2384454"/>
                  <a:pt x="6910051" y="2397906"/>
                  <a:pt x="6906950" y="2418501"/>
                </a:cubicBezTo>
                <a:cubicBezTo>
                  <a:pt x="6907670" y="2461406"/>
                  <a:pt x="6908389" y="2504311"/>
                  <a:pt x="6909109" y="2547216"/>
                </a:cubicBezTo>
                <a:cubicBezTo>
                  <a:pt x="6920218" y="2597501"/>
                  <a:pt x="6893227" y="2619210"/>
                  <a:pt x="6842424" y="2621870"/>
                </a:cubicBezTo>
                <a:lnTo>
                  <a:pt x="5499782" y="2628410"/>
                </a:lnTo>
                <a:cubicBezTo>
                  <a:pt x="5461124" y="2372676"/>
                  <a:pt x="5294599" y="2012863"/>
                  <a:pt x="4928839" y="2021784"/>
                </a:cubicBezTo>
                <a:cubicBezTo>
                  <a:pt x="4563079" y="2030705"/>
                  <a:pt x="4451567" y="2316177"/>
                  <a:pt x="4380199" y="2623950"/>
                </a:cubicBezTo>
                <a:lnTo>
                  <a:pt x="1413975" y="2606108"/>
                </a:lnTo>
                <a:cubicBezTo>
                  <a:pt x="1330713" y="2347400"/>
                  <a:pt x="1185005" y="2039627"/>
                  <a:pt x="816270" y="2030705"/>
                </a:cubicBezTo>
                <a:cubicBezTo>
                  <a:pt x="447535" y="2021783"/>
                  <a:pt x="361300" y="2329558"/>
                  <a:pt x="294392" y="2458912"/>
                </a:cubicBezTo>
                <a:cubicBezTo>
                  <a:pt x="271687" y="2479538"/>
                  <a:pt x="308514" y="2502545"/>
                  <a:pt x="226278" y="2520790"/>
                </a:cubicBezTo>
                <a:lnTo>
                  <a:pt x="55873" y="2516259"/>
                </a:lnTo>
                <a:cubicBezTo>
                  <a:pt x="16901" y="2506858"/>
                  <a:pt x="4125" y="2495077"/>
                  <a:pt x="3253" y="2459482"/>
                </a:cubicBezTo>
                <a:cubicBezTo>
                  <a:pt x="1084" y="2355022"/>
                  <a:pt x="5613" y="2226184"/>
                  <a:pt x="0" y="2146678"/>
                </a:cubicBezTo>
                <a:cubicBezTo>
                  <a:pt x="66060" y="2122888"/>
                  <a:pt x="36869" y="2094337"/>
                  <a:pt x="55304" y="2068166"/>
                </a:cubicBezTo>
                <a:lnTo>
                  <a:pt x="51749" y="1667628"/>
                </a:lnTo>
                <a:cubicBezTo>
                  <a:pt x="59172" y="1613788"/>
                  <a:pt x="45162" y="1555186"/>
                  <a:pt x="102591" y="1548972"/>
                </a:cubicBezTo>
                <a:lnTo>
                  <a:pt x="611087" y="1308106"/>
                </a:lnTo>
                <a:lnTo>
                  <a:pt x="1289081" y="77011"/>
                </a:lnTo>
                <a:cubicBezTo>
                  <a:pt x="1343722" y="54894"/>
                  <a:pt x="1319816" y="5457"/>
                  <a:pt x="1423549" y="416"/>
                </a:cubicBez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89581" tIns="44790" rIns="44790" bIns="89581" numCol="1" spcCol="0" rtlCol="0" fromWordArt="0" anchor="b" anchorCtr="0" forceAA="0" compatLnSpc="1">
            <a:prstTxWarp prst="textNoShape">
              <a:avLst/>
            </a:prstTxWarp>
            <a:noAutofit/>
          </a:bodyPr>
          <a:lstStyle/>
          <a:p>
            <a:pPr marL="0" marR="0" lvl="0" indent="0" algn="ctr" defTabSz="894778" rtl="0" eaLnBrk="1" fontAlgn="base" latinLnBrk="1" hangingPunct="1">
              <a:lnSpc>
                <a:spcPct val="100000"/>
              </a:lnSpc>
              <a:spcBef>
                <a:spcPct val="0"/>
              </a:spcBef>
              <a:spcAft>
                <a:spcPct val="0"/>
              </a:spcAft>
              <a:buClrTx/>
              <a:buSzTx/>
              <a:buFontTx/>
              <a:buNone/>
              <a:tabLst/>
              <a:defRPr/>
            </a:pPr>
            <a:endParaRPr kumimoji="0" lang="en-US" sz="1764" b="0" i="0" u="none" strike="noStrike" kern="0" cap="none" spc="-49" normalizeH="0" baseline="0" noProof="0" err="1">
              <a:ln>
                <a:noFill/>
              </a:ln>
              <a:solidFill>
                <a:srgbClr val="000000"/>
              </a:solidFill>
              <a:effectLst/>
              <a:uLnTx/>
              <a:uFillTx/>
              <a:latin typeface="맑은 고딕" panose="020F0502020204030204"/>
              <a:ea typeface="Segoe UI" pitchFamily="34" charset="0"/>
              <a:cs typeface="Segoe UI" pitchFamily="34" charset="0"/>
            </a:endParaRPr>
          </a:p>
        </p:txBody>
      </p:sp>
      <p:sp>
        <p:nvSpPr>
          <p:cNvPr id="130" name="Frame 5"/>
          <p:cNvSpPr>
            <a:spLocks noChangeAspect="1"/>
          </p:cNvSpPr>
          <p:nvPr/>
        </p:nvSpPr>
        <p:spPr bwMode="auto">
          <a:xfrm>
            <a:off x="935132" y="2629583"/>
            <a:ext cx="314406" cy="313534"/>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07497" tIns="53749" rIns="53749" bIns="107497" numCol="1" spcCol="0" rtlCol="0" fromWordArt="0" anchor="b" anchorCtr="0" forceAA="0" compatLnSpc="1">
            <a:prstTxWarp prst="textNoShape">
              <a:avLst/>
            </a:prstTxWarp>
            <a:noAutofit/>
          </a:bodyPr>
          <a:lstStyle/>
          <a:p>
            <a:pPr marL="0" marR="0" lvl="0" indent="0" algn="ctr" defTabSz="1073738" rtl="0" eaLnBrk="1" fontAlgn="base" latinLnBrk="1" hangingPunct="1">
              <a:lnSpc>
                <a:spcPct val="100000"/>
              </a:lnSpc>
              <a:spcBef>
                <a:spcPct val="0"/>
              </a:spcBef>
              <a:spcAft>
                <a:spcPct val="0"/>
              </a:spcAft>
              <a:buClrTx/>
              <a:buSzTx/>
              <a:buFontTx/>
              <a:buNone/>
              <a:tabLst/>
              <a:defRPr/>
            </a:pPr>
            <a:endParaRPr kumimoji="0" lang="en-US" sz="2352" b="0" i="0" u="none" strike="noStrike" kern="0" cap="none" spc="-59" normalizeH="0" baseline="0" noProof="0" err="1">
              <a:ln>
                <a:noFill/>
              </a:ln>
              <a:solidFill>
                <a:srgbClr val="000000"/>
              </a:solidFill>
              <a:effectLst/>
              <a:uLnTx/>
              <a:uFillTx/>
              <a:latin typeface="맑은 고딕" panose="020F0502020204030204"/>
              <a:ea typeface="Segoe UI" pitchFamily="34" charset="0"/>
              <a:cs typeface="Segoe UI" pitchFamily="34" charset="0"/>
            </a:endParaRPr>
          </a:p>
        </p:txBody>
      </p:sp>
      <p:pic>
        <p:nvPicPr>
          <p:cNvPr id="131" name="Picture 4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93212" y="1694411"/>
            <a:ext cx="107297" cy="206198"/>
          </a:xfrm>
          <a:prstGeom prst="rect">
            <a:avLst/>
          </a:prstGeom>
        </p:spPr>
      </p:pic>
      <p:sp>
        <p:nvSpPr>
          <p:cNvPr id="132" name="Round Same Side Corner Rectangle 11"/>
          <p:cNvSpPr/>
          <p:nvPr/>
        </p:nvSpPr>
        <p:spPr>
          <a:xfrm>
            <a:off x="488697" y="1694414"/>
            <a:ext cx="244923" cy="157001"/>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marL="0" marR="0" lvl="0" indent="0" algn="ctr" defTabSz="913063" rtl="0" eaLnBrk="1" fontAlgn="auto" latinLnBrk="1" hangingPunct="1">
              <a:lnSpc>
                <a:spcPct val="100000"/>
              </a:lnSpc>
              <a:spcBef>
                <a:spcPts val="0"/>
              </a:spcBef>
              <a:spcAft>
                <a:spcPts val="0"/>
              </a:spcAft>
              <a:buClrTx/>
              <a:buSzTx/>
              <a:buFontTx/>
              <a:buNone/>
              <a:tabLst/>
              <a:defRPr/>
            </a:pPr>
            <a:endParaRPr kumimoji="0" lang="en-US" sz="1174" b="0" i="0" u="none" strike="noStrike" kern="0" cap="none" spc="0" normalizeH="0" baseline="0" noProof="0">
              <a:ln>
                <a:noFill/>
              </a:ln>
              <a:solidFill>
                <a:srgbClr val="000000"/>
              </a:solidFill>
              <a:effectLst/>
              <a:uLnTx/>
              <a:uFillTx/>
              <a:latin typeface="맑은 고딕" panose="020F0502020204030204"/>
              <a:ea typeface="+mn-ea"/>
              <a:cs typeface="+mn-cs"/>
              <a:sym typeface="Segoe UI" panose="020B0502040204020203" pitchFamily="34" charset="0"/>
            </a:endParaRPr>
          </a:p>
        </p:txBody>
      </p:sp>
      <p:sp>
        <p:nvSpPr>
          <p:cNvPr id="133" name="Trapezoid 12"/>
          <p:cNvSpPr/>
          <p:nvPr/>
        </p:nvSpPr>
        <p:spPr>
          <a:xfrm>
            <a:off x="846697" y="2266973"/>
            <a:ext cx="289120" cy="36508"/>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p>
            <a:pPr marL="0" marR="0" lvl="0" indent="0" algn="ctr" defTabSz="913063" rtl="0" eaLnBrk="1" fontAlgn="auto" latinLnBrk="1" hangingPunct="1">
              <a:lnSpc>
                <a:spcPct val="100000"/>
              </a:lnSpc>
              <a:spcBef>
                <a:spcPts val="0"/>
              </a:spcBef>
              <a:spcAft>
                <a:spcPts val="0"/>
              </a:spcAft>
              <a:buClrTx/>
              <a:buSzTx/>
              <a:buFontTx/>
              <a:buNone/>
              <a:tabLst/>
              <a:defRPr/>
            </a:pPr>
            <a:endParaRPr kumimoji="0" lang="en-US" sz="1174" b="0" i="0" u="none" strike="noStrike" kern="0" cap="none" spc="0" normalizeH="0" baseline="0" noProof="0">
              <a:ln>
                <a:noFill/>
              </a:ln>
              <a:solidFill>
                <a:srgbClr val="000000"/>
              </a:solidFill>
              <a:effectLst/>
              <a:uLnTx/>
              <a:uFillTx/>
              <a:latin typeface="맑은 고딕" panose="020F0502020204030204"/>
              <a:ea typeface="+mn-ea"/>
              <a:cs typeface="+mn-cs"/>
              <a:sym typeface="Segoe UI" panose="020B0502040204020203" pitchFamily="34" charset="0"/>
            </a:endParaRPr>
          </a:p>
        </p:txBody>
      </p:sp>
      <p:sp>
        <p:nvSpPr>
          <p:cNvPr id="134" name="Rectangle 98"/>
          <p:cNvSpPr/>
          <p:nvPr/>
        </p:nvSpPr>
        <p:spPr>
          <a:xfrm>
            <a:off x="830336" y="2343868"/>
            <a:ext cx="288863" cy="11905"/>
          </a:xfrm>
          <a:prstGeom prst="rect">
            <a:avLst/>
          </a:prstGeom>
          <a:solidFill>
            <a:srgbClr val="FFFFFF"/>
          </a:solidFill>
          <a:ln w="25400" cap="flat" cmpd="sng" algn="ctr">
            <a:noFill/>
            <a:prstDash val="solid"/>
          </a:ln>
          <a:effectLst/>
        </p:spPr>
        <p:txBody>
          <a:bodyPr rtlCol="0" anchor="ctr"/>
          <a:lstStyle/>
          <a:p>
            <a:pPr marL="0" marR="0" lvl="0" indent="0" algn="ctr" defTabSz="913063" rtl="0" eaLnBrk="1" fontAlgn="auto" latinLnBrk="1" hangingPunct="1">
              <a:lnSpc>
                <a:spcPct val="100000"/>
              </a:lnSpc>
              <a:spcBef>
                <a:spcPts val="0"/>
              </a:spcBef>
              <a:spcAft>
                <a:spcPts val="0"/>
              </a:spcAft>
              <a:buClrTx/>
              <a:buSzTx/>
              <a:buFontTx/>
              <a:buNone/>
              <a:tabLst/>
              <a:defRPr/>
            </a:pPr>
            <a:endParaRPr kumimoji="0" lang="en-US" sz="1174" b="0" i="0" u="none" strike="noStrike" kern="0" cap="none" spc="0" normalizeH="0" baseline="0" noProof="0">
              <a:ln>
                <a:noFill/>
              </a:ln>
              <a:solidFill>
                <a:srgbClr val="000000"/>
              </a:solidFill>
              <a:effectLst/>
              <a:uLnTx/>
              <a:uFillTx/>
              <a:latin typeface="맑은 고딕" panose="020F0502020204030204"/>
              <a:ea typeface="+mn-ea"/>
              <a:cs typeface="+mn-cs"/>
              <a:sym typeface="Segoe UI" panose="020B0502040204020203" pitchFamily="34" charset="0"/>
            </a:endParaRPr>
          </a:p>
        </p:txBody>
      </p:sp>
      <p:sp>
        <p:nvSpPr>
          <p:cNvPr id="135" name="Rounded Rectangle 6"/>
          <p:cNvSpPr>
            <a:spLocks noChangeAspect="1"/>
          </p:cNvSpPr>
          <p:nvPr/>
        </p:nvSpPr>
        <p:spPr bwMode="auto">
          <a:xfrm rot="16200000">
            <a:off x="995612" y="1652436"/>
            <a:ext cx="197238" cy="28719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w="10795" cap="flat" cmpd="sng" algn="ctr">
            <a:noFill/>
            <a:prstDash val="solid"/>
            <a:headEnd type="none" w="med" len="med"/>
            <a:tailEnd type="none" w="med" len="med"/>
          </a:ln>
          <a:effectLst/>
        </p:spPr>
        <p:txBody>
          <a:bodyPr vert="horz" wrap="square" lIns="89577" tIns="44788" rIns="89577" bIns="44788" numCol="1" rtlCol="0" anchor="ctr" anchorCtr="0" compatLnSpc="1">
            <a:prstTxWarp prst="textNoShape">
              <a:avLst/>
            </a:prstTxWarp>
          </a:bodyPr>
          <a:lstStyle/>
          <a:p>
            <a:pPr marL="0" marR="0" lvl="0" indent="0" algn="ctr" defTabSz="805562" rtl="0" eaLnBrk="1" fontAlgn="auto" latinLnBrk="1"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000000"/>
              </a:solidFill>
              <a:effectLst/>
              <a:uLnTx/>
              <a:uFillTx/>
              <a:latin typeface="Segoe UI Light" panose="020B0502040204020203" pitchFamily="34" charset="0"/>
              <a:ea typeface="+mn-ea"/>
              <a:cs typeface="+mn-cs"/>
              <a:sym typeface="Segoe UI Light" panose="020B0502040204020203" pitchFamily="34" charset="0"/>
            </a:endParaRPr>
          </a:p>
        </p:txBody>
      </p:sp>
      <p:pic>
        <p:nvPicPr>
          <p:cNvPr id="136" name="Picture 2" descr="\\MAGNUM\Projects\Microsoft\Cloud Power FY12\Design\ICONS_PNG\Next_Gen_Application.png"/>
          <p:cNvPicPr>
            <a:picLocks noChangeAspect="1" noChangeArrowheads="1"/>
          </p:cNvPicPr>
          <p:nvPr/>
        </p:nvPicPr>
        <p:blipFill>
          <a:blip r:embed="rId10" cstate="screen">
            <a:lum bright="100000"/>
            <a:extLst>
              <a:ext uri="{28A0092B-C50C-407E-A947-70E740481C1C}">
                <a14:useLocalDpi xmlns:a14="http://schemas.microsoft.com/office/drawing/2010/main"/>
              </a:ext>
            </a:extLst>
          </a:blip>
          <a:srcRect/>
          <a:stretch>
            <a:fillRect/>
          </a:stretch>
        </p:blipFill>
        <p:spPr bwMode="auto">
          <a:xfrm>
            <a:off x="398878" y="1885372"/>
            <a:ext cx="360848" cy="360846"/>
          </a:xfrm>
          <a:prstGeom prst="rect">
            <a:avLst/>
          </a:prstGeom>
          <a:noFill/>
        </p:spPr>
      </p:pic>
      <p:pic>
        <p:nvPicPr>
          <p:cNvPr id="137" name="Picture 24" descr="E:\Eric Suchiang FD\Icons\Metro Icon\Metro icons ALL WHITE\cctv.png"/>
          <p:cNvPicPr>
            <a:picLocks noChangeAspect="1" noChangeArrowheads="1"/>
          </p:cNvPicPr>
          <p:nvPr/>
        </p:nvPicPr>
        <p:blipFill rotWithShape="1">
          <a:blip r:embed="rId11" cstate="screen">
            <a:extLst>
              <a:ext uri="{28A0092B-C50C-407E-A947-70E740481C1C}">
                <a14:useLocalDpi xmlns:a14="http://schemas.microsoft.com/office/drawing/2010/main"/>
              </a:ext>
            </a:extLst>
          </a:blip>
          <a:srcRect/>
          <a:stretch/>
        </p:blipFill>
        <p:spPr bwMode="auto">
          <a:xfrm>
            <a:off x="882385" y="1925752"/>
            <a:ext cx="412397" cy="227464"/>
          </a:xfrm>
          <a:prstGeom prst="rect">
            <a:avLst/>
          </a:prstGeom>
          <a:noFill/>
          <a:extLst>
            <a:ext uri="{909E8E84-426E-40DD-AFC4-6F175D3DCCD1}">
              <a14:hiddenFill xmlns:a14="http://schemas.microsoft.com/office/drawing/2010/main">
                <a:solidFill>
                  <a:srgbClr val="FFFFFF"/>
                </a:solidFill>
              </a14:hiddenFill>
            </a:ext>
          </a:extLst>
        </p:spPr>
      </p:pic>
      <p:sp>
        <p:nvSpPr>
          <p:cNvPr id="138" name="Freeform 95"/>
          <p:cNvSpPr>
            <a:spLocks noChangeAspect="1"/>
          </p:cNvSpPr>
          <p:nvPr/>
        </p:nvSpPr>
        <p:spPr bwMode="auto">
          <a:xfrm flipH="1">
            <a:off x="752053" y="1940158"/>
            <a:ext cx="171464" cy="251272"/>
          </a:xfrm>
          <a:custGeom>
            <a:avLst/>
            <a:gdLst/>
            <a:ahLst/>
            <a:cxnLst/>
            <a:rect l="l" t="t" r="r" b="b"/>
            <a:pathLst>
              <a:path w="739747" h="1113745">
                <a:moveTo>
                  <a:pt x="580449" y="183754"/>
                </a:moveTo>
                <a:lnTo>
                  <a:pt x="608377" y="183754"/>
                </a:lnTo>
                <a:cubicBezTo>
                  <a:pt x="612233" y="183754"/>
                  <a:pt x="615359" y="186880"/>
                  <a:pt x="615359" y="190736"/>
                </a:cubicBezTo>
                <a:lnTo>
                  <a:pt x="615359" y="243798"/>
                </a:lnTo>
                <a:cubicBezTo>
                  <a:pt x="615359" y="247654"/>
                  <a:pt x="612233" y="250780"/>
                  <a:pt x="608377" y="250780"/>
                </a:cubicBezTo>
                <a:lnTo>
                  <a:pt x="580449" y="250780"/>
                </a:lnTo>
                <a:cubicBezTo>
                  <a:pt x="576593" y="250780"/>
                  <a:pt x="573467" y="247654"/>
                  <a:pt x="573467" y="243798"/>
                </a:cubicBezTo>
                <a:lnTo>
                  <a:pt x="573467" y="190736"/>
                </a:lnTo>
                <a:cubicBezTo>
                  <a:pt x="573467" y="186880"/>
                  <a:pt x="576593" y="183754"/>
                  <a:pt x="580449" y="183754"/>
                </a:cubicBezTo>
                <a:close/>
                <a:moveTo>
                  <a:pt x="425201" y="49190"/>
                </a:moveTo>
                <a:lnTo>
                  <a:pt x="413467" y="958610"/>
                </a:lnTo>
                <a:lnTo>
                  <a:pt x="51654" y="872558"/>
                </a:lnTo>
                <a:lnTo>
                  <a:pt x="55565" y="51146"/>
                </a:lnTo>
                <a:close/>
                <a:moveTo>
                  <a:pt x="565200" y="20779"/>
                </a:moveTo>
                <a:lnTo>
                  <a:pt x="565200" y="995333"/>
                </a:lnTo>
                <a:lnTo>
                  <a:pt x="621304" y="987021"/>
                </a:lnTo>
                <a:lnTo>
                  <a:pt x="625460" y="20779"/>
                </a:lnTo>
                <a:close/>
                <a:moveTo>
                  <a:pt x="681565" y="0"/>
                </a:moveTo>
                <a:lnTo>
                  <a:pt x="677409" y="1005723"/>
                </a:lnTo>
                <a:lnTo>
                  <a:pt x="627538" y="1011957"/>
                </a:lnTo>
                <a:lnTo>
                  <a:pt x="627538" y="1022346"/>
                </a:lnTo>
                <a:lnTo>
                  <a:pt x="739747" y="1061827"/>
                </a:lnTo>
                <a:lnTo>
                  <a:pt x="669097" y="1070139"/>
                </a:lnTo>
                <a:cubicBezTo>
                  <a:pt x="592617" y="1050415"/>
                  <a:pt x="552151" y="1057209"/>
                  <a:pt x="515329" y="1090918"/>
                </a:cubicBezTo>
                <a:lnTo>
                  <a:pt x="422658" y="1113745"/>
                </a:lnTo>
                <a:lnTo>
                  <a:pt x="409354" y="1068061"/>
                </a:lnTo>
                <a:cubicBezTo>
                  <a:pt x="306312" y="1018127"/>
                  <a:pt x="187349" y="984387"/>
                  <a:pt x="81040" y="978710"/>
                </a:cubicBezTo>
                <a:lnTo>
                  <a:pt x="0" y="984943"/>
                </a:lnTo>
                <a:lnTo>
                  <a:pt x="72728" y="945463"/>
                </a:lnTo>
                <a:lnTo>
                  <a:pt x="108053" y="937151"/>
                </a:lnTo>
                <a:lnTo>
                  <a:pt x="108053" y="922605"/>
                </a:lnTo>
                <a:lnTo>
                  <a:pt x="64416" y="912216"/>
                </a:lnTo>
                <a:lnTo>
                  <a:pt x="64483" y="897455"/>
                </a:lnTo>
                <a:lnTo>
                  <a:pt x="441070" y="987021"/>
                </a:lnTo>
                <a:lnTo>
                  <a:pt x="453538" y="20779"/>
                </a:lnTo>
                <a:lnTo>
                  <a:pt x="68477" y="22817"/>
                </a:lnTo>
                <a:lnTo>
                  <a:pt x="68572" y="2078"/>
                </a:lnTo>
                <a:close/>
              </a:path>
            </a:pathLst>
          </a:custGeom>
          <a:solidFill>
            <a:srgbClr val="FFFFFF"/>
          </a:solidFill>
          <a:ln w="12700" cap="flat" cmpd="sng" algn="ctr">
            <a:noFill/>
            <a:prstDash val="solid"/>
            <a:headEnd type="none" w="med" len="med"/>
            <a:tailEnd type="none" w="med" len="med"/>
          </a:ln>
          <a:effectLst/>
        </p:spPr>
        <p:txBody>
          <a:bodyPr vert="horz" wrap="none" lIns="87816" tIns="43908" rIns="87816" bIns="43908" numCol="1" rtlCol="0" anchor="ctr" anchorCtr="0" compatLnSpc="1">
            <a:prstTxWarp prst="textNoShape">
              <a:avLst/>
            </a:prstTxWarp>
          </a:bodyPr>
          <a:lstStyle/>
          <a:p>
            <a:pPr marL="0" marR="0" lvl="0" indent="0" algn="ctr" defTabSz="877154" rtl="0" eaLnBrk="1" fontAlgn="base" latinLnBrk="1" hangingPunct="1">
              <a:lnSpc>
                <a:spcPct val="100000"/>
              </a:lnSpc>
              <a:spcBef>
                <a:spcPct val="0"/>
              </a:spcBef>
              <a:spcAft>
                <a:spcPct val="0"/>
              </a:spcAft>
              <a:buClrTx/>
              <a:buSzTx/>
              <a:buFontTx/>
              <a:buNone/>
              <a:tabLst/>
              <a:defRPr/>
            </a:pPr>
            <a:endParaRPr kumimoji="0" lang="en-US" sz="1666" b="0" i="0" u="none" strike="noStrike" kern="0" cap="none" spc="0" normalizeH="0" baseline="0" noProof="0">
              <a:ln>
                <a:noFill/>
              </a:ln>
              <a:solidFill>
                <a:srgbClr val="000000"/>
              </a:solidFill>
              <a:effectLst/>
              <a:uLnTx/>
              <a:uFillTx/>
              <a:latin typeface="맑은 고딕" panose="020F0502020204030204"/>
              <a:ea typeface="+mn-ea"/>
              <a:cs typeface="+mn-cs"/>
            </a:endParaRPr>
          </a:p>
        </p:txBody>
      </p:sp>
      <p:sp>
        <p:nvSpPr>
          <p:cNvPr id="139" name="Rectangle 98"/>
          <p:cNvSpPr/>
          <p:nvPr/>
        </p:nvSpPr>
        <p:spPr>
          <a:xfrm>
            <a:off x="851010" y="1538032"/>
            <a:ext cx="367438" cy="8047"/>
          </a:xfrm>
          <a:prstGeom prst="rect">
            <a:avLst/>
          </a:prstGeom>
          <a:solidFill>
            <a:srgbClr val="FFFFFF"/>
          </a:solidFill>
          <a:ln w="25400" cap="flat" cmpd="sng" algn="ctr">
            <a:noFill/>
            <a:prstDash val="solid"/>
          </a:ln>
          <a:effectLst/>
        </p:spPr>
        <p:txBody>
          <a:bodyPr rtlCol="0" anchor="ctr"/>
          <a:lstStyle/>
          <a:p>
            <a:pPr marL="0" marR="0" lvl="0" indent="0" algn="ctr" defTabSz="913063" rtl="0" eaLnBrk="1" fontAlgn="auto" latinLnBrk="1" hangingPunct="1">
              <a:lnSpc>
                <a:spcPct val="100000"/>
              </a:lnSpc>
              <a:spcBef>
                <a:spcPts val="0"/>
              </a:spcBef>
              <a:spcAft>
                <a:spcPts val="0"/>
              </a:spcAft>
              <a:buClrTx/>
              <a:buSzTx/>
              <a:buFontTx/>
              <a:buNone/>
              <a:tabLst/>
              <a:defRPr/>
            </a:pPr>
            <a:endParaRPr kumimoji="0" lang="en-US" sz="1174" b="0" i="0" u="none" strike="noStrike" kern="0" cap="none" spc="0" normalizeH="0" baseline="0" noProof="0">
              <a:ln>
                <a:noFill/>
              </a:ln>
              <a:solidFill>
                <a:srgbClr val="000000"/>
              </a:solidFill>
              <a:effectLst/>
              <a:uLnTx/>
              <a:uFillTx/>
              <a:latin typeface="맑은 고딕" panose="020F0502020204030204"/>
              <a:ea typeface="+mn-ea"/>
              <a:cs typeface="+mn-cs"/>
              <a:sym typeface="Segoe UI" panose="020B0502040204020203" pitchFamily="34" charset="0"/>
            </a:endParaRPr>
          </a:p>
        </p:txBody>
      </p:sp>
      <p:pic>
        <p:nvPicPr>
          <p:cNvPr id="140" name="Picture 176"/>
          <p:cNvPicPr>
            <a:picLocks noChangeAspect="1"/>
          </p:cNvPicPr>
          <p:nvPr/>
        </p:nvPicPr>
        <p:blipFill>
          <a:blip r:embed="rId16">
            <a:biLevel thresh="25000"/>
            <a:extLst>
              <a:ext uri="{28A0092B-C50C-407E-A947-70E740481C1C}">
                <a14:useLocalDpi xmlns:a14="http://schemas.microsoft.com/office/drawing/2010/main" val="0"/>
              </a:ext>
            </a:extLst>
          </a:blip>
          <a:stretch>
            <a:fillRect/>
          </a:stretch>
        </p:blipFill>
        <p:spPr>
          <a:xfrm>
            <a:off x="2906304" y="1766133"/>
            <a:ext cx="501920" cy="536239"/>
          </a:xfrm>
          <a:prstGeom prst="rect">
            <a:avLst/>
          </a:prstGeom>
        </p:spPr>
      </p:pic>
      <p:pic>
        <p:nvPicPr>
          <p:cNvPr id="141" name="그림 140"/>
          <p:cNvPicPr>
            <a:picLocks noChangeAspect="1"/>
          </p:cNvPicPr>
          <p:nvPr/>
        </p:nvPicPr>
        <p:blipFill>
          <a:blip r:embed="rId17">
            <a:extLst/>
          </a:blip>
          <a:stretch>
            <a:fillRect/>
          </a:stretch>
        </p:blipFill>
        <p:spPr>
          <a:xfrm>
            <a:off x="2786579" y="4371056"/>
            <a:ext cx="600101" cy="635869"/>
          </a:xfrm>
          <a:prstGeom prst="rect">
            <a:avLst/>
          </a:prstGeom>
        </p:spPr>
      </p:pic>
      <p:sp>
        <p:nvSpPr>
          <p:cNvPr id="142" name="자유형 141"/>
          <p:cNvSpPr/>
          <p:nvPr/>
        </p:nvSpPr>
        <p:spPr>
          <a:xfrm>
            <a:off x="4997291" y="4436269"/>
            <a:ext cx="689713" cy="457179"/>
          </a:xfrm>
          <a:custGeom>
            <a:avLst/>
            <a:gdLst>
              <a:gd name="connsiteX0" fmla="*/ 136478 w 818866"/>
              <a:gd name="connsiteY0" fmla="*/ 27296 h 586854"/>
              <a:gd name="connsiteX1" fmla="*/ 68239 w 818866"/>
              <a:gd name="connsiteY1" fmla="*/ 163773 h 586854"/>
              <a:gd name="connsiteX2" fmla="*/ 68239 w 818866"/>
              <a:gd name="connsiteY2" fmla="*/ 272955 h 586854"/>
              <a:gd name="connsiteX3" fmla="*/ 0 w 818866"/>
              <a:gd name="connsiteY3" fmla="*/ 382138 h 586854"/>
              <a:gd name="connsiteX4" fmla="*/ 136478 w 818866"/>
              <a:gd name="connsiteY4" fmla="*/ 464024 h 586854"/>
              <a:gd name="connsiteX5" fmla="*/ 327547 w 818866"/>
              <a:gd name="connsiteY5" fmla="*/ 586854 h 586854"/>
              <a:gd name="connsiteX6" fmla="*/ 477672 w 818866"/>
              <a:gd name="connsiteY6" fmla="*/ 559558 h 586854"/>
              <a:gd name="connsiteX7" fmla="*/ 750627 w 818866"/>
              <a:gd name="connsiteY7" fmla="*/ 518615 h 586854"/>
              <a:gd name="connsiteX8" fmla="*/ 805218 w 818866"/>
              <a:gd name="connsiteY8" fmla="*/ 368490 h 586854"/>
              <a:gd name="connsiteX9" fmla="*/ 764275 w 818866"/>
              <a:gd name="connsiteY9" fmla="*/ 259308 h 586854"/>
              <a:gd name="connsiteX10" fmla="*/ 736979 w 818866"/>
              <a:gd name="connsiteY10" fmla="*/ 204717 h 586854"/>
              <a:gd name="connsiteX11" fmla="*/ 750627 w 818866"/>
              <a:gd name="connsiteY11" fmla="*/ 122830 h 586854"/>
              <a:gd name="connsiteX12" fmla="*/ 818866 w 818866"/>
              <a:gd name="connsiteY12" fmla="*/ 68239 h 586854"/>
              <a:gd name="connsiteX13" fmla="*/ 791571 w 818866"/>
              <a:gd name="connsiteY13" fmla="*/ 13648 h 586854"/>
              <a:gd name="connsiteX14" fmla="*/ 696036 w 818866"/>
              <a:gd name="connsiteY14" fmla="*/ 0 h 586854"/>
              <a:gd name="connsiteX15" fmla="*/ 559559 w 818866"/>
              <a:gd name="connsiteY15" fmla="*/ 0 h 586854"/>
              <a:gd name="connsiteX16" fmla="*/ 491320 w 818866"/>
              <a:gd name="connsiteY16" fmla="*/ 13648 h 586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18866" h="586854">
                <a:moveTo>
                  <a:pt x="136478" y="27296"/>
                </a:moveTo>
                <a:lnTo>
                  <a:pt x="68239" y="163773"/>
                </a:lnTo>
                <a:lnTo>
                  <a:pt x="68239" y="272955"/>
                </a:lnTo>
                <a:lnTo>
                  <a:pt x="0" y="382138"/>
                </a:lnTo>
                <a:lnTo>
                  <a:pt x="136478" y="464024"/>
                </a:lnTo>
                <a:lnTo>
                  <a:pt x="327547" y="586854"/>
                </a:lnTo>
                <a:lnTo>
                  <a:pt x="477672" y="559558"/>
                </a:lnTo>
                <a:lnTo>
                  <a:pt x="750627" y="518615"/>
                </a:lnTo>
                <a:lnTo>
                  <a:pt x="805218" y="368490"/>
                </a:lnTo>
                <a:lnTo>
                  <a:pt x="764275" y="259308"/>
                </a:lnTo>
                <a:lnTo>
                  <a:pt x="736979" y="204717"/>
                </a:lnTo>
                <a:lnTo>
                  <a:pt x="750627" y="122830"/>
                </a:lnTo>
                <a:lnTo>
                  <a:pt x="818866" y="68239"/>
                </a:lnTo>
                <a:lnTo>
                  <a:pt x="791571" y="13648"/>
                </a:lnTo>
                <a:lnTo>
                  <a:pt x="696036" y="0"/>
                </a:lnTo>
                <a:lnTo>
                  <a:pt x="559559" y="0"/>
                </a:lnTo>
                <a:lnTo>
                  <a:pt x="491320" y="13648"/>
                </a:lnTo>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맑은 고딕" panose="020F0502020204030204"/>
              <a:ea typeface="맑은 고딕" panose="020B0503020000020004" pitchFamily="50" charset="-127"/>
              <a:cs typeface="+mn-cs"/>
            </a:endParaRPr>
          </a:p>
        </p:txBody>
      </p:sp>
      <p:pic>
        <p:nvPicPr>
          <p:cNvPr id="152" name="그림 151"/>
          <p:cNvPicPr>
            <a:picLocks noChangeAspect="1"/>
          </p:cNvPicPr>
          <p:nvPr/>
        </p:nvPicPr>
        <p:blipFill>
          <a:blip r:embed="rId18">
            <a:extLst/>
          </a:blip>
          <a:stretch>
            <a:fillRect/>
          </a:stretch>
        </p:blipFill>
        <p:spPr>
          <a:xfrm>
            <a:off x="5081839" y="6059985"/>
            <a:ext cx="563909" cy="556538"/>
          </a:xfrm>
          <a:prstGeom prst="rect">
            <a:avLst/>
          </a:prstGeom>
        </p:spPr>
      </p:pic>
      <p:pic>
        <p:nvPicPr>
          <p:cNvPr id="153" name="그림 152"/>
          <p:cNvPicPr>
            <a:picLocks noChangeAspect="1"/>
          </p:cNvPicPr>
          <p:nvPr/>
        </p:nvPicPr>
        <p:blipFill>
          <a:blip r:embed="rId19">
            <a:extLst/>
          </a:blip>
          <a:stretch>
            <a:fillRect/>
          </a:stretch>
        </p:blipFill>
        <p:spPr>
          <a:xfrm>
            <a:off x="5014366" y="5173218"/>
            <a:ext cx="647892" cy="703032"/>
          </a:xfrm>
          <a:prstGeom prst="rect">
            <a:avLst/>
          </a:prstGeom>
        </p:spPr>
      </p:pic>
      <p:sp>
        <p:nvSpPr>
          <p:cNvPr id="58" name="TextBox 57"/>
          <p:cNvSpPr txBox="1"/>
          <p:nvPr/>
        </p:nvSpPr>
        <p:spPr>
          <a:xfrm>
            <a:off x="433799" y="3046216"/>
            <a:ext cx="2006442" cy="276999"/>
          </a:xfrm>
          <a:prstGeom prst="rect">
            <a:avLst/>
          </a:prstGeom>
          <a:noFill/>
        </p:spPr>
        <p:txBody>
          <a:bodyPr wrap="square" rtlCol="0">
            <a:spAutoFit/>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en-US" altLang="ko-KR" sz="1200" b="0" i="0" u="none" strike="noStrike" kern="1200" cap="none" spc="0" normalizeH="0" baseline="0" noProof="0" dirty="0">
                <a:ln>
                  <a:noFill/>
                </a:ln>
                <a:solidFill>
                  <a:prstClr val="white"/>
                </a:solidFill>
                <a:effectLst/>
                <a:uLnTx/>
                <a:uFillTx/>
                <a:latin typeface="맑은 고딕" panose="020F0502020204030204"/>
                <a:ea typeface="맑은 고딕" panose="020B0503020000020004" pitchFamily="50" charset="-127"/>
                <a:cs typeface="+mn-cs"/>
              </a:rPr>
              <a:t>Windows 10 IoT core</a:t>
            </a:r>
            <a:endParaRPr kumimoji="0" lang="ko-KR" altLang="en-US" sz="1200" b="0" i="0" u="none" strike="noStrike" kern="1200" cap="none" spc="0" normalizeH="0" baseline="0" noProof="0" dirty="0">
              <a:ln>
                <a:noFill/>
              </a:ln>
              <a:solidFill>
                <a:prstClr val="white"/>
              </a:solidFill>
              <a:effectLst/>
              <a:uLnTx/>
              <a:uFillTx/>
              <a:latin typeface="맑은 고딕" panose="020F0502020204030204"/>
              <a:ea typeface="맑은 고딕" panose="020B0503020000020004" pitchFamily="50" charset="-127"/>
              <a:cs typeface="+mn-cs"/>
            </a:endParaRPr>
          </a:p>
        </p:txBody>
      </p:sp>
      <p:pic>
        <p:nvPicPr>
          <p:cNvPr id="60" name="Picture 89"/>
          <p:cNvPicPr>
            <a:picLocks noChangeAspect="1"/>
          </p:cNvPicPr>
          <p:nvPr/>
        </p:nvPicPr>
        <p:blipFill>
          <a:blip r:embed="rId20"/>
          <a:stretch>
            <a:fillRect/>
          </a:stretch>
        </p:blipFill>
        <p:spPr>
          <a:xfrm>
            <a:off x="2878630" y="2594732"/>
            <a:ext cx="557267" cy="557267"/>
          </a:xfrm>
          <a:prstGeom prst="rect">
            <a:avLst/>
          </a:prstGeom>
        </p:spPr>
      </p:pic>
    </p:spTree>
    <p:extLst>
      <p:ext uri="{BB962C8B-B14F-4D97-AF65-F5344CB8AC3E}">
        <p14:creationId xmlns:p14="http://schemas.microsoft.com/office/powerpoint/2010/main" val="188878533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TextBox 4"/>
          <p:cNvSpPr txBox="1"/>
          <p:nvPr/>
        </p:nvSpPr>
        <p:spPr>
          <a:xfrm>
            <a:off x="560070" y="708660"/>
            <a:ext cx="2145139" cy="707886"/>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4000" b="1" i="0" u="none" strike="noStrike" kern="0" cap="none" spc="0" normalizeH="0" baseline="0" noProof="0" dirty="0">
                <a:ln>
                  <a:noFill/>
                </a:ln>
                <a:solidFill>
                  <a:schemeClr val="bg1"/>
                </a:solidFill>
                <a:effectLst/>
                <a:uLnTx/>
                <a:uFillTx/>
              </a:rPr>
              <a:t>Services</a:t>
            </a:r>
            <a:endParaRPr kumimoji="0" lang="ko-KR" altLang="en-US" sz="4000" b="1" i="0" u="none" strike="noStrike" kern="0" cap="none" spc="0" normalizeH="0" baseline="0" noProof="0" dirty="0">
              <a:ln>
                <a:noFill/>
              </a:ln>
              <a:solidFill>
                <a:schemeClr val="bg1"/>
              </a:solidFill>
              <a:effectLst/>
              <a:uLnTx/>
              <a:uFillTx/>
            </a:endParaRPr>
          </a:p>
        </p:txBody>
      </p:sp>
      <p:sp>
        <p:nvSpPr>
          <p:cNvPr id="6" name="TextBox 5"/>
          <p:cNvSpPr txBox="1"/>
          <p:nvPr/>
        </p:nvSpPr>
        <p:spPr>
          <a:xfrm>
            <a:off x="560069" y="3729990"/>
            <a:ext cx="3270447" cy="1077218"/>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200" b="0" i="0" u="none" strike="noStrike" kern="0" cap="none" spc="0" normalizeH="0" baseline="0" noProof="0" dirty="0">
                <a:ln>
                  <a:noFill/>
                </a:ln>
                <a:solidFill>
                  <a:schemeClr val="bg1"/>
                </a:solidFill>
                <a:effectLst/>
                <a:uLnTx/>
                <a:uFillTx/>
              </a:rPr>
              <a:t>IoT Hub</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200" b="0" i="0" u="none" strike="noStrike" kern="0" cap="none" spc="0" normalizeH="0" baseline="0" noProof="0" dirty="0">
                <a:ln>
                  <a:noFill/>
                </a:ln>
                <a:solidFill>
                  <a:schemeClr val="bg1"/>
                </a:solidFill>
                <a:effectLst/>
                <a:uLnTx/>
                <a:uFillTx/>
              </a:rPr>
              <a:t>Stream Analytics</a:t>
            </a:r>
          </a:p>
        </p:txBody>
      </p:sp>
      <p:pic>
        <p:nvPicPr>
          <p:cNvPr id="1026" name="Picture 2" descr="http://archive.datacenterdynamics.com/sites/default/files/482487015.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09260" y="-11605"/>
            <a:ext cx="7634287" cy="68696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9638803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loud"/>
          <p:cNvSpPr>
            <a:spLocks noChangeAspect="1"/>
          </p:cNvSpPr>
          <p:nvPr/>
        </p:nvSpPr>
        <p:spPr bwMode="black">
          <a:xfrm>
            <a:off x="4117145" y="1599608"/>
            <a:ext cx="7808155" cy="457467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solidFill>
          <a:ln w="76200">
            <a:solidFill>
              <a:schemeClr val="accent1">
                <a:lumMod val="40000"/>
                <a:lumOff val="60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marL="0" marR="0" lvl="0" indent="0" algn="ctr" defTabSz="914400" rtl="0" eaLnBrk="1" fontAlgn="auto" latinLnBrk="1" hangingPunct="1">
              <a:lnSpc>
                <a:spcPct val="80000"/>
              </a:lnSpc>
              <a:spcBef>
                <a:spcPts val="0"/>
              </a:spcBef>
              <a:spcAft>
                <a:spcPts val="0"/>
              </a:spcAft>
              <a:buClrTx/>
              <a:buSzTx/>
              <a:buFontTx/>
              <a:buNone/>
              <a:tabLst/>
              <a:defRPr/>
            </a:pPr>
            <a:endParaRPr kumimoji="0" lang="en-US" sz="4400" b="0" i="0" u="none" strike="noStrike" kern="1200" cap="none" spc="-150" normalizeH="0" baseline="0" noProof="0">
              <a:ln>
                <a:noFill/>
              </a:ln>
              <a:solidFill>
                <a:prstClr val="black"/>
              </a:solidFill>
              <a:effectLst/>
              <a:uLnTx/>
              <a:uFillTx/>
              <a:latin typeface="맑은 고딕" panose="020B0503020000020004" pitchFamily="34" charset="-127"/>
              <a:ea typeface="맑은 고딕" panose="020B0503020000020004" pitchFamily="34" charset="-127"/>
              <a:cs typeface="+mn-cs"/>
            </a:endParaRPr>
          </a:p>
        </p:txBody>
      </p:sp>
      <p:sp>
        <p:nvSpPr>
          <p:cNvPr id="33" name="Rectangle 37"/>
          <p:cNvSpPr/>
          <p:nvPr/>
        </p:nvSpPr>
        <p:spPr bwMode="auto">
          <a:xfrm>
            <a:off x="4591318" y="2178278"/>
            <a:ext cx="1049359" cy="3976839"/>
          </a:xfrm>
          <a:prstGeom prst="rect">
            <a:avLst/>
          </a:prstGeom>
          <a:solidFill>
            <a:schemeClr val="bg1">
              <a:alpha val="8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marL="0" marR="0" lvl="0" indent="0" algn="l" defTabSz="913748" rtl="0" eaLnBrk="1" fontAlgn="base" latinLnBrk="1" hangingPunct="1">
              <a:lnSpc>
                <a:spcPct val="90000"/>
              </a:lnSpc>
              <a:spcBef>
                <a:spcPct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맑은 고딕" panose="020B0503020000020004" pitchFamily="34" charset="-127"/>
              <a:ea typeface="맑은 고딕" panose="020B0503020000020004" pitchFamily="34" charset="-127"/>
              <a:cs typeface="Segoe UI Black" panose="020B0A02040204020203" pitchFamily="34" charset="0"/>
            </a:endParaRPr>
          </a:p>
          <a:p>
            <a:pPr marL="0" marR="0" lvl="0" indent="0" algn="l" defTabSz="913748" rtl="0" eaLnBrk="1" fontAlgn="base" latinLnBrk="1" hangingPunct="1">
              <a:lnSpc>
                <a:spcPct val="90000"/>
              </a:lnSpc>
              <a:spcBef>
                <a:spcPct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맑은 고딕" panose="020B0503020000020004" pitchFamily="34" charset="-127"/>
              <a:ea typeface="맑은 고딕" panose="020B0503020000020004" pitchFamily="34" charset="-127"/>
              <a:cs typeface="Segoe UI Black" panose="020B0A02040204020203" pitchFamily="34" charset="0"/>
            </a:endParaRPr>
          </a:p>
          <a:p>
            <a:pPr marL="0" marR="0" lvl="0" indent="0" algn="l" defTabSz="913748" rtl="0" eaLnBrk="1" fontAlgn="base" latinLnBrk="1" hangingPunct="1">
              <a:lnSpc>
                <a:spcPct val="90000"/>
              </a:lnSpc>
              <a:spcBef>
                <a:spcPct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맑은 고딕" panose="020B0503020000020004" pitchFamily="34" charset="-127"/>
              <a:ea typeface="맑은 고딕" panose="020B0503020000020004" pitchFamily="34" charset="-127"/>
              <a:cs typeface="Segoe UI Black" panose="020B0A02040204020203" pitchFamily="34" charset="0"/>
            </a:endParaRPr>
          </a:p>
          <a:p>
            <a:pPr marL="0" marR="0" lvl="0" indent="0" algn="l" defTabSz="913748" rtl="0" eaLnBrk="1" fontAlgn="base" latinLnBrk="1" hangingPunct="1">
              <a:lnSpc>
                <a:spcPct val="90000"/>
              </a:lnSpc>
              <a:spcBef>
                <a:spcPct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맑은 고딕" panose="020B0503020000020004" pitchFamily="34" charset="-127"/>
              <a:ea typeface="맑은 고딕" panose="020B0503020000020004" pitchFamily="34" charset="-127"/>
              <a:cs typeface="Segoe UI Black" panose="020B0A02040204020203" pitchFamily="34" charset="0"/>
            </a:endParaRPr>
          </a:p>
        </p:txBody>
      </p:sp>
      <p:cxnSp>
        <p:nvCxnSpPr>
          <p:cNvPr id="74" name="Straight Arrow Connector 153"/>
          <p:cNvCxnSpPr/>
          <p:nvPr/>
        </p:nvCxnSpPr>
        <p:spPr>
          <a:xfrm>
            <a:off x="5649353" y="2796255"/>
            <a:ext cx="392945" cy="11561"/>
          </a:xfrm>
          <a:prstGeom prst="straightConnector1">
            <a:avLst/>
          </a:prstGeom>
          <a:ln w="317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6" name="Rectangle 155"/>
          <p:cNvSpPr/>
          <p:nvPr/>
        </p:nvSpPr>
        <p:spPr bwMode="auto">
          <a:xfrm rot="16200000">
            <a:off x="6357252" y="1861662"/>
            <a:ext cx="1890778" cy="2520681"/>
          </a:xfrm>
          <a:prstGeom prst="rect">
            <a:avLst/>
          </a:prstGeom>
          <a:solidFill>
            <a:srgbClr val="FFFFFF">
              <a:alpha val="10196"/>
            </a:srgb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40" tIns="91440" rIns="0" bIns="91414" numCol="1" spcCol="0" rtlCol="0" fromWordArt="0" anchor="b" anchorCtr="0" forceAA="0" compatLnSpc="1">
            <a:prstTxWarp prst="textNoShape">
              <a:avLst/>
            </a:prstTxWarp>
            <a:noAutofit/>
          </a:bodyPr>
          <a:lstStyle/>
          <a:p>
            <a:pPr marL="0" marR="0" lvl="0" indent="0" algn="l" defTabSz="913748" rtl="0" eaLnBrk="1" fontAlgn="base" latinLnBrk="1" hangingPunct="1">
              <a:lnSpc>
                <a:spcPct val="90000"/>
              </a:lnSpc>
              <a:spcBef>
                <a:spcPct val="0"/>
              </a:spcBef>
              <a:spcAft>
                <a:spcPts val="600"/>
              </a:spcAft>
              <a:buClrTx/>
              <a:buSzTx/>
              <a:buFontTx/>
              <a:buNone/>
              <a:tabLst/>
              <a:defRPr/>
            </a:pPr>
            <a:r>
              <a:rPr kumimoji="0" lang="en-US" altLang="ko-KR" sz="1100" b="0" i="0" u="none" strike="noStrike" kern="1200" cap="none" spc="0" normalizeH="0" baseline="0" noProof="0">
                <a:ln>
                  <a:noFill/>
                </a:ln>
                <a:solidFill>
                  <a:prstClr val="black"/>
                </a:solidFill>
                <a:effectLst/>
                <a:uLnTx/>
                <a:uFillTx/>
                <a:latin typeface="맑은 고딕" panose="020B0503020000020004" pitchFamily="34" charset="-127"/>
                <a:ea typeface="맑은 고딕" panose="020B0503020000020004" pitchFamily="34" charset="-127"/>
                <a:cs typeface="Segoe UI Black" panose="020B0A02040204020203" pitchFamily="34" charset="0"/>
              </a:rPr>
              <a:t>Batch processing : </a:t>
            </a:r>
          </a:p>
          <a:p>
            <a:pPr marL="0" marR="0" lvl="0" indent="0" algn="l" defTabSz="913748" rtl="0" eaLnBrk="1" fontAlgn="base" latinLnBrk="1" hangingPunct="1">
              <a:lnSpc>
                <a:spcPct val="90000"/>
              </a:lnSpc>
              <a:spcBef>
                <a:spcPct val="0"/>
              </a:spcBef>
              <a:spcAft>
                <a:spcPts val="600"/>
              </a:spcAft>
              <a:buClrTx/>
              <a:buSzTx/>
              <a:buFontTx/>
              <a:buNone/>
              <a:tabLst/>
              <a:defRPr/>
            </a:pPr>
            <a:r>
              <a:rPr kumimoji="0" lang="en-US" altLang="ko-KR" sz="1100" b="0" i="0" u="none" strike="noStrike" kern="1200" cap="none" spc="0" normalizeH="0" baseline="0" noProof="0">
                <a:ln>
                  <a:noFill/>
                </a:ln>
                <a:solidFill>
                  <a:prstClr val="black"/>
                </a:solidFill>
                <a:effectLst/>
                <a:uLnTx/>
                <a:uFillTx/>
                <a:latin typeface="맑은 고딕" panose="020B0503020000020004" pitchFamily="34" charset="-127"/>
                <a:ea typeface="맑은 고딕" panose="020B0503020000020004" pitchFamily="34" charset="-127"/>
                <a:cs typeface="Segoe UI Black" panose="020B0A02040204020203" pitchFamily="34" charset="0"/>
              </a:rPr>
              <a:t>Azure Data Factory, Azure HDInsight</a:t>
            </a:r>
          </a:p>
          <a:p>
            <a:pPr marL="0" marR="0" lvl="0" indent="0" algn="l" defTabSz="913748" rtl="0" eaLnBrk="1" fontAlgn="base" latinLnBrk="1" hangingPunct="1">
              <a:lnSpc>
                <a:spcPct val="90000"/>
              </a:lnSpc>
              <a:spcBef>
                <a:spcPct val="0"/>
              </a:spcBef>
              <a:spcAft>
                <a:spcPts val="600"/>
              </a:spcAft>
              <a:buClrTx/>
              <a:buSzTx/>
              <a:buFontTx/>
              <a:buNone/>
              <a:tabLst/>
              <a:defRPr/>
            </a:pPr>
            <a:r>
              <a:rPr kumimoji="0" lang="en-US" altLang="ko-KR" sz="1100" b="0" i="0" u="none" strike="noStrike" kern="1200" cap="none" spc="0" normalizeH="0" baseline="0" noProof="0">
                <a:ln>
                  <a:noFill/>
                </a:ln>
                <a:solidFill>
                  <a:prstClr val="black"/>
                </a:solidFill>
                <a:effectLst/>
                <a:uLnTx/>
                <a:uFillTx/>
                <a:latin typeface="맑은 고딕" panose="020B0503020000020004" pitchFamily="34" charset="-127"/>
                <a:ea typeface="맑은 고딕" panose="020B0503020000020004" pitchFamily="34" charset="-127"/>
                <a:cs typeface="Segoe UI Black" panose="020B0A02040204020203" pitchFamily="34" charset="0"/>
              </a:rPr>
              <a:t>Hot Path Analytics : Azure Stream Analytics, Azure HDInsight Storm</a:t>
            </a:r>
          </a:p>
          <a:p>
            <a:pPr marL="0" marR="0" lvl="0" indent="0" algn="l" defTabSz="913748" rtl="0" eaLnBrk="1" fontAlgn="base" latinLnBrk="1" hangingPunct="1">
              <a:lnSpc>
                <a:spcPct val="90000"/>
              </a:lnSpc>
              <a:spcBef>
                <a:spcPct val="0"/>
              </a:spcBef>
              <a:spcAft>
                <a:spcPts val="600"/>
              </a:spcAft>
              <a:buClrTx/>
              <a:buSzTx/>
              <a:buFontTx/>
              <a:buNone/>
              <a:tabLst/>
              <a:defRPr/>
            </a:pPr>
            <a:r>
              <a:rPr kumimoji="0" lang="ko-KR" altLang="en-US" sz="1200" b="1" i="0" u="none" strike="noStrike" kern="1200" cap="none" spc="0" normalizeH="0" baseline="0" noProof="0">
                <a:ln>
                  <a:noFill/>
                </a:ln>
                <a:solidFill>
                  <a:prstClr val="black"/>
                </a:solidFill>
                <a:effectLst/>
                <a:uLnTx/>
                <a:uFillTx/>
                <a:latin typeface="맑은 고딕" panose="020B0503020000020004" pitchFamily="34" charset="-127"/>
                <a:ea typeface="맑은 고딕" panose="020B0503020000020004" pitchFamily="34" charset="-127"/>
                <a:cs typeface="Segoe UI Black" panose="020B0A02040204020203" pitchFamily="34" charset="0"/>
              </a:rPr>
              <a:t>데이터 저장소 및 처리</a:t>
            </a:r>
            <a:endParaRPr kumimoji="0" lang="en-US" altLang="ko-KR" sz="1200" b="1" i="0" u="none" strike="noStrike" kern="1200" cap="none" spc="0" normalizeH="0" baseline="0" noProof="0">
              <a:ln>
                <a:noFill/>
              </a:ln>
              <a:solidFill>
                <a:prstClr val="black"/>
              </a:solidFill>
              <a:effectLst/>
              <a:uLnTx/>
              <a:uFillTx/>
              <a:latin typeface="맑은 고딕" panose="020B0503020000020004" pitchFamily="34" charset="-127"/>
              <a:ea typeface="맑은 고딕" panose="020B0503020000020004" pitchFamily="34" charset="-127"/>
              <a:cs typeface="Segoe UI Black" panose="020B0A02040204020203" pitchFamily="34" charset="0"/>
            </a:endParaRPr>
          </a:p>
        </p:txBody>
      </p:sp>
      <p:sp>
        <p:nvSpPr>
          <p:cNvPr id="77" name="Donut 15"/>
          <p:cNvSpPr/>
          <p:nvPr/>
        </p:nvSpPr>
        <p:spPr bwMode="auto">
          <a:xfrm>
            <a:off x="8803005" y="2516025"/>
            <a:ext cx="201211" cy="200210"/>
          </a:xfrm>
          <a:custGeom>
            <a:avLst/>
            <a:gdLst/>
            <a:ahLst/>
            <a:cxnLst/>
            <a:rect l="l" t="t" r="r" b="b"/>
            <a:pathLst>
              <a:path w="786988" h="783276">
                <a:moveTo>
                  <a:pt x="469995" y="99669"/>
                </a:moveTo>
                <a:cubicBezTo>
                  <a:pt x="349970" y="99669"/>
                  <a:pt x="252671" y="196968"/>
                  <a:pt x="252671" y="316993"/>
                </a:cubicBezTo>
                <a:cubicBezTo>
                  <a:pt x="252671" y="437018"/>
                  <a:pt x="349970" y="534317"/>
                  <a:pt x="469995" y="534317"/>
                </a:cubicBezTo>
                <a:cubicBezTo>
                  <a:pt x="590020" y="534317"/>
                  <a:pt x="687319" y="437018"/>
                  <a:pt x="687319" y="316993"/>
                </a:cubicBezTo>
                <a:cubicBezTo>
                  <a:pt x="687319" y="196968"/>
                  <a:pt x="590020" y="99669"/>
                  <a:pt x="469995" y="99669"/>
                </a:cubicBezTo>
                <a:close/>
                <a:moveTo>
                  <a:pt x="469995" y="0"/>
                </a:moveTo>
                <a:cubicBezTo>
                  <a:pt x="645065" y="0"/>
                  <a:pt x="786988" y="141923"/>
                  <a:pt x="786988" y="316993"/>
                </a:cubicBezTo>
                <a:cubicBezTo>
                  <a:pt x="786988" y="492063"/>
                  <a:pt x="645065" y="633986"/>
                  <a:pt x="469995" y="633986"/>
                </a:cubicBezTo>
                <a:cubicBezTo>
                  <a:pt x="406791" y="633986"/>
                  <a:pt x="347908" y="615489"/>
                  <a:pt x="298782" y="583117"/>
                </a:cubicBezTo>
                <a:lnTo>
                  <a:pt x="118646" y="762954"/>
                </a:lnTo>
                <a:cubicBezTo>
                  <a:pt x="91472" y="790083"/>
                  <a:pt x="47451" y="790046"/>
                  <a:pt x="20322" y="762872"/>
                </a:cubicBezTo>
                <a:cubicBezTo>
                  <a:pt x="-6806" y="735698"/>
                  <a:pt x="-6770" y="691678"/>
                  <a:pt x="20404" y="664549"/>
                </a:cubicBezTo>
                <a:lnTo>
                  <a:pt x="201471" y="483783"/>
                </a:lnTo>
                <a:cubicBezTo>
                  <a:pt x="170460" y="435720"/>
                  <a:pt x="153002" y="378395"/>
                  <a:pt x="153002" y="316993"/>
                </a:cubicBezTo>
                <a:cubicBezTo>
                  <a:pt x="153002" y="141923"/>
                  <a:pt x="294925" y="0"/>
                  <a:pt x="469995" y="0"/>
                </a:cubicBezTo>
                <a:close/>
              </a:path>
            </a:pathLst>
          </a:custGeom>
          <a:solidFill>
            <a:srgbClr val="FFFFFF">
              <a:alpha val="1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1"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a:ln>
                <a:noFill/>
              </a:ln>
              <a:solidFill>
                <a:prstClr val="black"/>
              </a:solidFill>
              <a:effectLst/>
              <a:uLnTx/>
              <a:uFillTx/>
              <a:latin typeface="맑은 고딕" panose="020B0503020000020004" pitchFamily="34" charset="-127"/>
              <a:ea typeface="맑은 고딕" panose="020B0503020000020004" pitchFamily="34" charset="-127"/>
              <a:cs typeface="Segoe UI" pitchFamily="34" charset="0"/>
            </a:endParaRPr>
          </a:p>
        </p:txBody>
      </p:sp>
      <p:pic>
        <p:nvPicPr>
          <p:cNvPr id="81" name="Picture 161"/>
          <p:cNvPicPr>
            <a:picLocks noChangeAspect="1"/>
          </p:cNvPicPr>
          <p:nvPr/>
        </p:nvPicPr>
        <p:blipFill>
          <a:blip r:embed="rId2">
            <a:clrChange>
              <a:clrFrom>
                <a:srgbClr val="FFFFFF"/>
              </a:clrFrom>
              <a:clrTo>
                <a:srgbClr val="FFFFFF">
                  <a:alpha val="0"/>
                </a:srgbClr>
              </a:clrTo>
            </a:clrChange>
          </a:blip>
          <a:stretch>
            <a:fillRect/>
          </a:stretch>
        </p:blipFill>
        <p:spPr>
          <a:xfrm>
            <a:off x="6777848" y="2313962"/>
            <a:ext cx="1042019" cy="582523"/>
          </a:xfrm>
          <a:prstGeom prst="rect">
            <a:avLst/>
          </a:prstGeom>
          <a:solidFill>
            <a:srgbClr val="FFFFFF">
              <a:alpha val="10196"/>
            </a:srgbClr>
          </a:solidFill>
        </p:spPr>
      </p:pic>
      <p:sp>
        <p:nvSpPr>
          <p:cNvPr id="82" name="Freeform 162"/>
          <p:cNvSpPr/>
          <p:nvPr/>
        </p:nvSpPr>
        <p:spPr bwMode="auto">
          <a:xfrm>
            <a:off x="8674519" y="4014721"/>
            <a:ext cx="562569" cy="759527"/>
          </a:xfrm>
          <a:custGeom>
            <a:avLst/>
            <a:gdLst>
              <a:gd name="connsiteX0" fmla="*/ 0 w 562569"/>
              <a:gd name="connsiteY0" fmla="*/ 0 h 704480"/>
              <a:gd name="connsiteX1" fmla="*/ 0 w 562569"/>
              <a:gd name="connsiteY1" fmla="*/ 0 h 704480"/>
              <a:gd name="connsiteX2" fmla="*/ 506186 w 562569"/>
              <a:gd name="connsiteY2" fmla="*/ 568234 h 704480"/>
              <a:gd name="connsiteX3" fmla="*/ 522514 w 562569"/>
              <a:gd name="connsiteY3" fmla="*/ 620486 h 704480"/>
              <a:gd name="connsiteX4" fmla="*/ 535577 w 562569"/>
              <a:gd name="connsiteY4" fmla="*/ 649877 h 704480"/>
              <a:gd name="connsiteX5" fmla="*/ 538843 w 562569"/>
              <a:gd name="connsiteY5" fmla="*/ 666206 h 704480"/>
              <a:gd name="connsiteX6" fmla="*/ 551906 w 562569"/>
              <a:gd name="connsiteY6" fmla="*/ 679269 h 704480"/>
              <a:gd name="connsiteX7" fmla="*/ 551906 w 562569"/>
              <a:gd name="connsiteY7" fmla="*/ 672737 h 704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2569" h="704480">
                <a:moveTo>
                  <a:pt x="0" y="0"/>
                </a:moveTo>
                <a:lnTo>
                  <a:pt x="0" y="0"/>
                </a:lnTo>
                <a:cubicBezTo>
                  <a:pt x="168729" y="189411"/>
                  <a:pt x="340331" y="376301"/>
                  <a:pt x="506186" y="568234"/>
                </a:cubicBezTo>
                <a:cubicBezTo>
                  <a:pt x="525364" y="590428"/>
                  <a:pt x="515255" y="598709"/>
                  <a:pt x="522514" y="620486"/>
                </a:cubicBezTo>
                <a:cubicBezTo>
                  <a:pt x="533359" y="653020"/>
                  <a:pt x="530233" y="628504"/>
                  <a:pt x="535577" y="649877"/>
                </a:cubicBezTo>
                <a:cubicBezTo>
                  <a:pt x="536923" y="655262"/>
                  <a:pt x="536089" y="661387"/>
                  <a:pt x="538843" y="666206"/>
                </a:cubicBezTo>
                <a:cubicBezTo>
                  <a:pt x="601893" y="776543"/>
                  <a:pt x="515111" y="605679"/>
                  <a:pt x="551906" y="679269"/>
                </a:cubicBezTo>
                <a:lnTo>
                  <a:pt x="551906" y="672737"/>
                </a:lnTo>
              </a:path>
            </a:pathLst>
          </a:custGeom>
          <a:solidFill>
            <a:srgbClr val="FFFFFF">
              <a:alpha val="1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맑은 고딕" panose="020B0503020000020004" pitchFamily="34" charset="-127"/>
              <a:ea typeface="맑은 고딕" panose="020B0503020000020004" pitchFamily="34" charset="-127"/>
              <a:cs typeface="+mn-cs"/>
            </a:endParaRPr>
          </a:p>
        </p:txBody>
      </p:sp>
      <p:sp>
        <p:nvSpPr>
          <p:cNvPr id="83" name="Rectangle 172"/>
          <p:cNvSpPr/>
          <p:nvPr/>
        </p:nvSpPr>
        <p:spPr bwMode="auto">
          <a:xfrm rot="16200000">
            <a:off x="6431285" y="4031914"/>
            <a:ext cx="1742709" cy="2520681"/>
          </a:xfrm>
          <a:prstGeom prst="rect">
            <a:avLst/>
          </a:prstGeom>
          <a:solidFill>
            <a:srgbClr val="FFFFFF">
              <a:alpha val="10196"/>
            </a:srgb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40" tIns="91440" rIns="0" bIns="91414" numCol="1" spcCol="0" rtlCol="0" fromWordArt="0" anchor="b" anchorCtr="0" forceAA="0" compatLnSpc="1">
            <a:prstTxWarp prst="textNoShape">
              <a:avLst/>
            </a:prstTxWarp>
            <a:noAutofit/>
          </a:bodyPr>
          <a:lstStyle/>
          <a:p>
            <a:pPr marL="0" marR="0" lvl="0" indent="0" algn="l" defTabSz="913748" rtl="0" eaLnBrk="1" fontAlgn="base" latinLnBrk="1" hangingPunct="1">
              <a:lnSpc>
                <a:spcPct val="90000"/>
              </a:lnSpc>
              <a:spcBef>
                <a:spcPct val="0"/>
              </a:spcBef>
              <a:spcAft>
                <a:spcPts val="600"/>
              </a:spcAft>
              <a:buClrTx/>
              <a:buSzTx/>
              <a:buFontTx/>
              <a:buNone/>
              <a:tabLst/>
              <a:defRPr/>
            </a:pPr>
            <a:r>
              <a:rPr kumimoji="0" lang="en-US" altLang="ko-KR" sz="1100" b="0" i="0" u="none" strike="noStrike" kern="1200" cap="none" spc="0" normalizeH="0" baseline="0" noProof="0">
                <a:ln>
                  <a:noFill/>
                </a:ln>
                <a:solidFill>
                  <a:prstClr val="black"/>
                </a:solidFill>
                <a:effectLst/>
                <a:uLnTx/>
                <a:uFillTx/>
                <a:latin typeface="맑은 고딕" panose="020B0503020000020004" pitchFamily="34" charset="-127"/>
                <a:ea typeface="맑은 고딕" panose="020B0503020000020004" pitchFamily="34" charset="-127"/>
                <a:cs typeface="Segoe UI" pitchFamily="34" charset="0"/>
              </a:rPr>
              <a:t>Real-time Analysis</a:t>
            </a:r>
          </a:p>
          <a:p>
            <a:pPr marL="0" marR="0" lvl="0" indent="0" algn="l" defTabSz="913748" rtl="0" eaLnBrk="1" fontAlgn="base" latinLnBrk="1" hangingPunct="1">
              <a:lnSpc>
                <a:spcPct val="90000"/>
              </a:lnSpc>
              <a:spcBef>
                <a:spcPct val="0"/>
              </a:spcBef>
              <a:spcAft>
                <a:spcPts val="600"/>
              </a:spcAft>
              <a:buClrTx/>
              <a:buSzTx/>
              <a:buFontTx/>
              <a:buNone/>
              <a:tabLst/>
              <a:defRPr/>
            </a:pPr>
            <a:r>
              <a:rPr kumimoji="0" lang="en-US" altLang="ko-KR" sz="1100" b="0" i="0" u="none" strike="noStrike" kern="1200" cap="none" spc="0" normalizeH="0" baseline="0" noProof="0">
                <a:ln>
                  <a:noFill/>
                </a:ln>
                <a:solidFill>
                  <a:prstClr val="black"/>
                </a:solidFill>
                <a:effectLst/>
                <a:uLnTx/>
                <a:uFillTx/>
                <a:latin typeface="맑은 고딕" panose="020B0503020000020004" pitchFamily="34" charset="-127"/>
                <a:ea typeface="맑은 고딕" panose="020B0503020000020004" pitchFamily="34" charset="-127"/>
                <a:cs typeface="Segoe UI" pitchFamily="34" charset="0"/>
              </a:rPr>
              <a:t>Data-At-Rest Analysis</a:t>
            </a:r>
          </a:p>
          <a:p>
            <a:pPr marL="0" marR="0" lvl="0" indent="0" algn="l" defTabSz="913748" rtl="0" eaLnBrk="1" fontAlgn="base" latinLnBrk="1" hangingPunct="1">
              <a:lnSpc>
                <a:spcPct val="90000"/>
              </a:lnSpc>
              <a:spcBef>
                <a:spcPct val="0"/>
              </a:spcBef>
              <a:spcAft>
                <a:spcPts val="600"/>
              </a:spcAft>
              <a:buClrTx/>
              <a:buSzTx/>
              <a:buFontTx/>
              <a:buNone/>
              <a:tabLst/>
              <a:defRPr/>
            </a:pPr>
            <a:r>
              <a:rPr kumimoji="0" lang="en-US" altLang="ko-KR" sz="1100" b="0" i="0" u="none" strike="noStrike" kern="1200" cap="none" spc="0" normalizeH="0" baseline="0" noProof="0">
                <a:ln>
                  <a:noFill/>
                </a:ln>
                <a:solidFill>
                  <a:prstClr val="black"/>
                </a:solidFill>
                <a:effectLst/>
                <a:uLnTx/>
                <a:uFillTx/>
                <a:latin typeface="맑은 고딕" panose="020B0503020000020004" pitchFamily="34" charset="-127"/>
                <a:ea typeface="맑은 고딕" panose="020B0503020000020004" pitchFamily="34" charset="-127"/>
                <a:cs typeface="Segoe UI" pitchFamily="34" charset="0"/>
              </a:rPr>
              <a:t>Machine Learning (R)</a:t>
            </a:r>
          </a:p>
          <a:p>
            <a:pPr marL="0" marR="0" lvl="0" indent="0" algn="l" defTabSz="913748" rtl="0" eaLnBrk="1" fontAlgn="base" latinLnBrk="1" hangingPunct="1">
              <a:lnSpc>
                <a:spcPct val="90000"/>
              </a:lnSpc>
              <a:spcBef>
                <a:spcPct val="0"/>
              </a:spcBef>
              <a:spcAft>
                <a:spcPts val="600"/>
              </a:spcAft>
              <a:buClrTx/>
              <a:buSzTx/>
              <a:buFontTx/>
              <a:buNone/>
              <a:tabLst/>
              <a:defRPr/>
            </a:pPr>
            <a:r>
              <a:rPr kumimoji="0" lang="ko-KR" altLang="en-US" sz="1200" b="1" i="0" u="none" strike="noStrike" kern="1200" cap="none" spc="0" normalizeH="0" baseline="0" noProof="0">
                <a:ln>
                  <a:noFill/>
                </a:ln>
                <a:solidFill>
                  <a:prstClr val="black"/>
                </a:solidFill>
                <a:effectLst/>
                <a:uLnTx/>
                <a:uFillTx/>
                <a:latin typeface="맑은 고딕" panose="020B0503020000020004" pitchFamily="34" charset="-127"/>
                <a:ea typeface="맑은 고딕" panose="020B0503020000020004" pitchFamily="34" charset="-127"/>
                <a:cs typeface="Segoe UI" pitchFamily="34" charset="0"/>
              </a:rPr>
              <a:t>고급 분석</a:t>
            </a:r>
            <a:endParaRPr kumimoji="0" lang="en-US" sz="1200" b="1" i="0" u="none" strike="noStrike" kern="1200" cap="none" spc="0" normalizeH="0" baseline="0" noProof="0">
              <a:ln>
                <a:noFill/>
              </a:ln>
              <a:solidFill>
                <a:prstClr val="black"/>
              </a:solidFill>
              <a:effectLst/>
              <a:uLnTx/>
              <a:uFillTx/>
              <a:latin typeface="맑은 고딕" panose="020B0503020000020004" pitchFamily="34" charset="-127"/>
              <a:ea typeface="맑은 고딕" panose="020B0503020000020004" pitchFamily="34" charset="-127"/>
              <a:cs typeface="Segoe UI" pitchFamily="34" charset="0"/>
            </a:endParaRPr>
          </a:p>
        </p:txBody>
      </p:sp>
      <p:cxnSp>
        <p:nvCxnSpPr>
          <p:cNvPr id="86" name="Straight Arrow Connector 111"/>
          <p:cNvCxnSpPr/>
          <p:nvPr/>
        </p:nvCxnSpPr>
        <p:spPr>
          <a:xfrm>
            <a:off x="8577137" y="5313444"/>
            <a:ext cx="365760" cy="0"/>
          </a:xfrm>
          <a:prstGeom prst="straightConnector1">
            <a:avLst/>
          </a:prstGeom>
          <a:ln w="317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113"/>
          <p:cNvCxnSpPr/>
          <p:nvPr/>
        </p:nvCxnSpPr>
        <p:spPr>
          <a:xfrm>
            <a:off x="8577137" y="2807816"/>
            <a:ext cx="365760" cy="0"/>
          </a:xfrm>
          <a:prstGeom prst="straightConnector1">
            <a:avLst/>
          </a:prstGeom>
          <a:ln w="317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89" name="8"/>
          <p:cNvGrpSpPr/>
          <p:nvPr/>
        </p:nvGrpSpPr>
        <p:grpSpPr>
          <a:xfrm>
            <a:off x="8962250" y="2197446"/>
            <a:ext cx="2185582" cy="3976839"/>
            <a:chOff x="9715484" y="2009904"/>
            <a:chExt cx="2185582" cy="3976839"/>
          </a:xfrm>
        </p:grpSpPr>
        <p:sp>
          <p:nvSpPr>
            <p:cNvPr id="90" name="Rectangle 115"/>
            <p:cNvSpPr/>
            <p:nvPr/>
          </p:nvSpPr>
          <p:spPr bwMode="auto">
            <a:xfrm>
              <a:off x="9715484" y="2009904"/>
              <a:ext cx="2185582" cy="3976839"/>
            </a:xfrm>
            <a:prstGeom prst="rect">
              <a:avLst/>
            </a:prstGeom>
            <a:solidFill>
              <a:srgbClr val="FFFFFF">
                <a:alpha val="10196"/>
              </a:srgb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marL="0" marR="0" lvl="0" indent="0" algn="l" defTabSz="913748" rtl="0" eaLnBrk="1" fontAlgn="base" latinLnBrk="1" hangingPunct="1">
                <a:lnSpc>
                  <a:spcPct val="90000"/>
                </a:lnSpc>
                <a:spcBef>
                  <a:spcPct val="0"/>
                </a:spcBef>
                <a:spcAft>
                  <a:spcPts val="600"/>
                </a:spcAft>
                <a:buClrTx/>
                <a:buSzTx/>
                <a:buFontTx/>
                <a:buNone/>
                <a:tabLst/>
                <a:defRPr/>
              </a:pPr>
              <a:r>
                <a:rPr kumimoji="0" lang="ko-KR" altLang="en-US" sz="1100" b="0" i="0" u="none" strike="noStrike" kern="1200" cap="none" spc="0" normalizeH="0" baseline="0" noProof="0" dirty="0">
                  <a:ln>
                    <a:noFill/>
                  </a:ln>
                  <a:solidFill>
                    <a:prstClr val="black"/>
                  </a:solidFill>
                  <a:effectLst/>
                  <a:uLnTx/>
                  <a:uFillTx/>
                  <a:latin typeface="맑은 고딕" panose="020B0503020000020004" pitchFamily="34" charset="-127"/>
                  <a:ea typeface="맑은 고딕" panose="020B0503020000020004" pitchFamily="34" charset="-127"/>
                  <a:cs typeface="Segoe UI Black" panose="020B0A02040204020203" pitchFamily="34" charset="0"/>
                </a:rPr>
                <a:t>프레젠테이션 또는</a:t>
              </a:r>
              <a:endParaRPr kumimoji="0" lang="en-US" altLang="ko-KR" sz="1100" b="0" i="0" u="none" strike="noStrike" kern="1200" cap="none" spc="0" normalizeH="0" baseline="0" noProof="0" dirty="0">
                <a:ln>
                  <a:noFill/>
                </a:ln>
                <a:solidFill>
                  <a:prstClr val="black"/>
                </a:solidFill>
                <a:effectLst/>
                <a:uLnTx/>
                <a:uFillTx/>
                <a:latin typeface="맑은 고딕" panose="020B0503020000020004" pitchFamily="34" charset="-127"/>
                <a:ea typeface="맑은 고딕" panose="020B0503020000020004" pitchFamily="34" charset="-127"/>
                <a:cs typeface="Segoe UI Black" panose="020B0A02040204020203" pitchFamily="34" charset="0"/>
              </a:endParaRPr>
            </a:p>
            <a:p>
              <a:pPr marL="0" marR="0" lvl="0" indent="0" algn="l" defTabSz="913748" rtl="0" eaLnBrk="1" fontAlgn="base" latinLnBrk="1" hangingPunct="1">
                <a:lnSpc>
                  <a:spcPct val="90000"/>
                </a:lnSpc>
                <a:spcBef>
                  <a:spcPct val="0"/>
                </a:spcBef>
                <a:spcAft>
                  <a:spcPts val="600"/>
                </a:spcAft>
                <a:buClrTx/>
                <a:buSzTx/>
                <a:buFontTx/>
                <a:buNone/>
                <a:tabLst/>
                <a:defRPr/>
              </a:pPr>
              <a:r>
                <a:rPr kumimoji="0" lang="ko-KR" altLang="en-US" sz="1100" b="0" i="0" u="none" strike="noStrike" kern="1200" cap="none" spc="0" normalizeH="0" baseline="0" noProof="0" dirty="0">
                  <a:ln>
                    <a:noFill/>
                  </a:ln>
                  <a:solidFill>
                    <a:prstClr val="black"/>
                  </a:solidFill>
                  <a:effectLst/>
                  <a:uLnTx/>
                  <a:uFillTx/>
                  <a:latin typeface="맑은 고딕" panose="020B0503020000020004" pitchFamily="34" charset="-127"/>
                  <a:ea typeface="맑은 고딕" panose="020B0503020000020004" pitchFamily="34" charset="-127"/>
                  <a:cs typeface="Segoe UI Black" panose="020B0A02040204020203" pitchFamily="34" charset="0"/>
                </a:rPr>
                <a:t>비즈니스에 연결</a:t>
              </a:r>
              <a:endParaRPr kumimoji="0" lang="en-US" sz="1100" b="0" i="0" u="none" strike="noStrike" kern="1200" cap="none" spc="0" normalizeH="0" baseline="0" noProof="0" dirty="0">
                <a:ln>
                  <a:noFill/>
                </a:ln>
                <a:solidFill>
                  <a:prstClr val="black"/>
                </a:solidFill>
                <a:effectLst/>
                <a:uLnTx/>
                <a:uFillTx/>
                <a:latin typeface="맑은 고딕" panose="020B0503020000020004" pitchFamily="34" charset="-127"/>
                <a:ea typeface="맑은 고딕" panose="020B0503020000020004" pitchFamily="34" charset="-127"/>
                <a:cs typeface="Segoe UI Black" panose="020B0A02040204020203" pitchFamily="34" charset="0"/>
              </a:endParaRPr>
            </a:p>
            <a:p>
              <a:pPr marL="0" marR="0" lvl="0" indent="0" algn="l" defTabSz="913748" rtl="0" eaLnBrk="1" fontAlgn="base" latinLnBrk="1" hangingPunct="1">
                <a:lnSpc>
                  <a:spcPct val="90000"/>
                </a:lnSpc>
                <a:spcBef>
                  <a:spcPct val="0"/>
                </a:spcBef>
                <a:spcAft>
                  <a:spcPts val="60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맑은 고딕" panose="020B0503020000020004" pitchFamily="34" charset="-127"/>
                <a:ea typeface="맑은 고딕" panose="020B0503020000020004" pitchFamily="34" charset="-127"/>
                <a:cs typeface="Segoe UI" pitchFamily="34" charset="0"/>
              </a:endParaRPr>
            </a:p>
            <a:p>
              <a:pPr marL="0" marR="0" lvl="0" indent="0" algn="l" defTabSz="913748" rtl="0" eaLnBrk="1" fontAlgn="base" latinLnBrk="1" hangingPunct="1">
                <a:lnSpc>
                  <a:spcPct val="90000"/>
                </a:lnSpc>
                <a:spcBef>
                  <a:spcPct val="0"/>
                </a:spcBef>
                <a:spcAft>
                  <a:spcPts val="60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맑은 고딕" panose="020B0503020000020004" pitchFamily="34" charset="-127"/>
                <a:ea typeface="맑은 고딕" panose="020B0503020000020004" pitchFamily="34" charset="-127"/>
                <a:cs typeface="Segoe UI" pitchFamily="34" charset="0"/>
              </a:endParaRPr>
            </a:p>
            <a:p>
              <a:pPr marL="0" marR="0" lvl="0" indent="0" algn="l" defTabSz="913748" rtl="0" eaLnBrk="1" fontAlgn="base" latinLnBrk="1" hangingPunct="1">
                <a:lnSpc>
                  <a:spcPct val="90000"/>
                </a:lnSpc>
                <a:spcBef>
                  <a:spcPct val="0"/>
                </a:spcBef>
                <a:spcAft>
                  <a:spcPts val="60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맑은 고딕" panose="020B0503020000020004" pitchFamily="34" charset="-127"/>
                <a:ea typeface="맑은 고딕" panose="020B0503020000020004" pitchFamily="34" charset="-127"/>
                <a:cs typeface="Segoe UI" pitchFamily="34" charset="0"/>
              </a:endParaRPr>
            </a:p>
            <a:p>
              <a:pPr marL="0" marR="0" lvl="0" indent="0" algn="l" defTabSz="913748" rtl="0" eaLnBrk="1" fontAlgn="base" latinLnBrk="1" hangingPunct="1">
                <a:lnSpc>
                  <a:spcPct val="90000"/>
                </a:lnSpc>
                <a:spcBef>
                  <a:spcPct val="0"/>
                </a:spcBef>
                <a:spcAft>
                  <a:spcPts val="60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맑은 고딕" panose="020B0503020000020004" pitchFamily="34" charset="-127"/>
                <a:ea typeface="맑은 고딕" panose="020B0503020000020004" pitchFamily="34" charset="-127"/>
                <a:cs typeface="Segoe UI" pitchFamily="34" charset="0"/>
              </a:endParaRPr>
            </a:p>
            <a:p>
              <a:pPr marL="0" marR="0" lvl="0" indent="0" algn="l" defTabSz="913748" rtl="0" eaLnBrk="1" fontAlgn="base" latinLnBrk="1" hangingPunct="1">
                <a:lnSpc>
                  <a:spcPct val="90000"/>
                </a:lnSpc>
                <a:spcBef>
                  <a:spcPct val="0"/>
                </a:spcBef>
                <a:spcAft>
                  <a:spcPts val="60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맑은 고딕" panose="020B0503020000020004" pitchFamily="34" charset="-127"/>
                <a:ea typeface="맑은 고딕" panose="020B0503020000020004" pitchFamily="34" charset="-127"/>
                <a:cs typeface="Segoe UI" pitchFamily="34" charset="0"/>
              </a:endParaRPr>
            </a:p>
            <a:p>
              <a:pPr marL="0" marR="0" lvl="0" indent="0" algn="l" defTabSz="913748" rtl="0" eaLnBrk="1" fontAlgn="base" latinLnBrk="1" hangingPunct="1">
                <a:lnSpc>
                  <a:spcPct val="90000"/>
                </a:lnSpc>
                <a:spcBef>
                  <a:spcPct val="0"/>
                </a:spcBef>
                <a:spcAft>
                  <a:spcPts val="600"/>
                </a:spcAft>
                <a:buClrTx/>
                <a:buSzTx/>
                <a:buFontTx/>
                <a:buNone/>
                <a:tabLst/>
                <a:defRPr/>
              </a:pPr>
              <a:r>
                <a:rPr kumimoji="0" lang="ko-KR" altLang="en-US" sz="1100" b="0" i="0" u="none" strike="noStrike" kern="1200" cap="none" spc="0" normalizeH="0" baseline="0" noProof="0" dirty="0">
                  <a:ln>
                    <a:noFill/>
                  </a:ln>
                  <a:solidFill>
                    <a:prstClr val="black"/>
                  </a:solidFill>
                  <a:effectLst/>
                  <a:uLnTx/>
                  <a:uFillTx/>
                  <a:latin typeface="맑은 고딕" panose="020B0503020000020004" pitchFamily="34" charset="-127"/>
                  <a:ea typeface="맑은 고딕" panose="020B0503020000020004" pitchFamily="34" charset="-127"/>
                  <a:cs typeface="Segoe UI" pitchFamily="34" charset="0"/>
                </a:rPr>
                <a:t>앱 서비스 배포</a:t>
              </a:r>
              <a:r>
                <a:rPr kumimoji="0" lang="en-US" altLang="ko-KR" sz="1100" b="0" i="0" u="none" strike="noStrike" kern="1200" cap="none" spc="0" normalizeH="0" baseline="0" noProof="0" dirty="0">
                  <a:ln>
                    <a:noFill/>
                  </a:ln>
                  <a:solidFill>
                    <a:prstClr val="black"/>
                  </a:solidFill>
                  <a:effectLst/>
                  <a:uLnTx/>
                  <a:uFillTx/>
                  <a:latin typeface="맑은 고딕" panose="020B0503020000020004" pitchFamily="34" charset="-127"/>
                  <a:ea typeface="맑은 고딕" panose="020B0503020000020004" pitchFamily="34" charset="-127"/>
                  <a:cs typeface="Segoe UI" pitchFamily="34" charset="0"/>
                </a:rPr>
                <a:t>, </a:t>
              </a:r>
              <a:r>
                <a:rPr kumimoji="0" lang="ko-KR" altLang="en-US" sz="1100" b="0" i="0" u="none" strike="noStrike" kern="1200" cap="none" spc="0" normalizeH="0" baseline="0" noProof="0" dirty="0">
                  <a:ln>
                    <a:noFill/>
                  </a:ln>
                  <a:solidFill>
                    <a:prstClr val="black"/>
                  </a:solidFill>
                  <a:effectLst/>
                  <a:uLnTx/>
                  <a:uFillTx/>
                  <a:latin typeface="맑은 고딕" panose="020B0503020000020004" pitchFamily="34" charset="-127"/>
                  <a:ea typeface="맑은 고딕" panose="020B0503020000020004" pitchFamily="34" charset="-127"/>
                  <a:cs typeface="Segoe UI" pitchFamily="34" charset="0"/>
                </a:rPr>
                <a:t>웹 게시</a:t>
              </a:r>
              <a:endParaRPr kumimoji="0" lang="en-US" sz="1100" b="0" i="0" u="none" strike="noStrike" kern="1200" cap="none" spc="0" normalizeH="0" baseline="0" noProof="0" dirty="0">
                <a:ln>
                  <a:noFill/>
                </a:ln>
                <a:solidFill>
                  <a:prstClr val="black"/>
                </a:solidFill>
                <a:effectLst/>
                <a:uLnTx/>
                <a:uFillTx/>
                <a:latin typeface="맑은 고딕" panose="020B0503020000020004" pitchFamily="34" charset="-127"/>
                <a:ea typeface="맑은 고딕" panose="020B0503020000020004" pitchFamily="34" charset="-127"/>
                <a:cs typeface="Segoe UI" pitchFamily="34" charset="0"/>
              </a:endParaRPr>
            </a:p>
            <a:p>
              <a:pPr marL="0" marR="0" lvl="0" indent="0" algn="l" defTabSz="913748" rtl="0" eaLnBrk="1" fontAlgn="base" latinLnBrk="1" hangingPunct="1">
                <a:lnSpc>
                  <a:spcPct val="90000"/>
                </a:lnSpc>
                <a:spcBef>
                  <a:spcPct val="0"/>
                </a:spcBef>
                <a:spcAft>
                  <a:spcPts val="60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맑은 고딕" panose="020B0503020000020004" pitchFamily="34" charset="-127"/>
                <a:ea typeface="맑은 고딕" panose="020B0503020000020004" pitchFamily="34" charset="-127"/>
                <a:cs typeface="Segoe UI" pitchFamily="34" charset="0"/>
              </a:endParaRPr>
            </a:p>
            <a:p>
              <a:pPr marL="0" marR="0" lvl="0" indent="0" algn="l" defTabSz="913748" rtl="0" eaLnBrk="1" fontAlgn="base" latinLnBrk="1" hangingPunct="1">
                <a:lnSpc>
                  <a:spcPct val="90000"/>
                </a:lnSpc>
                <a:spcBef>
                  <a:spcPct val="0"/>
                </a:spcBef>
                <a:spcAft>
                  <a:spcPts val="60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맑은 고딕" panose="020B0503020000020004" pitchFamily="34" charset="-127"/>
                <a:ea typeface="맑은 고딕" panose="020B0503020000020004" pitchFamily="34" charset="-127"/>
                <a:cs typeface="Segoe UI" pitchFamily="34" charset="0"/>
              </a:endParaRPr>
            </a:p>
            <a:p>
              <a:pPr marL="0" marR="0" lvl="0" indent="0" algn="l" defTabSz="913748" rtl="0" eaLnBrk="1" fontAlgn="base" latinLnBrk="1" hangingPunct="1">
                <a:lnSpc>
                  <a:spcPct val="90000"/>
                </a:lnSpc>
                <a:spcBef>
                  <a:spcPct val="0"/>
                </a:spcBef>
                <a:spcAft>
                  <a:spcPts val="60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맑은 고딕" panose="020B0503020000020004" pitchFamily="34" charset="-127"/>
                <a:ea typeface="맑은 고딕" panose="020B0503020000020004" pitchFamily="34" charset="-127"/>
                <a:cs typeface="Segoe UI" pitchFamily="34" charset="0"/>
              </a:endParaRPr>
            </a:p>
            <a:p>
              <a:pPr marL="0" marR="0" lvl="0" indent="0" algn="l" defTabSz="913748" rtl="0" eaLnBrk="1" fontAlgn="base" latinLnBrk="1" hangingPunct="1">
                <a:lnSpc>
                  <a:spcPct val="90000"/>
                </a:lnSpc>
                <a:spcBef>
                  <a:spcPct val="0"/>
                </a:spcBef>
                <a:spcAft>
                  <a:spcPts val="60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맑은 고딕" panose="020B0503020000020004" pitchFamily="34" charset="-127"/>
                <a:ea typeface="맑은 고딕" panose="020B0503020000020004" pitchFamily="34" charset="-127"/>
                <a:cs typeface="Segoe UI" pitchFamily="34" charset="0"/>
              </a:endParaRPr>
            </a:p>
            <a:p>
              <a:pPr marL="0" marR="0" lvl="0" indent="0" algn="l" defTabSz="913748" rtl="0" eaLnBrk="1" fontAlgn="base" latinLnBrk="1" hangingPunct="1">
                <a:lnSpc>
                  <a:spcPct val="90000"/>
                </a:lnSpc>
                <a:spcBef>
                  <a:spcPct val="0"/>
                </a:spcBef>
                <a:spcAft>
                  <a:spcPts val="60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맑은 고딕" panose="020B0503020000020004" pitchFamily="34" charset="-127"/>
                  <a:ea typeface="맑은 고딕" panose="020B0503020000020004" pitchFamily="34" charset="-127"/>
                  <a:cs typeface="Segoe UI" pitchFamily="34" charset="0"/>
                </a:rPr>
                <a:t>CRM, ERP </a:t>
              </a:r>
              <a:r>
                <a:rPr kumimoji="0" lang="ko-KR" altLang="en-US" sz="1100" b="0" i="0" u="none" strike="noStrike" kern="1200" cap="none" spc="0" normalizeH="0" baseline="0" noProof="0" dirty="0">
                  <a:ln>
                    <a:noFill/>
                  </a:ln>
                  <a:solidFill>
                    <a:prstClr val="black"/>
                  </a:solidFill>
                  <a:effectLst/>
                  <a:uLnTx/>
                  <a:uFillTx/>
                  <a:latin typeface="맑은 고딕" panose="020B0503020000020004" pitchFamily="34" charset="-127"/>
                  <a:ea typeface="맑은 고딕" panose="020B0503020000020004" pitchFamily="34" charset="-127"/>
                  <a:cs typeface="Segoe UI" pitchFamily="34" charset="0"/>
                </a:rPr>
                <a:t>등 사내 시스템과의 연동 및 알림 제공</a:t>
              </a:r>
              <a:endParaRPr kumimoji="0" lang="en-US" sz="1100" b="0" i="0" u="none" strike="noStrike" kern="1200" cap="none" spc="0" normalizeH="0" baseline="0" noProof="0" dirty="0">
                <a:ln>
                  <a:noFill/>
                </a:ln>
                <a:solidFill>
                  <a:prstClr val="black"/>
                </a:solidFill>
                <a:effectLst/>
                <a:uLnTx/>
                <a:uFillTx/>
                <a:latin typeface="맑은 고딕" panose="020B0503020000020004" pitchFamily="34" charset="-127"/>
                <a:ea typeface="맑은 고딕" panose="020B0503020000020004" pitchFamily="34" charset="-127"/>
                <a:cs typeface="Segoe UI" pitchFamily="34" charset="0"/>
              </a:endParaRPr>
            </a:p>
          </p:txBody>
        </p:sp>
        <p:sp>
          <p:nvSpPr>
            <p:cNvPr id="91" name="Freeform 116"/>
            <p:cNvSpPr>
              <a:spLocks noChangeAspect="1" noEditPoints="1"/>
            </p:cNvSpPr>
            <p:nvPr/>
          </p:nvSpPr>
          <p:spPr bwMode="black">
            <a:xfrm>
              <a:off x="9964071" y="5057563"/>
              <a:ext cx="998284" cy="312942"/>
            </a:xfrm>
            <a:custGeom>
              <a:avLst/>
              <a:gdLst>
                <a:gd name="T0" fmla="*/ 1075 w 1264"/>
                <a:gd name="T1" fmla="*/ 202 h 394"/>
                <a:gd name="T2" fmla="*/ 1075 w 1264"/>
                <a:gd name="T3" fmla="*/ 243 h 394"/>
                <a:gd name="T4" fmla="*/ 595 w 1264"/>
                <a:gd name="T5" fmla="*/ 29 h 394"/>
                <a:gd name="T6" fmla="*/ 480 w 1264"/>
                <a:gd name="T7" fmla="*/ 29 h 394"/>
                <a:gd name="T8" fmla="*/ 486 w 1264"/>
                <a:gd name="T9" fmla="*/ 10 h 394"/>
                <a:gd name="T10" fmla="*/ 611 w 1264"/>
                <a:gd name="T11" fmla="*/ 10 h 394"/>
                <a:gd name="T12" fmla="*/ 677 w 1264"/>
                <a:gd name="T13" fmla="*/ 105 h 394"/>
                <a:gd name="T14" fmla="*/ 704 w 1264"/>
                <a:gd name="T15" fmla="*/ 74 h 394"/>
                <a:gd name="T16" fmla="*/ 827 w 1264"/>
                <a:gd name="T17" fmla="*/ 68 h 394"/>
                <a:gd name="T18" fmla="*/ 773 w 1264"/>
                <a:gd name="T19" fmla="*/ 51 h 394"/>
                <a:gd name="T20" fmla="*/ 827 w 1264"/>
                <a:gd name="T21" fmla="*/ 51 h 394"/>
                <a:gd name="T22" fmla="*/ 829 w 1264"/>
                <a:gd name="T23" fmla="*/ 104 h 394"/>
                <a:gd name="T24" fmla="*/ 905 w 1264"/>
                <a:gd name="T25" fmla="*/ 73 h 394"/>
                <a:gd name="T26" fmla="*/ 905 w 1264"/>
                <a:gd name="T27" fmla="*/ 132 h 394"/>
                <a:gd name="T28" fmla="*/ 943 w 1264"/>
                <a:gd name="T29" fmla="*/ 133 h 394"/>
                <a:gd name="T30" fmla="*/ 943 w 1264"/>
                <a:gd name="T31" fmla="*/ 79 h 394"/>
                <a:gd name="T32" fmla="*/ 965 w 1264"/>
                <a:gd name="T33" fmla="*/ 67 h 394"/>
                <a:gd name="T34" fmla="*/ 1118 w 1264"/>
                <a:gd name="T35" fmla="*/ 102 h 394"/>
                <a:gd name="T36" fmla="*/ 1069 w 1264"/>
                <a:gd name="T37" fmla="*/ 49 h 394"/>
                <a:gd name="T38" fmla="*/ 1043 w 1264"/>
                <a:gd name="T39" fmla="*/ 73 h 394"/>
                <a:gd name="T40" fmla="*/ 1185 w 1264"/>
                <a:gd name="T41" fmla="*/ 16 h 394"/>
                <a:gd name="T42" fmla="*/ 1157 w 1264"/>
                <a:gd name="T43" fmla="*/ 65 h 394"/>
                <a:gd name="T44" fmla="*/ 1140 w 1264"/>
                <a:gd name="T45" fmla="*/ 51 h 394"/>
                <a:gd name="T46" fmla="*/ 1241 w 1264"/>
                <a:gd name="T47" fmla="*/ 153 h 394"/>
                <a:gd name="T48" fmla="*/ 1198 w 1264"/>
                <a:gd name="T49" fmla="*/ 51 h 394"/>
                <a:gd name="T50" fmla="*/ 1215 w 1264"/>
                <a:gd name="T51" fmla="*/ 65 h 394"/>
                <a:gd name="T52" fmla="*/ 682 w 1264"/>
                <a:gd name="T53" fmla="*/ 243 h 394"/>
                <a:gd name="T54" fmla="*/ 617 w 1264"/>
                <a:gd name="T55" fmla="*/ 365 h 394"/>
                <a:gd name="T56" fmla="*/ 634 w 1264"/>
                <a:gd name="T57" fmla="*/ 330 h 394"/>
                <a:gd name="T58" fmla="*/ 763 w 1264"/>
                <a:gd name="T59" fmla="*/ 287 h 394"/>
                <a:gd name="T60" fmla="*/ 694 w 1264"/>
                <a:gd name="T61" fmla="*/ 243 h 394"/>
                <a:gd name="T62" fmla="*/ 779 w 1264"/>
                <a:gd name="T63" fmla="*/ 283 h 394"/>
                <a:gd name="T64" fmla="*/ 829 w 1264"/>
                <a:gd name="T65" fmla="*/ 349 h 394"/>
                <a:gd name="T66" fmla="*/ 807 w 1264"/>
                <a:gd name="T67" fmla="*/ 267 h 394"/>
                <a:gd name="T68" fmla="*/ 861 w 1264"/>
                <a:gd name="T69" fmla="*/ 294 h 394"/>
                <a:gd name="T70" fmla="*/ 853 w 1264"/>
                <a:gd name="T71" fmla="*/ 326 h 394"/>
                <a:gd name="T72" fmla="*/ 1027 w 1264"/>
                <a:gd name="T73" fmla="*/ 262 h 394"/>
                <a:gd name="T74" fmla="*/ 968 w 1264"/>
                <a:gd name="T75" fmla="*/ 285 h 394"/>
                <a:gd name="T76" fmla="*/ 903 w 1264"/>
                <a:gd name="T77" fmla="*/ 243 h 394"/>
                <a:gd name="T78" fmla="*/ 981 w 1264"/>
                <a:gd name="T79" fmla="*/ 262 h 394"/>
                <a:gd name="T80" fmla="*/ 1135 w 1264"/>
                <a:gd name="T81" fmla="*/ 342 h 394"/>
                <a:gd name="T82" fmla="*/ 1188 w 1264"/>
                <a:gd name="T83" fmla="*/ 263 h 394"/>
                <a:gd name="T84" fmla="*/ 1188 w 1264"/>
                <a:gd name="T85" fmla="*/ 326 h 394"/>
                <a:gd name="T86" fmla="*/ 1200 w 1264"/>
                <a:gd name="T87" fmla="*/ 325 h 394"/>
                <a:gd name="T88" fmla="*/ 1201 w 1264"/>
                <a:gd name="T89" fmla="*/ 271 h 394"/>
                <a:gd name="T90" fmla="*/ 1222 w 1264"/>
                <a:gd name="T91" fmla="*/ 259 h 394"/>
                <a:gd name="T92" fmla="*/ 660 w 1264"/>
                <a:gd name="T93" fmla="*/ 17 h 394"/>
                <a:gd name="T94" fmla="*/ 649 w 1264"/>
                <a:gd name="T95" fmla="*/ 7 h 394"/>
                <a:gd name="T96" fmla="*/ 657 w 1264"/>
                <a:gd name="T97" fmla="*/ 51 h 394"/>
                <a:gd name="T98" fmla="*/ 465 w 1264"/>
                <a:gd name="T99" fmla="*/ 346 h 394"/>
                <a:gd name="T100" fmla="*/ 482 w 1264"/>
                <a:gd name="T101" fmla="*/ 217 h 394"/>
                <a:gd name="T102" fmla="*/ 273 w 1264"/>
                <a:gd name="T103" fmla="*/ 67 h 394"/>
                <a:gd name="T104" fmla="*/ 269 w 1264"/>
                <a:gd name="T105" fmla="*/ 306 h 394"/>
                <a:gd name="T106" fmla="*/ 308 w 1264"/>
                <a:gd name="T107" fmla="*/ 172 h 394"/>
                <a:gd name="T108" fmla="*/ 2 w 1264"/>
                <a:gd name="T109" fmla="*/ 348 h 394"/>
                <a:gd name="T110" fmla="*/ 180 w 1264"/>
                <a:gd name="T111" fmla="*/ 10 h 394"/>
                <a:gd name="T112" fmla="*/ 119 w 1264"/>
                <a:gd name="T113" fmla="*/ 154 h 394"/>
                <a:gd name="T114" fmla="*/ 180 w 1264"/>
                <a:gd name="T115" fmla="*/ 1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64" h="394">
                  <a:moveTo>
                    <a:pt x="1094" y="209"/>
                  </a:moveTo>
                  <a:cubicBezTo>
                    <a:pt x="1094" y="213"/>
                    <a:pt x="1093" y="215"/>
                    <a:pt x="1091" y="217"/>
                  </a:cubicBezTo>
                  <a:cubicBezTo>
                    <a:pt x="1089" y="219"/>
                    <a:pt x="1086" y="220"/>
                    <a:pt x="1083" y="220"/>
                  </a:cubicBezTo>
                  <a:cubicBezTo>
                    <a:pt x="1080" y="220"/>
                    <a:pt x="1077" y="219"/>
                    <a:pt x="1075" y="217"/>
                  </a:cubicBezTo>
                  <a:cubicBezTo>
                    <a:pt x="1073" y="215"/>
                    <a:pt x="1072" y="213"/>
                    <a:pt x="1072" y="209"/>
                  </a:cubicBezTo>
                  <a:cubicBezTo>
                    <a:pt x="1072" y="207"/>
                    <a:pt x="1073" y="204"/>
                    <a:pt x="1075" y="202"/>
                  </a:cubicBezTo>
                  <a:cubicBezTo>
                    <a:pt x="1077" y="200"/>
                    <a:pt x="1080" y="199"/>
                    <a:pt x="1083" y="199"/>
                  </a:cubicBezTo>
                  <a:cubicBezTo>
                    <a:pt x="1086" y="199"/>
                    <a:pt x="1089" y="200"/>
                    <a:pt x="1091" y="202"/>
                  </a:cubicBezTo>
                  <a:cubicBezTo>
                    <a:pt x="1093" y="204"/>
                    <a:pt x="1094" y="207"/>
                    <a:pt x="1094" y="209"/>
                  </a:cubicBezTo>
                  <a:close/>
                  <a:moveTo>
                    <a:pt x="1091" y="346"/>
                  </a:moveTo>
                  <a:cubicBezTo>
                    <a:pt x="1075" y="346"/>
                    <a:pt x="1075" y="346"/>
                    <a:pt x="1075" y="346"/>
                  </a:cubicBezTo>
                  <a:cubicBezTo>
                    <a:pt x="1075" y="243"/>
                    <a:pt x="1075" y="243"/>
                    <a:pt x="1075" y="243"/>
                  </a:cubicBezTo>
                  <a:cubicBezTo>
                    <a:pt x="1091" y="243"/>
                    <a:pt x="1091" y="243"/>
                    <a:pt x="1091" y="243"/>
                  </a:cubicBezTo>
                  <a:lnTo>
                    <a:pt x="1091" y="346"/>
                  </a:lnTo>
                  <a:close/>
                  <a:moveTo>
                    <a:pt x="611" y="154"/>
                  </a:moveTo>
                  <a:cubicBezTo>
                    <a:pt x="594" y="154"/>
                    <a:pt x="594" y="154"/>
                    <a:pt x="594" y="154"/>
                  </a:cubicBezTo>
                  <a:cubicBezTo>
                    <a:pt x="594" y="57"/>
                    <a:pt x="594" y="57"/>
                    <a:pt x="594" y="57"/>
                  </a:cubicBezTo>
                  <a:cubicBezTo>
                    <a:pt x="594" y="50"/>
                    <a:pt x="594" y="40"/>
                    <a:pt x="595" y="29"/>
                  </a:cubicBezTo>
                  <a:cubicBezTo>
                    <a:pt x="595" y="29"/>
                    <a:pt x="595" y="29"/>
                    <a:pt x="595" y="29"/>
                  </a:cubicBezTo>
                  <a:cubicBezTo>
                    <a:pt x="593" y="36"/>
                    <a:pt x="592" y="41"/>
                    <a:pt x="590" y="43"/>
                  </a:cubicBezTo>
                  <a:cubicBezTo>
                    <a:pt x="541" y="154"/>
                    <a:pt x="541" y="154"/>
                    <a:pt x="541" y="154"/>
                  </a:cubicBezTo>
                  <a:cubicBezTo>
                    <a:pt x="533" y="154"/>
                    <a:pt x="533" y="154"/>
                    <a:pt x="533" y="154"/>
                  </a:cubicBezTo>
                  <a:cubicBezTo>
                    <a:pt x="484" y="44"/>
                    <a:pt x="484" y="44"/>
                    <a:pt x="484" y="44"/>
                  </a:cubicBezTo>
                  <a:cubicBezTo>
                    <a:pt x="483" y="41"/>
                    <a:pt x="481" y="36"/>
                    <a:pt x="480" y="29"/>
                  </a:cubicBezTo>
                  <a:cubicBezTo>
                    <a:pt x="479" y="29"/>
                    <a:pt x="479" y="29"/>
                    <a:pt x="479" y="29"/>
                  </a:cubicBezTo>
                  <a:cubicBezTo>
                    <a:pt x="480" y="35"/>
                    <a:pt x="480" y="45"/>
                    <a:pt x="480" y="58"/>
                  </a:cubicBezTo>
                  <a:cubicBezTo>
                    <a:pt x="480" y="154"/>
                    <a:pt x="480" y="154"/>
                    <a:pt x="480" y="154"/>
                  </a:cubicBezTo>
                  <a:cubicBezTo>
                    <a:pt x="464" y="154"/>
                    <a:pt x="464" y="154"/>
                    <a:pt x="464" y="154"/>
                  </a:cubicBezTo>
                  <a:cubicBezTo>
                    <a:pt x="464" y="10"/>
                    <a:pt x="464" y="10"/>
                    <a:pt x="464" y="10"/>
                  </a:cubicBezTo>
                  <a:cubicBezTo>
                    <a:pt x="486" y="10"/>
                    <a:pt x="486" y="10"/>
                    <a:pt x="486" y="10"/>
                  </a:cubicBezTo>
                  <a:cubicBezTo>
                    <a:pt x="530" y="110"/>
                    <a:pt x="530" y="110"/>
                    <a:pt x="530" y="110"/>
                  </a:cubicBezTo>
                  <a:cubicBezTo>
                    <a:pt x="534" y="118"/>
                    <a:pt x="536" y="124"/>
                    <a:pt x="537" y="128"/>
                  </a:cubicBezTo>
                  <a:cubicBezTo>
                    <a:pt x="537" y="128"/>
                    <a:pt x="537" y="128"/>
                    <a:pt x="537" y="128"/>
                  </a:cubicBezTo>
                  <a:cubicBezTo>
                    <a:pt x="541" y="119"/>
                    <a:pt x="543" y="113"/>
                    <a:pt x="544" y="110"/>
                  </a:cubicBezTo>
                  <a:cubicBezTo>
                    <a:pt x="589" y="10"/>
                    <a:pt x="589" y="10"/>
                    <a:pt x="589" y="10"/>
                  </a:cubicBezTo>
                  <a:cubicBezTo>
                    <a:pt x="611" y="10"/>
                    <a:pt x="611" y="10"/>
                    <a:pt x="611" y="10"/>
                  </a:cubicBezTo>
                  <a:lnTo>
                    <a:pt x="611" y="154"/>
                  </a:lnTo>
                  <a:close/>
                  <a:moveTo>
                    <a:pt x="754" y="149"/>
                  </a:moveTo>
                  <a:cubicBezTo>
                    <a:pt x="746" y="154"/>
                    <a:pt x="737" y="157"/>
                    <a:pt x="726" y="157"/>
                  </a:cubicBezTo>
                  <a:cubicBezTo>
                    <a:pt x="717" y="157"/>
                    <a:pt x="708" y="154"/>
                    <a:pt x="701" y="150"/>
                  </a:cubicBezTo>
                  <a:cubicBezTo>
                    <a:pt x="693" y="146"/>
                    <a:pt x="687" y="140"/>
                    <a:pt x="683" y="132"/>
                  </a:cubicBezTo>
                  <a:cubicBezTo>
                    <a:pt x="679" y="124"/>
                    <a:pt x="677" y="115"/>
                    <a:pt x="677" y="105"/>
                  </a:cubicBezTo>
                  <a:cubicBezTo>
                    <a:pt x="677" y="88"/>
                    <a:pt x="682" y="75"/>
                    <a:pt x="692" y="64"/>
                  </a:cubicBezTo>
                  <a:cubicBezTo>
                    <a:pt x="701" y="54"/>
                    <a:pt x="714" y="49"/>
                    <a:pt x="731" y="49"/>
                  </a:cubicBezTo>
                  <a:cubicBezTo>
                    <a:pt x="740" y="49"/>
                    <a:pt x="747" y="50"/>
                    <a:pt x="754" y="54"/>
                  </a:cubicBezTo>
                  <a:cubicBezTo>
                    <a:pt x="754" y="71"/>
                    <a:pt x="754" y="71"/>
                    <a:pt x="754" y="71"/>
                  </a:cubicBezTo>
                  <a:cubicBezTo>
                    <a:pt x="747" y="65"/>
                    <a:pt x="738" y="63"/>
                    <a:pt x="730" y="63"/>
                  </a:cubicBezTo>
                  <a:cubicBezTo>
                    <a:pt x="719" y="63"/>
                    <a:pt x="711" y="67"/>
                    <a:pt x="704" y="74"/>
                  </a:cubicBezTo>
                  <a:cubicBezTo>
                    <a:pt x="697" y="82"/>
                    <a:pt x="694" y="92"/>
                    <a:pt x="694" y="104"/>
                  </a:cubicBezTo>
                  <a:cubicBezTo>
                    <a:pt x="694" y="116"/>
                    <a:pt x="697" y="125"/>
                    <a:pt x="703" y="132"/>
                  </a:cubicBezTo>
                  <a:cubicBezTo>
                    <a:pt x="710" y="139"/>
                    <a:pt x="718" y="143"/>
                    <a:pt x="729" y="143"/>
                  </a:cubicBezTo>
                  <a:cubicBezTo>
                    <a:pt x="738" y="143"/>
                    <a:pt x="746" y="140"/>
                    <a:pt x="754" y="134"/>
                  </a:cubicBezTo>
                  <a:lnTo>
                    <a:pt x="754" y="149"/>
                  </a:lnTo>
                  <a:close/>
                  <a:moveTo>
                    <a:pt x="827" y="68"/>
                  </a:moveTo>
                  <a:cubicBezTo>
                    <a:pt x="824" y="66"/>
                    <a:pt x="820" y="65"/>
                    <a:pt x="815" y="65"/>
                  </a:cubicBezTo>
                  <a:cubicBezTo>
                    <a:pt x="807" y="65"/>
                    <a:pt x="801" y="68"/>
                    <a:pt x="797" y="75"/>
                  </a:cubicBezTo>
                  <a:cubicBezTo>
                    <a:pt x="792" y="82"/>
                    <a:pt x="790" y="91"/>
                    <a:pt x="790" y="102"/>
                  </a:cubicBezTo>
                  <a:cubicBezTo>
                    <a:pt x="790" y="154"/>
                    <a:pt x="790" y="154"/>
                    <a:pt x="790" y="154"/>
                  </a:cubicBezTo>
                  <a:cubicBezTo>
                    <a:pt x="773" y="154"/>
                    <a:pt x="773" y="154"/>
                    <a:pt x="773" y="154"/>
                  </a:cubicBezTo>
                  <a:cubicBezTo>
                    <a:pt x="773" y="51"/>
                    <a:pt x="773" y="51"/>
                    <a:pt x="773" y="51"/>
                  </a:cubicBezTo>
                  <a:cubicBezTo>
                    <a:pt x="790" y="51"/>
                    <a:pt x="790" y="51"/>
                    <a:pt x="790" y="51"/>
                  </a:cubicBezTo>
                  <a:cubicBezTo>
                    <a:pt x="790" y="72"/>
                    <a:pt x="790" y="72"/>
                    <a:pt x="790" y="72"/>
                  </a:cubicBezTo>
                  <a:cubicBezTo>
                    <a:pt x="790" y="72"/>
                    <a:pt x="790" y="72"/>
                    <a:pt x="790" y="72"/>
                  </a:cubicBezTo>
                  <a:cubicBezTo>
                    <a:pt x="793" y="65"/>
                    <a:pt x="796" y="60"/>
                    <a:pt x="801" y="56"/>
                  </a:cubicBezTo>
                  <a:cubicBezTo>
                    <a:pt x="806" y="52"/>
                    <a:pt x="811" y="49"/>
                    <a:pt x="817" y="49"/>
                  </a:cubicBezTo>
                  <a:cubicBezTo>
                    <a:pt x="822" y="49"/>
                    <a:pt x="825" y="50"/>
                    <a:pt x="827" y="51"/>
                  </a:cubicBezTo>
                  <a:lnTo>
                    <a:pt x="827" y="68"/>
                  </a:lnTo>
                  <a:close/>
                  <a:moveTo>
                    <a:pt x="930" y="102"/>
                  </a:moveTo>
                  <a:cubicBezTo>
                    <a:pt x="930" y="119"/>
                    <a:pt x="926" y="132"/>
                    <a:pt x="916" y="142"/>
                  </a:cubicBezTo>
                  <a:cubicBezTo>
                    <a:pt x="907" y="152"/>
                    <a:pt x="895" y="157"/>
                    <a:pt x="879" y="157"/>
                  </a:cubicBezTo>
                  <a:cubicBezTo>
                    <a:pt x="864" y="157"/>
                    <a:pt x="852" y="152"/>
                    <a:pt x="843" y="142"/>
                  </a:cubicBezTo>
                  <a:cubicBezTo>
                    <a:pt x="833" y="132"/>
                    <a:pt x="829" y="120"/>
                    <a:pt x="829" y="104"/>
                  </a:cubicBezTo>
                  <a:cubicBezTo>
                    <a:pt x="829" y="87"/>
                    <a:pt x="834" y="73"/>
                    <a:pt x="843" y="64"/>
                  </a:cubicBezTo>
                  <a:cubicBezTo>
                    <a:pt x="852" y="54"/>
                    <a:pt x="865" y="49"/>
                    <a:pt x="881" y="49"/>
                  </a:cubicBezTo>
                  <a:cubicBezTo>
                    <a:pt x="897" y="49"/>
                    <a:pt x="909" y="54"/>
                    <a:pt x="917" y="63"/>
                  </a:cubicBezTo>
                  <a:cubicBezTo>
                    <a:pt x="926" y="73"/>
                    <a:pt x="930" y="86"/>
                    <a:pt x="930" y="102"/>
                  </a:cubicBezTo>
                  <a:close/>
                  <a:moveTo>
                    <a:pt x="913" y="103"/>
                  </a:moveTo>
                  <a:cubicBezTo>
                    <a:pt x="913" y="90"/>
                    <a:pt x="910" y="80"/>
                    <a:pt x="905" y="73"/>
                  </a:cubicBezTo>
                  <a:cubicBezTo>
                    <a:pt x="899" y="66"/>
                    <a:pt x="891" y="63"/>
                    <a:pt x="880" y="63"/>
                  </a:cubicBezTo>
                  <a:cubicBezTo>
                    <a:pt x="870" y="63"/>
                    <a:pt x="861" y="66"/>
                    <a:pt x="855" y="73"/>
                  </a:cubicBezTo>
                  <a:cubicBezTo>
                    <a:pt x="849" y="80"/>
                    <a:pt x="846" y="90"/>
                    <a:pt x="846" y="103"/>
                  </a:cubicBezTo>
                  <a:cubicBezTo>
                    <a:pt x="846" y="116"/>
                    <a:pt x="849" y="125"/>
                    <a:pt x="855" y="132"/>
                  </a:cubicBezTo>
                  <a:cubicBezTo>
                    <a:pt x="861" y="139"/>
                    <a:pt x="870" y="143"/>
                    <a:pt x="880" y="143"/>
                  </a:cubicBezTo>
                  <a:cubicBezTo>
                    <a:pt x="891" y="143"/>
                    <a:pt x="899" y="139"/>
                    <a:pt x="905" y="132"/>
                  </a:cubicBezTo>
                  <a:cubicBezTo>
                    <a:pt x="910" y="125"/>
                    <a:pt x="913" y="116"/>
                    <a:pt x="913" y="103"/>
                  </a:cubicBezTo>
                  <a:close/>
                  <a:moveTo>
                    <a:pt x="1006" y="127"/>
                  </a:moveTo>
                  <a:cubicBezTo>
                    <a:pt x="1006" y="135"/>
                    <a:pt x="1003" y="143"/>
                    <a:pt x="996" y="148"/>
                  </a:cubicBezTo>
                  <a:cubicBezTo>
                    <a:pt x="989" y="154"/>
                    <a:pt x="980" y="157"/>
                    <a:pt x="969" y="157"/>
                  </a:cubicBezTo>
                  <a:cubicBezTo>
                    <a:pt x="959" y="157"/>
                    <a:pt x="950" y="154"/>
                    <a:pt x="943" y="150"/>
                  </a:cubicBezTo>
                  <a:cubicBezTo>
                    <a:pt x="943" y="133"/>
                    <a:pt x="943" y="133"/>
                    <a:pt x="943" y="133"/>
                  </a:cubicBezTo>
                  <a:cubicBezTo>
                    <a:pt x="951" y="139"/>
                    <a:pt x="960" y="143"/>
                    <a:pt x="970" y="143"/>
                  </a:cubicBezTo>
                  <a:cubicBezTo>
                    <a:pt x="983" y="143"/>
                    <a:pt x="989" y="138"/>
                    <a:pt x="989" y="128"/>
                  </a:cubicBezTo>
                  <a:cubicBezTo>
                    <a:pt x="989" y="124"/>
                    <a:pt x="988" y="121"/>
                    <a:pt x="986" y="119"/>
                  </a:cubicBezTo>
                  <a:cubicBezTo>
                    <a:pt x="983" y="116"/>
                    <a:pt x="977" y="113"/>
                    <a:pt x="968" y="109"/>
                  </a:cubicBezTo>
                  <a:cubicBezTo>
                    <a:pt x="959" y="105"/>
                    <a:pt x="953" y="101"/>
                    <a:pt x="949" y="96"/>
                  </a:cubicBezTo>
                  <a:cubicBezTo>
                    <a:pt x="945" y="92"/>
                    <a:pt x="943" y="86"/>
                    <a:pt x="943" y="79"/>
                  </a:cubicBezTo>
                  <a:cubicBezTo>
                    <a:pt x="943" y="70"/>
                    <a:pt x="947" y="63"/>
                    <a:pt x="954" y="57"/>
                  </a:cubicBezTo>
                  <a:cubicBezTo>
                    <a:pt x="960" y="52"/>
                    <a:pt x="969" y="49"/>
                    <a:pt x="980" y="49"/>
                  </a:cubicBezTo>
                  <a:cubicBezTo>
                    <a:pt x="988" y="49"/>
                    <a:pt x="995" y="50"/>
                    <a:pt x="1002" y="54"/>
                  </a:cubicBezTo>
                  <a:cubicBezTo>
                    <a:pt x="1002" y="70"/>
                    <a:pt x="1002" y="70"/>
                    <a:pt x="1002" y="70"/>
                  </a:cubicBezTo>
                  <a:cubicBezTo>
                    <a:pt x="995" y="65"/>
                    <a:pt x="987" y="63"/>
                    <a:pt x="978" y="63"/>
                  </a:cubicBezTo>
                  <a:cubicBezTo>
                    <a:pt x="973" y="63"/>
                    <a:pt x="968" y="64"/>
                    <a:pt x="965" y="67"/>
                  </a:cubicBezTo>
                  <a:cubicBezTo>
                    <a:pt x="962" y="69"/>
                    <a:pt x="960" y="73"/>
                    <a:pt x="960" y="77"/>
                  </a:cubicBezTo>
                  <a:cubicBezTo>
                    <a:pt x="960" y="82"/>
                    <a:pt x="961" y="85"/>
                    <a:pt x="964" y="88"/>
                  </a:cubicBezTo>
                  <a:cubicBezTo>
                    <a:pt x="966" y="90"/>
                    <a:pt x="972" y="93"/>
                    <a:pt x="980" y="96"/>
                  </a:cubicBezTo>
                  <a:cubicBezTo>
                    <a:pt x="989" y="100"/>
                    <a:pt x="996" y="105"/>
                    <a:pt x="1000" y="109"/>
                  </a:cubicBezTo>
                  <a:cubicBezTo>
                    <a:pt x="1004" y="114"/>
                    <a:pt x="1006" y="120"/>
                    <a:pt x="1006" y="127"/>
                  </a:cubicBezTo>
                  <a:close/>
                  <a:moveTo>
                    <a:pt x="1118" y="102"/>
                  </a:moveTo>
                  <a:cubicBezTo>
                    <a:pt x="1118" y="119"/>
                    <a:pt x="1113" y="132"/>
                    <a:pt x="1104" y="142"/>
                  </a:cubicBezTo>
                  <a:cubicBezTo>
                    <a:pt x="1095" y="152"/>
                    <a:pt x="1083" y="157"/>
                    <a:pt x="1067" y="157"/>
                  </a:cubicBezTo>
                  <a:cubicBezTo>
                    <a:pt x="1052" y="157"/>
                    <a:pt x="1040" y="152"/>
                    <a:pt x="1031" y="142"/>
                  </a:cubicBezTo>
                  <a:cubicBezTo>
                    <a:pt x="1021" y="132"/>
                    <a:pt x="1017" y="120"/>
                    <a:pt x="1017" y="104"/>
                  </a:cubicBezTo>
                  <a:cubicBezTo>
                    <a:pt x="1017" y="87"/>
                    <a:pt x="1022" y="73"/>
                    <a:pt x="1031" y="64"/>
                  </a:cubicBezTo>
                  <a:cubicBezTo>
                    <a:pt x="1040" y="54"/>
                    <a:pt x="1053" y="49"/>
                    <a:pt x="1069" y="49"/>
                  </a:cubicBezTo>
                  <a:cubicBezTo>
                    <a:pt x="1085" y="49"/>
                    <a:pt x="1097" y="54"/>
                    <a:pt x="1105" y="63"/>
                  </a:cubicBezTo>
                  <a:cubicBezTo>
                    <a:pt x="1114" y="73"/>
                    <a:pt x="1118" y="86"/>
                    <a:pt x="1118" y="102"/>
                  </a:cubicBezTo>
                  <a:close/>
                  <a:moveTo>
                    <a:pt x="1101" y="103"/>
                  </a:moveTo>
                  <a:cubicBezTo>
                    <a:pt x="1101" y="90"/>
                    <a:pt x="1098" y="80"/>
                    <a:pt x="1093" y="73"/>
                  </a:cubicBezTo>
                  <a:cubicBezTo>
                    <a:pt x="1087" y="66"/>
                    <a:pt x="1079" y="63"/>
                    <a:pt x="1068" y="63"/>
                  </a:cubicBezTo>
                  <a:cubicBezTo>
                    <a:pt x="1058" y="63"/>
                    <a:pt x="1049" y="66"/>
                    <a:pt x="1043" y="73"/>
                  </a:cubicBezTo>
                  <a:cubicBezTo>
                    <a:pt x="1037" y="80"/>
                    <a:pt x="1034" y="90"/>
                    <a:pt x="1034" y="103"/>
                  </a:cubicBezTo>
                  <a:cubicBezTo>
                    <a:pt x="1034" y="116"/>
                    <a:pt x="1037" y="125"/>
                    <a:pt x="1043" y="132"/>
                  </a:cubicBezTo>
                  <a:cubicBezTo>
                    <a:pt x="1049" y="139"/>
                    <a:pt x="1058" y="143"/>
                    <a:pt x="1068" y="143"/>
                  </a:cubicBezTo>
                  <a:cubicBezTo>
                    <a:pt x="1079" y="143"/>
                    <a:pt x="1087" y="139"/>
                    <a:pt x="1093" y="132"/>
                  </a:cubicBezTo>
                  <a:cubicBezTo>
                    <a:pt x="1098" y="125"/>
                    <a:pt x="1101" y="116"/>
                    <a:pt x="1101" y="103"/>
                  </a:cubicBezTo>
                  <a:close/>
                  <a:moveTo>
                    <a:pt x="1185" y="16"/>
                  </a:moveTo>
                  <a:cubicBezTo>
                    <a:pt x="1182" y="15"/>
                    <a:pt x="1178" y="14"/>
                    <a:pt x="1174" y="14"/>
                  </a:cubicBezTo>
                  <a:cubicBezTo>
                    <a:pt x="1163" y="14"/>
                    <a:pt x="1157" y="21"/>
                    <a:pt x="1157" y="35"/>
                  </a:cubicBezTo>
                  <a:cubicBezTo>
                    <a:pt x="1157" y="51"/>
                    <a:pt x="1157" y="51"/>
                    <a:pt x="1157" y="51"/>
                  </a:cubicBezTo>
                  <a:cubicBezTo>
                    <a:pt x="1181" y="51"/>
                    <a:pt x="1181" y="51"/>
                    <a:pt x="1181" y="51"/>
                  </a:cubicBezTo>
                  <a:cubicBezTo>
                    <a:pt x="1181" y="65"/>
                    <a:pt x="1181" y="65"/>
                    <a:pt x="1181" y="65"/>
                  </a:cubicBezTo>
                  <a:cubicBezTo>
                    <a:pt x="1157" y="65"/>
                    <a:pt x="1157" y="65"/>
                    <a:pt x="1157" y="65"/>
                  </a:cubicBezTo>
                  <a:cubicBezTo>
                    <a:pt x="1157" y="154"/>
                    <a:pt x="1157" y="154"/>
                    <a:pt x="1157" y="154"/>
                  </a:cubicBezTo>
                  <a:cubicBezTo>
                    <a:pt x="1140" y="154"/>
                    <a:pt x="1140" y="154"/>
                    <a:pt x="1140" y="154"/>
                  </a:cubicBezTo>
                  <a:cubicBezTo>
                    <a:pt x="1140" y="65"/>
                    <a:pt x="1140" y="65"/>
                    <a:pt x="1140" y="65"/>
                  </a:cubicBezTo>
                  <a:cubicBezTo>
                    <a:pt x="1123" y="65"/>
                    <a:pt x="1123" y="65"/>
                    <a:pt x="1123" y="65"/>
                  </a:cubicBezTo>
                  <a:cubicBezTo>
                    <a:pt x="1123" y="51"/>
                    <a:pt x="1123" y="51"/>
                    <a:pt x="1123" y="51"/>
                  </a:cubicBezTo>
                  <a:cubicBezTo>
                    <a:pt x="1140" y="51"/>
                    <a:pt x="1140" y="51"/>
                    <a:pt x="1140" y="51"/>
                  </a:cubicBezTo>
                  <a:cubicBezTo>
                    <a:pt x="1140" y="35"/>
                    <a:pt x="1140" y="35"/>
                    <a:pt x="1140" y="35"/>
                  </a:cubicBezTo>
                  <a:cubicBezTo>
                    <a:pt x="1140" y="24"/>
                    <a:pt x="1144" y="16"/>
                    <a:pt x="1150" y="9"/>
                  </a:cubicBezTo>
                  <a:cubicBezTo>
                    <a:pt x="1156" y="3"/>
                    <a:pt x="1164" y="0"/>
                    <a:pt x="1173" y="0"/>
                  </a:cubicBezTo>
                  <a:cubicBezTo>
                    <a:pt x="1178" y="0"/>
                    <a:pt x="1182" y="0"/>
                    <a:pt x="1185" y="1"/>
                  </a:cubicBezTo>
                  <a:lnTo>
                    <a:pt x="1185" y="16"/>
                  </a:lnTo>
                  <a:close/>
                  <a:moveTo>
                    <a:pt x="1241" y="153"/>
                  </a:moveTo>
                  <a:cubicBezTo>
                    <a:pt x="1237" y="155"/>
                    <a:pt x="1232" y="156"/>
                    <a:pt x="1225" y="156"/>
                  </a:cubicBezTo>
                  <a:cubicBezTo>
                    <a:pt x="1207" y="156"/>
                    <a:pt x="1198" y="146"/>
                    <a:pt x="1198" y="126"/>
                  </a:cubicBezTo>
                  <a:cubicBezTo>
                    <a:pt x="1198" y="65"/>
                    <a:pt x="1198" y="65"/>
                    <a:pt x="1198" y="65"/>
                  </a:cubicBezTo>
                  <a:cubicBezTo>
                    <a:pt x="1181" y="65"/>
                    <a:pt x="1181" y="65"/>
                    <a:pt x="1181" y="65"/>
                  </a:cubicBezTo>
                  <a:cubicBezTo>
                    <a:pt x="1181" y="51"/>
                    <a:pt x="1181" y="51"/>
                    <a:pt x="1181" y="51"/>
                  </a:cubicBezTo>
                  <a:cubicBezTo>
                    <a:pt x="1198" y="51"/>
                    <a:pt x="1198" y="51"/>
                    <a:pt x="1198" y="51"/>
                  </a:cubicBezTo>
                  <a:cubicBezTo>
                    <a:pt x="1198" y="26"/>
                    <a:pt x="1198" y="26"/>
                    <a:pt x="1198" y="26"/>
                  </a:cubicBezTo>
                  <a:cubicBezTo>
                    <a:pt x="1215" y="21"/>
                    <a:pt x="1215" y="21"/>
                    <a:pt x="1215" y="21"/>
                  </a:cubicBezTo>
                  <a:cubicBezTo>
                    <a:pt x="1215" y="51"/>
                    <a:pt x="1215" y="51"/>
                    <a:pt x="1215" y="51"/>
                  </a:cubicBezTo>
                  <a:cubicBezTo>
                    <a:pt x="1241" y="51"/>
                    <a:pt x="1241" y="51"/>
                    <a:pt x="1241" y="51"/>
                  </a:cubicBezTo>
                  <a:cubicBezTo>
                    <a:pt x="1241" y="65"/>
                    <a:pt x="1241" y="65"/>
                    <a:pt x="1241" y="65"/>
                  </a:cubicBezTo>
                  <a:cubicBezTo>
                    <a:pt x="1215" y="65"/>
                    <a:pt x="1215" y="65"/>
                    <a:pt x="1215" y="65"/>
                  </a:cubicBezTo>
                  <a:cubicBezTo>
                    <a:pt x="1215" y="123"/>
                    <a:pt x="1215" y="123"/>
                    <a:pt x="1215" y="123"/>
                  </a:cubicBezTo>
                  <a:cubicBezTo>
                    <a:pt x="1215" y="130"/>
                    <a:pt x="1216" y="135"/>
                    <a:pt x="1218" y="138"/>
                  </a:cubicBezTo>
                  <a:cubicBezTo>
                    <a:pt x="1221" y="141"/>
                    <a:pt x="1225" y="142"/>
                    <a:pt x="1230" y="142"/>
                  </a:cubicBezTo>
                  <a:cubicBezTo>
                    <a:pt x="1234" y="142"/>
                    <a:pt x="1238" y="141"/>
                    <a:pt x="1241" y="139"/>
                  </a:cubicBezTo>
                  <a:lnTo>
                    <a:pt x="1241" y="153"/>
                  </a:lnTo>
                  <a:close/>
                  <a:moveTo>
                    <a:pt x="682" y="243"/>
                  </a:moveTo>
                  <a:cubicBezTo>
                    <a:pt x="635" y="363"/>
                    <a:pt x="635" y="363"/>
                    <a:pt x="635" y="363"/>
                  </a:cubicBezTo>
                  <a:cubicBezTo>
                    <a:pt x="626" y="384"/>
                    <a:pt x="614" y="394"/>
                    <a:pt x="599" y="394"/>
                  </a:cubicBezTo>
                  <a:cubicBezTo>
                    <a:pt x="595" y="394"/>
                    <a:pt x="591" y="394"/>
                    <a:pt x="588" y="393"/>
                  </a:cubicBezTo>
                  <a:cubicBezTo>
                    <a:pt x="588" y="378"/>
                    <a:pt x="588" y="378"/>
                    <a:pt x="588" y="378"/>
                  </a:cubicBezTo>
                  <a:cubicBezTo>
                    <a:pt x="592" y="380"/>
                    <a:pt x="595" y="380"/>
                    <a:pt x="598" y="380"/>
                  </a:cubicBezTo>
                  <a:cubicBezTo>
                    <a:pt x="606" y="380"/>
                    <a:pt x="613" y="375"/>
                    <a:pt x="617" y="365"/>
                  </a:cubicBezTo>
                  <a:cubicBezTo>
                    <a:pt x="625" y="346"/>
                    <a:pt x="625" y="346"/>
                    <a:pt x="625" y="346"/>
                  </a:cubicBezTo>
                  <a:cubicBezTo>
                    <a:pt x="585" y="243"/>
                    <a:pt x="585" y="243"/>
                    <a:pt x="585" y="243"/>
                  </a:cubicBezTo>
                  <a:cubicBezTo>
                    <a:pt x="603" y="243"/>
                    <a:pt x="603" y="243"/>
                    <a:pt x="603" y="243"/>
                  </a:cubicBezTo>
                  <a:cubicBezTo>
                    <a:pt x="631" y="322"/>
                    <a:pt x="631" y="322"/>
                    <a:pt x="631" y="322"/>
                  </a:cubicBezTo>
                  <a:cubicBezTo>
                    <a:pt x="633" y="330"/>
                    <a:pt x="633" y="330"/>
                    <a:pt x="633" y="330"/>
                  </a:cubicBezTo>
                  <a:cubicBezTo>
                    <a:pt x="634" y="330"/>
                    <a:pt x="634" y="330"/>
                    <a:pt x="634" y="330"/>
                  </a:cubicBezTo>
                  <a:cubicBezTo>
                    <a:pt x="634" y="329"/>
                    <a:pt x="635" y="326"/>
                    <a:pt x="636" y="323"/>
                  </a:cubicBezTo>
                  <a:cubicBezTo>
                    <a:pt x="665" y="243"/>
                    <a:pt x="665" y="243"/>
                    <a:pt x="665" y="243"/>
                  </a:cubicBezTo>
                  <a:lnTo>
                    <a:pt x="682" y="243"/>
                  </a:lnTo>
                  <a:close/>
                  <a:moveTo>
                    <a:pt x="779" y="346"/>
                  </a:moveTo>
                  <a:cubicBezTo>
                    <a:pt x="763" y="346"/>
                    <a:pt x="763" y="346"/>
                    <a:pt x="763" y="346"/>
                  </a:cubicBezTo>
                  <a:cubicBezTo>
                    <a:pt x="763" y="287"/>
                    <a:pt x="763" y="287"/>
                    <a:pt x="763" y="287"/>
                  </a:cubicBezTo>
                  <a:cubicBezTo>
                    <a:pt x="763" y="266"/>
                    <a:pt x="755" y="255"/>
                    <a:pt x="739" y="255"/>
                  </a:cubicBezTo>
                  <a:cubicBezTo>
                    <a:pt x="731" y="255"/>
                    <a:pt x="724" y="258"/>
                    <a:pt x="719" y="264"/>
                  </a:cubicBezTo>
                  <a:cubicBezTo>
                    <a:pt x="713" y="270"/>
                    <a:pt x="711" y="278"/>
                    <a:pt x="711" y="287"/>
                  </a:cubicBezTo>
                  <a:cubicBezTo>
                    <a:pt x="711" y="346"/>
                    <a:pt x="711" y="346"/>
                    <a:pt x="711" y="346"/>
                  </a:cubicBezTo>
                  <a:cubicBezTo>
                    <a:pt x="694" y="346"/>
                    <a:pt x="694" y="346"/>
                    <a:pt x="694" y="346"/>
                  </a:cubicBezTo>
                  <a:cubicBezTo>
                    <a:pt x="694" y="243"/>
                    <a:pt x="694" y="243"/>
                    <a:pt x="694" y="243"/>
                  </a:cubicBezTo>
                  <a:cubicBezTo>
                    <a:pt x="711" y="243"/>
                    <a:pt x="711" y="243"/>
                    <a:pt x="711" y="243"/>
                  </a:cubicBezTo>
                  <a:cubicBezTo>
                    <a:pt x="711" y="260"/>
                    <a:pt x="711" y="260"/>
                    <a:pt x="711" y="260"/>
                  </a:cubicBezTo>
                  <a:cubicBezTo>
                    <a:pt x="711" y="260"/>
                    <a:pt x="711" y="260"/>
                    <a:pt x="711" y="260"/>
                  </a:cubicBezTo>
                  <a:cubicBezTo>
                    <a:pt x="719" y="247"/>
                    <a:pt x="730" y="241"/>
                    <a:pt x="745" y="241"/>
                  </a:cubicBezTo>
                  <a:cubicBezTo>
                    <a:pt x="756" y="241"/>
                    <a:pt x="765" y="244"/>
                    <a:pt x="771" y="252"/>
                  </a:cubicBezTo>
                  <a:cubicBezTo>
                    <a:pt x="776" y="259"/>
                    <a:pt x="779" y="270"/>
                    <a:pt x="779" y="283"/>
                  </a:cubicBezTo>
                  <a:lnTo>
                    <a:pt x="779" y="346"/>
                  </a:lnTo>
                  <a:close/>
                  <a:moveTo>
                    <a:pt x="878" y="346"/>
                  </a:moveTo>
                  <a:cubicBezTo>
                    <a:pt x="861" y="346"/>
                    <a:pt x="861" y="346"/>
                    <a:pt x="861" y="346"/>
                  </a:cubicBezTo>
                  <a:cubicBezTo>
                    <a:pt x="861" y="330"/>
                    <a:pt x="861" y="330"/>
                    <a:pt x="861" y="330"/>
                  </a:cubicBezTo>
                  <a:cubicBezTo>
                    <a:pt x="861" y="330"/>
                    <a:pt x="861" y="330"/>
                    <a:pt x="861" y="330"/>
                  </a:cubicBezTo>
                  <a:cubicBezTo>
                    <a:pt x="854" y="342"/>
                    <a:pt x="843" y="349"/>
                    <a:pt x="829" y="349"/>
                  </a:cubicBezTo>
                  <a:cubicBezTo>
                    <a:pt x="819" y="349"/>
                    <a:pt x="811" y="346"/>
                    <a:pt x="805" y="340"/>
                  </a:cubicBezTo>
                  <a:cubicBezTo>
                    <a:pt x="799" y="335"/>
                    <a:pt x="796" y="328"/>
                    <a:pt x="796" y="319"/>
                  </a:cubicBezTo>
                  <a:cubicBezTo>
                    <a:pt x="796" y="300"/>
                    <a:pt x="808" y="288"/>
                    <a:pt x="830" y="285"/>
                  </a:cubicBezTo>
                  <a:cubicBezTo>
                    <a:pt x="861" y="281"/>
                    <a:pt x="861" y="281"/>
                    <a:pt x="861" y="281"/>
                  </a:cubicBezTo>
                  <a:cubicBezTo>
                    <a:pt x="861" y="264"/>
                    <a:pt x="854" y="255"/>
                    <a:pt x="840" y="255"/>
                  </a:cubicBezTo>
                  <a:cubicBezTo>
                    <a:pt x="828" y="255"/>
                    <a:pt x="816" y="259"/>
                    <a:pt x="807" y="267"/>
                  </a:cubicBezTo>
                  <a:cubicBezTo>
                    <a:pt x="807" y="250"/>
                    <a:pt x="807" y="250"/>
                    <a:pt x="807" y="250"/>
                  </a:cubicBezTo>
                  <a:cubicBezTo>
                    <a:pt x="810" y="248"/>
                    <a:pt x="815" y="246"/>
                    <a:pt x="822" y="244"/>
                  </a:cubicBezTo>
                  <a:cubicBezTo>
                    <a:pt x="829" y="242"/>
                    <a:pt x="836" y="241"/>
                    <a:pt x="841" y="241"/>
                  </a:cubicBezTo>
                  <a:cubicBezTo>
                    <a:pt x="866" y="241"/>
                    <a:pt x="878" y="254"/>
                    <a:pt x="878" y="279"/>
                  </a:cubicBezTo>
                  <a:lnTo>
                    <a:pt x="878" y="346"/>
                  </a:lnTo>
                  <a:close/>
                  <a:moveTo>
                    <a:pt x="861" y="294"/>
                  </a:moveTo>
                  <a:cubicBezTo>
                    <a:pt x="836" y="298"/>
                    <a:pt x="836" y="298"/>
                    <a:pt x="836" y="298"/>
                  </a:cubicBezTo>
                  <a:cubicBezTo>
                    <a:pt x="828" y="299"/>
                    <a:pt x="822" y="301"/>
                    <a:pt x="818" y="304"/>
                  </a:cubicBezTo>
                  <a:cubicBezTo>
                    <a:pt x="815" y="306"/>
                    <a:pt x="813" y="311"/>
                    <a:pt x="813" y="317"/>
                  </a:cubicBezTo>
                  <a:cubicBezTo>
                    <a:pt x="813" y="323"/>
                    <a:pt x="815" y="327"/>
                    <a:pt x="819" y="330"/>
                  </a:cubicBezTo>
                  <a:cubicBezTo>
                    <a:pt x="823" y="333"/>
                    <a:pt x="827" y="335"/>
                    <a:pt x="833" y="335"/>
                  </a:cubicBezTo>
                  <a:cubicBezTo>
                    <a:pt x="841" y="335"/>
                    <a:pt x="848" y="332"/>
                    <a:pt x="853" y="326"/>
                  </a:cubicBezTo>
                  <a:cubicBezTo>
                    <a:pt x="859" y="320"/>
                    <a:pt x="861" y="313"/>
                    <a:pt x="861" y="304"/>
                  </a:cubicBezTo>
                  <a:lnTo>
                    <a:pt x="861" y="294"/>
                  </a:lnTo>
                  <a:close/>
                  <a:moveTo>
                    <a:pt x="1049" y="346"/>
                  </a:moveTo>
                  <a:cubicBezTo>
                    <a:pt x="1033" y="346"/>
                    <a:pt x="1033" y="346"/>
                    <a:pt x="1033" y="346"/>
                  </a:cubicBezTo>
                  <a:cubicBezTo>
                    <a:pt x="1033" y="287"/>
                    <a:pt x="1033" y="287"/>
                    <a:pt x="1033" y="287"/>
                  </a:cubicBezTo>
                  <a:cubicBezTo>
                    <a:pt x="1033" y="276"/>
                    <a:pt x="1031" y="267"/>
                    <a:pt x="1027" y="262"/>
                  </a:cubicBezTo>
                  <a:cubicBezTo>
                    <a:pt x="1024" y="257"/>
                    <a:pt x="1018" y="255"/>
                    <a:pt x="1010" y="255"/>
                  </a:cubicBezTo>
                  <a:cubicBezTo>
                    <a:pt x="1003" y="255"/>
                    <a:pt x="997" y="258"/>
                    <a:pt x="992" y="264"/>
                  </a:cubicBezTo>
                  <a:cubicBezTo>
                    <a:pt x="987" y="271"/>
                    <a:pt x="984" y="279"/>
                    <a:pt x="984" y="287"/>
                  </a:cubicBezTo>
                  <a:cubicBezTo>
                    <a:pt x="984" y="346"/>
                    <a:pt x="984" y="346"/>
                    <a:pt x="984" y="346"/>
                  </a:cubicBezTo>
                  <a:cubicBezTo>
                    <a:pt x="968" y="346"/>
                    <a:pt x="968" y="346"/>
                    <a:pt x="968" y="346"/>
                  </a:cubicBezTo>
                  <a:cubicBezTo>
                    <a:pt x="968" y="285"/>
                    <a:pt x="968" y="285"/>
                    <a:pt x="968" y="285"/>
                  </a:cubicBezTo>
                  <a:cubicBezTo>
                    <a:pt x="968" y="265"/>
                    <a:pt x="960" y="255"/>
                    <a:pt x="945" y="255"/>
                  </a:cubicBezTo>
                  <a:cubicBezTo>
                    <a:pt x="937" y="255"/>
                    <a:pt x="931" y="258"/>
                    <a:pt x="927" y="264"/>
                  </a:cubicBezTo>
                  <a:cubicBezTo>
                    <a:pt x="922" y="270"/>
                    <a:pt x="920" y="278"/>
                    <a:pt x="920" y="287"/>
                  </a:cubicBezTo>
                  <a:cubicBezTo>
                    <a:pt x="920" y="346"/>
                    <a:pt x="920" y="346"/>
                    <a:pt x="920" y="346"/>
                  </a:cubicBezTo>
                  <a:cubicBezTo>
                    <a:pt x="903" y="346"/>
                    <a:pt x="903" y="346"/>
                    <a:pt x="903" y="346"/>
                  </a:cubicBezTo>
                  <a:cubicBezTo>
                    <a:pt x="903" y="243"/>
                    <a:pt x="903" y="243"/>
                    <a:pt x="903" y="243"/>
                  </a:cubicBezTo>
                  <a:cubicBezTo>
                    <a:pt x="920" y="243"/>
                    <a:pt x="920" y="243"/>
                    <a:pt x="920" y="243"/>
                  </a:cubicBezTo>
                  <a:cubicBezTo>
                    <a:pt x="920" y="260"/>
                    <a:pt x="920" y="260"/>
                    <a:pt x="920" y="260"/>
                  </a:cubicBezTo>
                  <a:cubicBezTo>
                    <a:pt x="920" y="260"/>
                    <a:pt x="920" y="260"/>
                    <a:pt x="920" y="260"/>
                  </a:cubicBezTo>
                  <a:cubicBezTo>
                    <a:pt x="927" y="247"/>
                    <a:pt x="938" y="241"/>
                    <a:pt x="952" y="241"/>
                  </a:cubicBezTo>
                  <a:cubicBezTo>
                    <a:pt x="959" y="241"/>
                    <a:pt x="965" y="243"/>
                    <a:pt x="970" y="246"/>
                  </a:cubicBezTo>
                  <a:cubicBezTo>
                    <a:pt x="975" y="250"/>
                    <a:pt x="979" y="255"/>
                    <a:pt x="981" y="262"/>
                  </a:cubicBezTo>
                  <a:cubicBezTo>
                    <a:pt x="989" y="248"/>
                    <a:pt x="1000" y="241"/>
                    <a:pt x="1015" y="241"/>
                  </a:cubicBezTo>
                  <a:cubicBezTo>
                    <a:pt x="1038" y="241"/>
                    <a:pt x="1049" y="255"/>
                    <a:pt x="1049" y="283"/>
                  </a:cubicBezTo>
                  <a:lnTo>
                    <a:pt x="1049" y="346"/>
                  </a:lnTo>
                  <a:close/>
                  <a:moveTo>
                    <a:pt x="1188" y="341"/>
                  </a:moveTo>
                  <a:cubicBezTo>
                    <a:pt x="1180" y="346"/>
                    <a:pt x="1171" y="349"/>
                    <a:pt x="1160" y="349"/>
                  </a:cubicBezTo>
                  <a:cubicBezTo>
                    <a:pt x="1151" y="349"/>
                    <a:pt x="1142" y="346"/>
                    <a:pt x="1135" y="342"/>
                  </a:cubicBezTo>
                  <a:cubicBezTo>
                    <a:pt x="1127" y="338"/>
                    <a:pt x="1121" y="332"/>
                    <a:pt x="1117" y="324"/>
                  </a:cubicBezTo>
                  <a:cubicBezTo>
                    <a:pt x="1113" y="316"/>
                    <a:pt x="1111" y="307"/>
                    <a:pt x="1111" y="297"/>
                  </a:cubicBezTo>
                  <a:cubicBezTo>
                    <a:pt x="1111" y="280"/>
                    <a:pt x="1116" y="267"/>
                    <a:pt x="1126" y="256"/>
                  </a:cubicBezTo>
                  <a:cubicBezTo>
                    <a:pt x="1135" y="246"/>
                    <a:pt x="1148" y="241"/>
                    <a:pt x="1165" y="241"/>
                  </a:cubicBezTo>
                  <a:cubicBezTo>
                    <a:pt x="1173" y="241"/>
                    <a:pt x="1181" y="242"/>
                    <a:pt x="1188" y="246"/>
                  </a:cubicBezTo>
                  <a:cubicBezTo>
                    <a:pt x="1188" y="263"/>
                    <a:pt x="1188" y="263"/>
                    <a:pt x="1188" y="263"/>
                  </a:cubicBezTo>
                  <a:cubicBezTo>
                    <a:pt x="1181" y="257"/>
                    <a:pt x="1172" y="255"/>
                    <a:pt x="1164" y="255"/>
                  </a:cubicBezTo>
                  <a:cubicBezTo>
                    <a:pt x="1153" y="255"/>
                    <a:pt x="1145" y="259"/>
                    <a:pt x="1138" y="266"/>
                  </a:cubicBezTo>
                  <a:cubicBezTo>
                    <a:pt x="1131" y="274"/>
                    <a:pt x="1128" y="284"/>
                    <a:pt x="1128" y="296"/>
                  </a:cubicBezTo>
                  <a:cubicBezTo>
                    <a:pt x="1128" y="308"/>
                    <a:pt x="1131" y="317"/>
                    <a:pt x="1137" y="324"/>
                  </a:cubicBezTo>
                  <a:cubicBezTo>
                    <a:pt x="1144" y="331"/>
                    <a:pt x="1152" y="335"/>
                    <a:pt x="1163" y="335"/>
                  </a:cubicBezTo>
                  <a:cubicBezTo>
                    <a:pt x="1172" y="335"/>
                    <a:pt x="1180" y="332"/>
                    <a:pt x="1188" y="326"/>
                  </a:cubicBezTo>
                  <a:lnTo>
                    <a:pt x="1188" y="341"/>
                  </a:lnTo>
                  <a:close/>
                  <a:moveTo>
                    <a:pt x="1264" y="319"/>
                  </a:moveTo>
                  <a:cubicBezTo>
                    <a:pt x="1264" y="327"/>
                    <a:pt x="1260" y="335"/>
                    <a:pt x="1253" y="340"/>
                  </a:cubicBezTo>
                  <a:cubicBezTo>
                    <a:pt x="1246" y="346"/>
                    <a:pt x="1237" y="349"/>
                    <a:pt x="1226" y="349"/>
                  </a:cubicBezTo>
                  <a:cubicBezTo>
                    <a:pt x="1216" y="349"/>
                    <a:pt x="1208" y="346"/>
                    <a:pt x="1200" y="342"/>
                  </a:cubicBezTo>
                  <a:cubicBezTo>
                    <a:pt x="1200" y="325"/>
                    <a:pt x="1200" y="325"/>
                    <a:pt x="1200" y="325"/>
                  </a:cubicBezTo>
                  <a:cubicBezTo>
                    <a:pt x="1209" y="331"/>
                    <a:pt x="1217" y="335"/>
                    <a:pt x="1227" y="335"/>
                  </a:cubicBezTo>
                  <a:cubicBezTo>
                    <a:pt x="1240" y="335"/>
                    <a:pt x="1247" y="330"/>
                    <a:pt x="1247" y="320"/>
                  </a:cubicBezTo>
                  <a:cubicBezTo>
                    <a:pt x="1247" y="316"/>
                    <a:pt x="1245" y="313"/>
                    <a:pt x="1243" y="311"/>
                  </a:cubicBezTo>
                  <a:cubicBezTo>
                    <a:pt x="1240" y="308"/>
                    <a:pt x="1235" y="305"/>
                    <a:pt x="1226" y="301"/>
                  </a:cubicBezTo>
                  <a:cubicBezTo>
                    <a:pt x="1216" y="297"/>
                    <a:pt x="1210" y="293"/>
                    <a:pt x="1206" y="288"/>
                  </a:cubicBezTo>
                  <a:cubicBezTo>
                    <a:pt x="1202" y="284"/>
                    <a:pt x="1201" y="278"/>
                    <a:pt x="1201" y="271"/>
                  </a:cubicBezTo>
                  <a:cubicBezTo>
                    <a:pt x="1201" y="262"/>
                    <a:pt x="1204" y="255"/>
                    <a:pt x="1211" y="249"/>
                  </a:cubicBezTo>
                  <a:cubicBezTo>
                    <a:pt x="1218" y="244"/>
                    <a:pt x="1226" y="241"/>
                    <a:pt x="1237" y="241"/>
                  </a:cubicBezTo>
                  <a:cubicBezTo>
                    <a:pt x="1245" y="241"/>
                    <a:pt x="1252" y="242"/>
                    <a:pt x="1259" y="246"/>
                  </a:cubicBezTo>
                  <a:cubicBezTo>
                    <a:pt x="1259" y="262"/>
                    <a:pt x="1259" y="262"/>
                    <a:pt x="1259" y="262"/>
                  </a:cubicBezTo>
                  <a:cubicBezTo>
                    <a:pt x="1252" y="257"/>
                    <a:pt x="1244" y="255"/>
                    <a:pt x="1236" y="255"/>
                  </a:cubicBezTo>
                  <a:cubicBezTo>
                    <a:pt x="1230" y="255"/>
                    <a:pt x="1226" y="256"/>
                    <a:pt x="1222" y="259"/>
                  </a:cubicBezTo>
                  <a:cubicBezTo>
                    <a:pt x="1219" y="261"/>
                    <a:pt x="1217" y="265"/>
                    <a:pt x="1217" y="269"/>
                  </a:cubicBezTo>
                  <a:cubicBezTo>
                    <a:pt x="1217" y="274"/>
                    <a:pt x="1219" y="277"/>
                    <a:pt x="1221" y="280"/>
                  </a:cubicBezTo>
                  <a:cubicBezTo>
                    <a:pt x="1224" y="282"/>
                    <a:pt x="1229" y="285"/>
                    <a:pt x="1237" y="288"/>
                  </a:cubicBezTo>
                  <a:cubicBezTo>
                    <a:pt x="1247" y="292"/>
                    <a:pt x="1254" y="297"/>
                    <a:pt x="1258" y="301"/>
                  </a:cubicBezTo>
                  <a:cubicBezTo>
                    <a:pt x="1262" y="306"/>
                    <a:pt x="1264" y="312"/>
                    <a:pt x="1264" y="319"/>
                  </a:cubicBezTo>
                  <a:close/>
                  <a:moveTo>
                    <a:pt x="660" y="17"/>
                  </a:moveTo>
                  <a:cubicBezTo>
                    <a:pt x="660" y="21"/>
                    <a:pt x="659" y="23"/>
                    <a:pt x="657" y="25"/>
                  </a:cubicBezTo>
                  <a:cubicBezTo>
                    <a:pt x="655" y="27"/>
                    <a:pt x="652" y="28"/>
                    <a:pt x="649" y="28"/>
                  </a:cubicBezTo>
                  <a:cubicBezTo>
                    <a:pt x="646" y="28"/>
                    <a:pt x="643" y="27"/>
                    <a:pt x="641" y="25"/>
                  </a:cubicBezTo>
                  <a:cubicBezTo>
                    <a:pt x="639" y="23"/>
                    <a:pt x="638" y="21"/>
                    <a:pt x="638" y="17"/>
                  </a:cubicBezTo>
                  <a:cubicBezTo>
                    <a:pt x="638" y="15"/>
                    <a:pt x="639" y="12"/>
                    <a:pt x="641" y="10"/>
                  </a:cubicBezTo>
                  <a:cubicBezTo>
                    <a:pt x="643" y="8"/>
                    <a:pt x="646" y="7"/>
                    <a:pt x="649" y="7"/>
                  </a:cubicBezTo>
                  <a:cubicBezTo>
                    <a:pt x="652" y="7"/>
                    <a:pt x="655" y="8"/>
                    <a:pt x="657" y="10"/>
                  </a:cubicBezTo>
                  <a:cubicBezTo>
                    <a:pt x="659" y="12"/>
                    <a:pt x="660" y="15"/>
                    <a:pt x="660" y="17"/>
                  </a:cubicBezTo>
                  <a:close/>
                  <a:moveTo>
                    <a:pt x="657" y="154"/>
                  </a:moveTo>
                  <a:cubicBezTo>
                    <a:pt x="641" y="154"/>
                    <a:pt x="641" y="154"/>
                    <a:pt x="641" y="154"/>
                  </a:cubicBezTo>
                  <a:cubicBezTo>
                    <a:pt x="641" y="51"/>
                    <a:pt x="641" y="51"/>
                    <a:pt x="641" y="51"/>
                  </a:cubicBezTo>
                  <a:cubicBezTo>
                    <a:pt x="657" y="51"/>
                    <a:pt x="657" y="51"/>
                    <a:pt x="657" y="51"/>
                  </a:cubicBezTo>
                  <a:lnTo>
                    <a:pt x="657" y="154"/>
                  </a:lnTo>
                  <a:close/>
                  <a:moveTo>
                    <a:pt x="580" y="272"/>
                  </a:moveTo>
                  <a:cubicBezTo>
                    <a:pt x="580" y="287"/>
                    <a:pt x="577" y="300"/>
                    <a:pt x="571" y="311"/>
                  </a:cubicBezTo>
                  <a:cubicBezTo>
                    <a:pt x="564" y="322"/>
                    <a:pt x="555" y="331"/>
                    <a:pt x="543" y="337"/>
                  </a:cubicBezTo>
                  <a:cubicBezTo>
                    <a:pt x="532" y="343"/>
                    <a:pt x="518" y="346"/>
                    <a:pt x="503" y="346"/>
                  </a:cubicBezTo>
                  <a:cubicBezTo>
                    <a:pt x="465" y="346"/>
                    <a:pt x="465" y="346"/>
                    <a:pt x="465" y="346"/>
                  </a:cubicBezTo>
                  <a:cubicBezTo>
                    <a:pt x="465" y="202"/>
                    <a:pt x="465" y="202"/>
                    <a:pt x="465" y="202"/>
                  </a:cubicBezTo>
                  <a:cubicBezTo>
                    <a:pt x="504" y="202"/>
                    <a:pt x="504" y="202"/>
                    <a:pt x="504" y="202"/>
                  </a:cubicBezTo>
                  <a:cubicBezTo>
                    <a:pt x="555" y="202"/>
                    <a:pt x="580" y="225"/>
                    <a:pt x="580" y="272"/>
                  </a:cubicBezTo>
                  <a:close/>
                  <a:moveTo>
                    <a:pt x="563" y="272"/>
                  </a:moveTo>
                  <a:cubicBezTo>
                    <a:pt x="563" y="236"/>
                    <a:pt x="543" y="217"/>
                    <a:pt x="504" y="217"/>
                  </a:cubicBezTo>
                  <a:cubicBezTo>
                    <a:pt x="482" y="217"/>
                    <a:pt x="482" y="217"/>
                    <a:pt x="482" y="217"/>
                  </a:cubicBezTo>
                  <a:cubicBezTo>
                    <a:pt x="482" y="331"/>
                    <a:pt x="482" y="331"/>
                    <a:pt x="482" y="331"/>
                  </a:cubicBezTo>
                  <a:cubicBezTo>
                    <a:pt x="503" y="331"/>
                    <a:pt x="503" y="331"/>
                    <a:pt x="503" y="331"/>
                  </a:cubicBezTo>
                  <a:cubicBezTo>
                    <a:pt x="522" y="331"/>
                    <a:pt x="537" y="325"/>
                    <a:pt x="547" y="315"/>
                  </a:cubicBezTo>
                  <a:cubicBezTo>
                    <a:pt x="558" y="305"/>
                    <a:pt x="563" y="291"/>
                    <a:pt x="563" y="272"/>
                  </a:cubicBezTo>
                  <a:close/>
                  <a:moveTo>
                    <a:pt x="273" y="67"/>
                  </a:moveTo>
                  <a:cubicBezTo>
                    <a:pt x="273" y="67"/>
                    <a:pt x="273" y="67"/>
                    <a:pt x="273" y="67"/>
                  </a:cubicBezTo>
                  <a:cubicBezTo>
                    <a:pt x="251" y="119"/>
                    <a:pt x="219" y="167"/>
                    <a:pt x="186" y="201"/>
                  </a:cubicBezTo>
                  <a:cubicBezTo>
                    <a:pt x="186" y="282"/>
                    <a:pt x="186" y="282"/>
                    <a:pt x="186" y="282"/>
                  </a:cubicBezTo>
                  <a:cubicBezTo>
                    <a:pt x="183" y="284"/>
                    <a:pt x="183" y="284"/>
                    <a:pt x="183" y="284"/>
                  </a:cubicBezTo>
                  <a:cubicBezTo>
                    <a:pt x="178" y="284"/>
                    <a:pt x="178" y="284"/>
                    <a:pt x="178" y="284"/>
                  </a:cubicBezTo>
                  <a:cubicBezTo>
                    <a:pt x="66" y="292"/>
                    <a:pt x="0" y="348"/>
                    <a:pt x="0" y="348"/>
                  </a:cubicBezTo>
                  <a:cubicBezTo>
                    <a:pt x="126" y="270"/>
                    <a:pt x="269" y="306"/>
                    <a:pt x="269" y="306"/>
                  </a:cubicBezTo>
                  <a:cubicBezTo>
                    <a:pt x="280" y="304"/>
                    <a:pt x="280" y="304"/>
                    <a:pt x="280" y="304"/>
                  </a:cubicBezTo>
                  <a:cubicBezTo>
                    <a:pt x="280" y="69"/>
                    <a:pt x="280" y="69"/>
                    <a:pt x="280" y="69"/>
                  </a:cubicBezTo>
                  <a:lnTo>
                    <a:pt x="273" y="67"/>
                  </a:lnTo>
                  <a:close/>
                  <a:moveTo>
                    <a:pt x="357" y="123"/>
                  </a:moveTo>
                  <a:cubicBezTo>
                    <a:pt x="357" y="123"/>
                    <a:pt x="357" y="123"/>
                    <a:pt x="357" y="123"/>
                  </a:cubicBezTo>
                  <a:cubicBezTo>
                    <a:pt x="357" y="123"/>
                    <a:pt x="345" y="139"/>
                    <a:pt x="308" y="172"/>
                  </a:cubicBezTo>
                  <a:cubicBezTo>
                    <a:pt x="300" y="180"/>
                    <a:pt x="295" y="184"/>
                    <a:pt x="287" y="191"/>
                  </a:cubicBezTo>
                  <a:cubicBezTo>
                    <a:pt x="287" y="312"/>
                    <a:pt x="287" y="312"/>
                    <a:pt x="287" y="312"/>
                  </a:cubicBezTo>
                  <a:cubicBezTo>
                    <a:pt x="279" y="314"/>
                    <a:pt x="279" y="314"/>
                    <a:pt x="279" y="314"/>
                  </a:cubicBezTo>
                  <a:cubicBezTo>
                    <a:pt x="279" y="314"/>
                    <a:pt x="248" y="304"/>
                    <a:pt x="194" y="302"/>
                  </a:cubicBezTo>
                  <a:cubicBezTo>
                    <a:pt x="140" y="300"/>
                    <a:pt x="61" y="315"/>
                    <a:pt x="0" y="348"/>
                  </a:cubicBezTo>
                  <a:cubicBezTo>
                    <a:pt x="2" y="348"/>
                    <a:pt x="2" y="348"/>
                    <a:pt x="2" y="348"/>
                  </a:cubicBezTo>
                  <a:cubicBezTo>
                    <a:pt x="2" y="348"/>
                    <a:pt x="166" y="284"/>
                    <a:pt x="356" y="349"/>
                  </a:cubicBezTo>
                  <a:cubicBezTo>
                    <a:pt x="356" y="349"/>
                    <a:pt x="356" y="349"/>
                    <a:pt x="356" y="349"/>
                  </a:cubicBezTo>
                  <a:cubicBezTo>
                    <a:pt x="363" y="347"/>
                    <a:pt x="363" y="347"/>
                    <a:pt x="363" y="347"/>
                  </a:cubicBezTo>
                  <a:cubicBezTo>
                    <a:pt x="363" y="127"/>
                    <a:pt x="363" y="127"/>
                    <a:pt x="363" y="127"/>
                  </a:cubicBezTo>
                  <a:lnTo>
                    <a:pt x="357" y="123"/>
                  </a:lnTo>
                  <a:close/>
                  <a:moveTo>
                    <a:pt x="180" y="10"/>
                  </a:moveTo>
                  <a:cubicBezTo>
                    <a:pt x="171" y="8"/>
                    <a:pt x="171" y="8"/>
                    <a:pt x="171" y="8"/>
                  </a:cubicBezTo>
                  <a:cubicBezTo>
                    <a:pt x="171" y="8"/>
                    <a:pt x="171" y="8"/>
                    <a:pt x="171" y="8"/>
                  </a:cubicBezTo>
                  <a:cubicBezTo>
                    <a:pt x="171" y="8"/>
                    <a:pt x="171" y="8"/>
                    <a:pt x="171" y="8"/>
                  </a:cubicBezTo>
                  <a:cubicBezTo>
                    <a:pt x="171" y="8"/>
                    <a:pt x="171" y="8"/>
                    <a:pt x="171" y="8"/>
                  </a:cubicBezTo>
                  <a:cubicBezTo>
                    <a:pt x="171" y="9"/>
                    <a:pt x="171" y="9"/>
                    <a:pt x="171" y="9"/>
                  </a:cubicBezTo>
                  <a:cubicBezTo>
                    <a:pt x="170" y="16"/>
                    <a:pt x="160" y="73"/>
                    <a:pt x="119" y="154"/>
                  </a:cubicBezTo>
                  <a:cubicBezTo>
                    <a:pt x="94" y="201"/>
                    <a:pt x="57" y="261"/>
                    <a:pt x="0" y="320"/>
                  </a:cubicBezTo>
                  <a:cubicBezTo>
                    <a:pt x="0" y="348"/>
                    <a:pt x="0" y="348"/>
                    <a:pt x="0" y="348"/>
                  </a:cubicBezTo>
                  <a:cubicBezTo>
                    <a:pt x="0" y="348"/>
                    <a:pt x="60" y="290"/>
                    <a:pt x="170" y="279"/>
                  </a:cubicBezTo>
                  <a:cubicBezTo>
                    <a:pt x="173" y="278"/>
                    <a:pt x="173" y="278"/>
                    <a:pt x="173" y="278"/>
                  </a:cubicBezTo>
                  <a:cubicBezTo>
                    <a:pt x="180" y="276"/>
                    <a:pt x="180" y="276"/>
                    <a:pt x="180" y="276"/>
                  </a:cubicBezTo>
                  <a:lnTo>
                    <a:pt x="180" y="10"/>
                  </a:lnTo>
                  <a:close/>
                </a:path>
              </a:pathLst>
            </a:custGeom>
            <a:solidFill>
              <a:srgbClr val="FFFFFF"/>
            </a:solidFill>
            <a:ln>
              <a:solidFill>
                <a:schemeClr val="tx1"/>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맑은 고딕" panose="020B0503020000020004" pitchFamily="34" charset="-127"/>
                <a:ea typeface="맑은 고딕" panose="020B0503020000020004" pitchFamily="34" charset="-127"/>
                <a:cs typeface="+mn-cs"/>
              </a:endParaRPr>
            </a:p>
          </p:txBody>
        </p:sp>
        <p:sp>
          <p:nvSpPr>
            <p:cNvPr id="92" name="Freeform 13"/>
            <p:cNvSpPr>
              <a:spLocks noChangeAspect="1" noEditPoints="1"/>
            </p:cNvSpPr>
            <p:nvPr/>
          </p:nvSpPr>
          <p:spPr bwMode="black">
            <a:xfrm>
              <a:off x="11077576" y="4605874"/>
              <a:ext cx="614310" cy="446066"/>
            </a:xfrm>
            <a:custGeom>
              <a:avLst/>
              <a:gdLst>
                <a:gd name="T0" fmla="*/ 187 w 1098"/>
                <a:gd name="T1" fmla="*/ 61 h 796"/>
                <a:gd name="T2" fmla="*/ 33 w 1098"/>
                <a:gd name="T3" fmla="*/ 81 h 796"/>
                <a:gd name="T4" fmla="*/ 112 w 1098"/>
                <a:gd name="T5" fmla="*/ 180 h 796"/>
                <a:gd name="T6" fmla="*/ 285 w 1098"/>
                <a:gd name="T7" fmla="*/ 21 h 796"/>
                <a:gd name="T8" fmla="*/ 269 w 1098"/>
                <a:gd name="T9" fmla="*/ 6 h 796"/>
                <a:gd name="T10" fmla="*/ 281 w 1098"/>
                <a:gd name="T11" fmla="*/ 72 h 796"/>
                <a:gd name="T12" fmla="*/ 309 w 1098"/>
                <a:gd name="T13" fmla="*/ 148 h 796"/>
                <a:gd name="T14" fmla="*/ 346 w 1098"/>
                <a:gd name="T15" fmla="*/ 104 h 796"/>
                <a:gd name="T16" fmla="*/ 519 w 1098"/>
                <a:gd name="T17" fmla="*/ 96 h 796"/>
                <a:gd name="T18" fmla="*/ 444 w 1098"/>
                <a:gd name="T19" fmla="*/ 72 h 796"/>
                <a:gd name="T20" fmla="*/ 519 w 1098"/>
                <a:gd name="T21" fmla="*/ 72 h 796"/>
                <a:gd name="T22" fmla="*/ 521 w 1098"/>
                <a:gd name="T23" fmla="*/ 146 h 796"/>
                <a:gd name="T24" fmla="*/ 627 w 1098"/>
                <a:gd name="T25" fmla="*/ 103 h 796"/>
                <a:gd name="T26" fmla="*/ 628 w 1098"/>
                <a:gd name="T27" fmla="*/ 186 h 796"/>
                <a:gd name="T28" fmla="*/ 681 w 1098"/>
                <a:gd name="T29" fmla="*/ 186 h 796"/>
                <a:gd name="T30" fmla="*/ 681 w 1098"/>
                <a:gd name="T31" fmla="*/ 111 h 796"/>
                <a:gd name="T32" fmla="*/ 712 w 1098"/>
                <a:gd name="T33" fmla="*/ 94 h 796"/>
                <a:gd name="T34" fmla="*/ 926 w 1098"/>
                <a:gd name="T35" fmla="*/ 144 h 796"/>
                <a:gd name="T36" fmla="*/ 858 w 1098"/>
                <a:gd name="T37" fmla="*/ 69 h 796"/>
                <a:gd name="T38" fmla="*/ 821 w 1098"/>
                <a:gd name="T39" fmla="*/ 103 h 796"/>
                <a:gd name="T40" fmla="*/ 1020 w 1098"/>
                <a:gd name="T41" fmla="*/ 23 h 796"/>
                <a:gd name="T42" fmla="*/ 981 w 1098"/>
                <a:gd name="T43" fmla="*/ 92 h 796"/>
                <a:gd name="T44" fmla="*/ 958 w 1098"/>
                <a:gd name="T45" fmla="*/ 72 h 796"/>
                <a:gd name="T46" fmla="*/ 1098 w 1098"/>
                <a:gd name="T47" fmla="*/ 215 h 796"/>
                <a:gd name="T48" fmla="*/ 1039 w 1098"/>
                <a:gd name="T49" fmla="*/ 72 h 796"/>
                <a:gd name="T50" fmla="*/ 1062 w 1098"/>
                <a:gd name="T51" fmla="*/ 92 h 796"/>
                <a:gd name="T52" fmla="*/ 134 w 1098"/>
                <a:gd name="T53" fmla="*/ 446 h 796"/>
                <a:gd name="T54" fmla="*/ 108 w 1098"/>
                <a:gd name="T55" fmla="*/ 315 h 796"/>
                <a:gd name="T56" fmla="*/ 134 w 1098"/>
                <a:gd name="T57" fmla="*/ 446 h 796"/>
                <a:gd name="T58" fmla="*/ 88 w 1098"/>
                <a:gd name="T59" fmla="*/ 380 h 796"/>
                <a:gd name="T60" fmla="*/ 65 w 1098"/>
                <a:gd name="T61" fmla="*/ 483 h 796"/>
                <a:gd name="T62" fmla="*/ 165 w 1098"/>
                <a:gd name="T63" fmla="*/ 320 h 796"/>
                <a:gd name="T64" fmla="*/ 187 w 1098"/>
                <a:gd name="T65" fmla="*/ 504 h 796"/>
                <a:gd name="T66" fmla="*/ 241 w 1098"/>
                <a:gd name="T67" fmla="*/ 485 h 796"/>
                <a:gd name="T68" fmla="*/ 215 w 1098"/>
                <a:gd name="T69" fmla="*/ 380 h 796"/>
                <a:gd name="T70" fmla="*/ 398 w 1098"/>
                <a:gd name="T71" fmla="*/ 504 h 796"/>
                <a:gd name="T72" fmla="*/ 456 w 1098"/>
                <a:gd name="T73" fmla="*/ 324 h 796"/>
                <a:gd name="T74" fmla="*/ 447 w 1098"/>
                <a:gd name="T75" fmla="*/ 497 h 796"/>
                <a:gd name="T76" fmla="*/ 449 w 1098"/>
                <a:gd name="T77" fmla="*/ 370 h 796"/>
                <a:gd name="T78" fmla="*/ 491 w 1098"/>
                <a:gd name="T79" fmla="*/ 436 h 796"/>
                <a:gd name="T80" fmla="*/ 526 w 1098"/>
                <a:gd name="T81" fmla="*/ 446 h 796"/>
                <a:gd name="T82" fmla="*/ 607 w 1098"/>
                <a:gd name="T83" fmla="*/ 504 h 796"/>
                <a:gd name="T84" fmla="*/ 646 w 1098"/>
                <a:gd name="T85" fmla="*/ 504 h 796"/>
                <a:gd name="T86" fmla="*/ 761 w 1098"/>
                <a:gd name="T87" fmla="*/ 360 h 796"/>
                <a:gd name="T88" fmla="*/ 20 w 1098"/>
                <a:gd name="T89" fmla="*/ 792 h 796"/>
                <a:gd name="T90" fmla="*/ 80 w 1098"/>
                <a:gd name="T91" fmla="*/ 723 h 796"/>
                <a:gd name="T92" fmla="*/ 104 w 1098"/>
                <a:gd name="T93" fmla="*/ 594 h 796"/>
                <a:gd name="T94" fmla="*/ 39 w 1098"/>
                <a:gd name="T95" fmla="*/ 667 h 796"/>
                <a:gd name="T96" fmla="*/ 168 w 1098"/>
                <a:gd name="T97" fmla="*/ 763 h 796"/>
                <a:gd name="T98" fmla="*/ 131 w 1098"/>
                <a:gd name="T99" fmla="*/ 721 h 796"/>
                <a:gd name="T100" fmla="*/ 257 w 1098"/>
                <a:gd name="T101" fmla="*/ 726 h 796"/>
                <a:gd name="T102" fmla="*/ 233 w 1098"/>
                <a:gd name="T103" fmla="*/ 707 h 796"/>
                <a:gd name="T104" fmla="*/ 283 w 1098"/>
                <a:gd name="T105" fmla="*/ 792 h 796"/>
                <a:gd name="T106" fmla="*/ 344 w 1098"/>
                <a:gd name="T107" fmla="*/ 646 h 796"/>
                <a:gd name="T108" fmla="*/ 365 w 1098"/>
                <a:gd name="T109" fmla="*/ 648 h 796"/>
                <a:gd name="T110" fmla="*/ 476 w 1098"/>
                <a:gd name="T111" fmla="*/ 648 h 796"/>
                <a:gd name="T112" fmla="*/ 621 w 1098"/>
                <a:gd name="T113" fmla="*/ 760 h 796"/>
                <a:gd name="T114" fmla="*/ 538 w 1098"/>
                <a:gd name="T115" fmla="*/ 655 h 796"/>
                <a:gd name="T116" fmla="*/ 598 w 1098"/>
                <a:gd name="T117" fmla="*/ 676 h 796"/>
                <a:gd name="T118" fmla="*/ 715 w 1098"/>
                <a:gd name="T119" fmla="*/ 667 h 796"/>
                <a:gd name="T120" fmla="*/ 681 w 1098"/>
                <a:gd name="T121" fmla="*/ 648 h 796"/>
                <a:gd name="T122" fmla="*/ 733 w 1098"/>
                <a:gd name="T123" fmla="*/ 672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98" h="796">
                  <a:moveTo>
                    <a:pt x="216" y="216"/>
                  </a:moveTo>
                  <a:cubicBezTo>
                    <a:pt x="192" y="216"/>
                    <a:pt x="192" y="216"/>
                    <a:pt x="192" y="216"/>
                  </a:cubicBezTo>
                  <a:cubicBezTo>
                    <a:pt x="192" y="81"/>
                    <a:pt x="192" y="81"/>
                    <a:pt x="192" y="81"/>
                  </a:cubicBezTo>
                  <a:cubicBezTo>
                    <a:pt x="192" y="70"/>
                    <a:pt x="193" y="57"/>
                    <a:pt x="194" y="42"/>
                  </a:cubicBezTo>
                  <a:cubicBezTo>
                    <a:pt x="193" y="42"/>
                    <a:pt x="193" y="42"/>
                    <a:pt x="193" y="42"/>
                  </a:cubicBezTo>
                  <a:cubicBezTo>
                    <a:pt x="191" y="51"/>
                    <a:pt x="189" y="57"/>
                    <a:pt x="187" y="61"/>
                  </a:cubicBezTo>
                  <a:cubicBezTo>
                    <a:pt x="118" y="216"/>
                    <a:pt x="118" y="216"/>
                    <a:pt x="118" y="216"/>
                  </a:cubicBezTo>
                  <a:cubicBezTo>
                    <a:pt x="107" y="216"/>
                    <a:pt x="107" y="216"/>
                    <a:pt x="107" y="216"/>
                  </a:cubicBezTo>
                  <a:cubicBezTo>
                    <a:pt x="38" y="63"/>
                    <a:pt x="38" y="63"/>
                    <a:pt x="38" y="63"/>
                  </a:cubicBezTo>
                  <a:cubicBezTo>
                    <a:pt x="36" y="58"/>
                    <a:pt x="34" y="51"/>
                    <a:pt x="32" y="42"/>
                  </a:cubicBezTo>
                  <a:cubicBezTo>
                    <a:pt x="31" y="42"/>
                    <a:pt x="31" y="42"/>
                    <a:pt x="31" y="42"/>
                  </a:cubicBezTo>
                  <a:cubicBezTo>
                    <a:pt x="32" y="50"/>
                    <a:pt x="33" y="63"/>
                    <a:pt x="33" y="81"/>
                  </a:cubicBezTo>
                  <a:cubicBezTo>
                    <a:pt x="33" y="216"/>
                    <a:pt x="33" y="216"/>
                    <a:pt x="33" y="216"/>
                  </a:cubicBezTo>
                  <a:cubicBezTo>
                    <a:pt x="10" y="216"/>
                    <a:pt x="10" y="216"/>
                    <a:pt x="10" y="216"/>
                  </a:cubicBezTo>
                  <a:cubicBezTo>
                    <a:pt x="10" y="15"/>
                    <a:pt x="10" y="15"/>
                    <a:pt x="10" y="15"/>
                  </a:cubicBezTo>
                  <a:cubicBezTo>
                    <a:pt x="41" y="15"/>
                    <a:pt x="41" y="15"/>
                    <a:pt x="41" y="15"/>
                  </a:cubicBezTo>
                  <a:cubicBezTo>
                    <a:pt x="103" y="155"/>
                    <a:pt x="103" y="155"/>
                    <a:pt x="103" y="155"/>
                  </a:cubicBezTo>
                  <a:cubicBezTo>
                    <a:pt x="108" y="166"/>
                    <a:pt x="111" y="174"/>
                    <a:pt x="112" y="180"/>
                  </a:cubicBezTo>
                  <a:cubicBezTo>
                    <a:pt x="113" y="180"/>
                    <a:pt x="113" y="180"/>
                    <a:pt x="113" y="180"/>
                  </a:cubicBezTo>
                  <a:cubicBezTo>
                    <a:pt x="118" y="167"/>
                    <a:pt x="121" y="158"/>
                    <a:pt x="123" y="155"/>
                  </a:cubicBezTo>
                  <a:cubicBezTo>
                    <a:pt x="186" y="15"/>
                    <a:pt x="186" y="15"/>
                    <a:pt x="186" y="15"/>
                  </a:cubicBezTo>
                  <a:cubicBezTo>
                    <a:pt x="216" y="15"/>
                    <a:pt x="216" y="15"/>
                    <a:pt x="216" y="15"/>
                  </a:cubicBezTo>
                  <a:lnTo>
                    <a:pt x="216" y="216"/>
                  </a:lnTo>
                  <a:close/>
                  <a:moveTo>
                    <a:pt x="285" y="21"/>
                  </a:moveTo>
                  <a:cubicBezTo>
                    <a:pt x="285" y="25"/>
                    <a:pt x="283" y="29"/>
                    <a:pt x="280" y="32"/>
                  </a:cubicBezTo>
                  <a:cubicBezTo>
                    <a:pt x="277" y="34"/>
                    <a:pt x="273" y="36"/>
                    <a:pt x="269" y="36"/>
                  </a:cubicBezTo>
                  <a:cubicBezTo>
                    <a:pt x="265" y="36"/>
                    <a:pt x="262" y="34"/>
                    <a:pt x="259" y="32"/>
                  </a:cubicBezTo>
                  <a:cubicBezTo>
                    <a:pt x="256" y="29"/>
                    <a:pt x="254" y="25"/>
                    <a:pt x="254" y="21"/>
                  </a:cubicBezTo>
                  <a:cubicBezTo>
                    <a:pt x="254" y="17"/>
                    <a:pt x="256" y="13"/>
                    <a:pt x="259" y="10"/>
                  </a:cubicBezTo>
                  <a:cubicBezTo>
                    <a:pt x="261" y="7"/>
                    <a:pt x="265" y="6"/>
                    <a:pt x="269" y="6"/>
                  </a:cubicBezTo>
                  <a:cubicBezTo>
                    <a:pt x="274" y="6"/>
                    <a:pt x="277" y="7"/>
                    <a:pt x="280" y="10"/>
                  </a:cubicBezTo>
                  <a:cubicBezTo>
                    <a:pt x="283" y="13"/>
                    <a:pt x="285" y="17"/>
                    <a:pt x="285" y="21"/>
                  </a:cubicBezTo>
                  <a:close/>
                  <a:moveTo>
                    <a:pt x="281" y="216"/>
                  </a:moveTo>
                  <a:cubicBezTo>
                    <a:pt x="258" y="216"/>
                    <a:pt x="258" y="216"/>
                    <a:pt x="258" y="216"/>
                  </a:cubicBezTo>
                  <a:cubicBezTo>
                    <a:pt x="258" y="72"/>
                    <a:pt x="258" y="72"/>
                    <a:pt x="258" y="72"/>
                  </a:cubicBezTo>
                  <a:cubicBezTo>
                    <a:pt x="281" y="72"/>
                    <a:pt x="281" y="72"/>
                    <a:pt x="281" y="72"/>
                  </a:cubicBezTo>
                  <a:lnTo>
                    <a:pt x="281" y="216"/>
                  </a:lnTo>
                  <a:close/>
                  <a:moveTo>
                    <a:pt x="417" y="210"/>
                  </a:moveTo>
                  <a:cubicBezTo>
                    <a:pt x="405" y="216"/>
                    <a:pt x="392" y="220"/>
                    <a:pt x="377" y="220"/>
                  </a:cubicBezTo>
                  <a:cubicBezTo>
                    <a:pt x="364" y="220"/>
                    <a:pt x="352" y="217"/>
                    <a:pt x="342" y="211"/>
                  </a:cubicBezTo>
                  <a:cubicBezTo>
                    <a:pt x="331" y="205"/>
                    <a:pt x="323" y="196"/>
                    <a:pt x="317" y="185"/>
                  </a:cubicBezTo>
                  <a:cubicBezTo>
                    <a:pt x="311" y="174"/>
                    <a:pt x="309" y="162"/>
                    <a:pt x="309" y="148"/>
                  </a:cubicBezTo>
                  <a:cubicBezTo>
                    <a:pt x="309" y="124"/>
                    <a:pt x="315" y="105"/>
                    <a:pt x="329" y="90"/>
                  </a:cubicBezTo>
                  <a:cubicBezTo>
                    <a:pt x="343" y="76"/>
                    <a:pt x="361" y="69"/>
                    <a:pt x="383" y="69"/>
                  </a:cubicBezTo>
                  <a:cubicBezTo>
                    <a:pt x="396" y="69"/>
                    <a:pt x="407" y="71"/>
                    <a:pt x="417" y="76"/>
                  </a:cubicBezTo>
                  <a:cubicBezTo>
                    <a:pt x="417" y="100"/>
                    <a:pt x="417" y="100"/>
                    <a:pt x="417" y="100"/>
                  </a:cubicBezTo>
                  <a:cubicBezTo>
                    <a:pt x="406" y="92"/>
                    <a:pt x="395" y="89"/>
                    <a:pt x="383" y="89"/>
                  </a:cubicBezTo>
                  <a:cubicBezTo>
                    <a:pt x="368" y="89"/>
                    <a:pt x="355" y="94"/>
                    <a:pt x="346" y="104"/>
                  </a:cubicBezTo>
                  <a:cubicBezTo>
                    <a:pt x="337" y="115"/>
                    <a:pt x="332" y="129"/>
                    <a:pt x="332" y="146"/>
                  </a:cubicBezTo>
                  <a:cubicBezTo>
                    <a:pt x="332" y="163"/>
                    <a:pt x="337" y="176"/>
                    <a:pt x="345" y="186"/>
                  </a:cubicBezTo>
                  <a:cubicBezTo>
                    <a:pt x="354" y="195"/>
                    <a:pt x="366" y="200"/>
                    <a:pt x="381" y="200"/>
                  </a:cubicBezTo>
                  <a:cubicBezTo>
                    <a:pt x="394" y="200"/>
                    <a:pt x="405" y="196"/>
                    <a:pt x="417" y="188"/>
                  </a:cubicBezTo>
                  <a:lnTo>
                    <a:pt x="417" y="210"/>
                  </a:lnTo>
                  <a:close/>
                  <a:moveTo>
                    <a:pt x="519" y="96"/>
                  </a:moveTo>
                  <a:cubicBezTo>
                    <a:pt x="515" y="93"/>
                    <a:pt x="509" y="91"/>
                    <a:pt x="501" y="91"/>
                  </a:cubicBezTo>
                  <a:cubicBezTo>
                    <a:pt x="491" y="91"/>
                    <a:pt x="483" y="96"/>
                    <a:pt x="476" y="105"/>
                  </a:cubicBezTo>
                  <a:cubicBezTo>
                    <a:pt x="470" y="115"/>
                    <a:pt x="467" y="128"/>
                    <a:pt x="467" y="143"/>
                  </a:cubicBezTo>
                  <a:cubicBezTo>
                    <a:pt x="467" y="216"/>
                    <a:pt x="467" y="216"/>
                    <a:pt x="467" y="216"/>
                  </a:cubicBezTo>
                  <a:cubicBezTo>
                    <a:pt x="444" y="216"/>
                    <a:pt x="444" y="216"/>
                    <a:pt x="444" y="216"/>
                  </a:cubicBezTo>
                  <a:cubicBezTo>
                    <a:pt x="444" y="72"/>
                    <a:pt x="444" y="72"/>
                    <a:pt x="444" y="72"/>
                  </a:cubicBezTo>
                  <a:cubicBezTo>
                    <a:pt x="467" y="72"/>
                    <a:pt x="467" y="72"/>
                    <a:pt x="467" y="72"/>
                  </a:cubicBezTo>
                  <a:cubicBezTo>
                    <a:pt x="467" y="102"/>
                    <a:pt x="467" y="102"/>
                    <a:pt x="467" y="102"/>
                  </a:cubicBezTo>
                  <a:cubicBezTo>
                    <a:pt x="467" y="102"/>
                    <a:pt x="467" y="102"/>
                    <a:pt x="467" y="102"/>
                  </a:cubicBezTo>
                  <a:cubicBezTo>
                    <a:pt x="470" y="92"/>
                    <a:pt x="475" y="84"/>
                    <a:pt x="482" y="78"/>
                  </a:cubicBezTo>
                  <a:cubicBezTo>
                    <a:pt x="489" y="73"/>
                    <a:pt x="496" y="70"/>
                    <a:pt x="505" y="70"/>
                  </a:cubicBezTo>
                  <a:cubicBezTo>
                    <a:pt x="511" y="70"/>
                    <a:pt x="516" y="70"/>
                    <a:pt x="519" y="72"/>
                  </a:cubicBezTo>
                  <a:lnTo>
                    <a:pt x="519" y="96"/>
                  </a:lnTo>
                  <a:close/>
                  <a:moveTo>
                    <a:pt x="663" y="144"/>
                  </a:moveTo>
                  <a:cubicBezTo>
                    <a:pt x="663" y="167"/>
                    <a:pt x="657" y="185"/>
                    <a:pt x="644" y="199"/>
                  </a:cubicBezTo>
                  <a:cubicBezTo>
                    <a:pt x="631" y="213"/>
                    <a:pt x="613" y="220"/>
                    <a:pt x="591" y="220"/>
                  </a:cubicBezTo>
                  <a:cubicBezTo>
                    <a:pt x="570" y="220"/>
                    <a:pt x="553" y="213"/>
                    <a:pt x="540" y="200"/>
                  </a:cubicBezTo>
                  <a:cubicBezTo>
                    <a:pt x="528" y="186"/>
                    <a:pt x="521" y="168"/>
                    <a:pt x="521" y="146"/>
                  </a:cubicBezTo>
                  <a:cubicBezTo>
                    <a:pt x="521" y="122"/>
                    <a:pt x="528" y="103"/>
                    <a:pt x="541" y="90"/>
                  </a:cubicBezTo>
                  <a:cubicBezTo>
                    <a:pt x="554" y="76"/>
                    <a:pt x="572" y="69"/>
                    <a:pt x="595" y="69"/>
                  </a:cubicBezTo>
                  <a:cubicBezTo>
                    <a:pt x="616" y="69"/>
                    <a:pt x="633" y="76"/>
                    <a:pt x="645" y="89"/>
                  </a:cubicBezTo>
                  <a:cubicBezTo>
                    <a:pt x="657" y="102"/>
                    <a:pt x="663" y="121"/>
                    <a:pt x="663" y="144"/>
                  </a:cubicBezTo>
                  <a:close/>
                  <a:moveTo>
                    <a:pt x="639" y="145"/>
                  </a:moveTo>
                  <a:cubicBezTo>
                    <a:pt x="639" y="127"/>
                    <a:pt x="635" y="113"/>
                    <a:pt x="627" y="103"/>
                  </a:cubicBezTo>
                  <a:cubicBezTo>
                    <a:pt x="619" y="93"/>
                    <a:pt x="608" y="89"/>
                    <a:pt x="593" y="89"/>
                  </a:cubicBezTo>
                  <a:cubicBezTo>
                    <a:pt x="578" y="89"/>
                    <a:pt x="567" y="93"/>
                    <a:pt x="558" y="103"/>
                  </a:cubicBezTo>
                  <a:cubicBezTo>
                    <a:pt x="549" y="113"/>
                    <a:pt x="545" y="127"/>
                    <a:pt x="545" y="145"/>
                  </a:cubicBezTo>
                  <a:cubicBezTo>
                    <a:pt x="545" y="162"/>
                    <a:pt x="549" y="176"/>
                    <a:pt x="558" y="186"/>
                  </a:cubicBezTo>
                  <a:cubicBezTo>
                    <a:pt x="567" y="195"/>
                    <a:pt x="578" y="200"/>
                    <a:pt x="593" y="200"/>
                  </a:cubicBezTo>
                  <a:cubicBezTo>
                    <a:pt x="608" y="200"/>
                    <a:pt x="620" y="195"/>
                    <a:pt x="628" y="186"/>
                  </a:cubicBezTo>
                  <a:cubicBezTo>
                    <a:pt x="635" y="176"/>
                    <a:pt x="639" y="163"/>
                    <a:pt x="639" y="145"/>
                  </a:cubicBezTo>
                  <a:close/>
                  <a:moveTo>
                    <a:pt x="770" y="178"/>
                  </a:moveTo>
                  <a:cubicBezTo>
                    <a:pt x="770" y="190"/>
                    <a:pt x="765" y="200"/>
                    <a:pt x="755" y="208"/>
                  </a:cubicBezTo>
                  <a:cubicBezTo>
                    <a:pt x="746" y="216"/>
                    <a:pt x="733" y="220"/>
                    <a:pt x="717" y="220"/>
                  </a:cubicBezTo>
                  <a:cubicBezTo>
                    <a:pt x="703" y="220"/>
                    <a:pt x="691" y="217"/>
                    <a:pt x="681" y="211"/>
                  </a:cubicBezTo>
                  <a:cubicBezTo>
                    <a:pt x="681" y="186"/>
                    <a:pt x="681" y="186"/>
                    <a:pt x="681" y="186"/>
                  </a:cubicBezTo>
                  <a:cubicBezTo>
                    <a:pt x="693" y="196"/>
                    <a:pt x="705" y="200"/>
                    <a:pt x="719" y="200"/>
                  </a:cubicBezTo>
                  <a:cubicBezTo>
                    <a:pt x="737" y="200"/>
                    <a:pt x="746" y="193"/>
                    <a:pt x="746" y="180"/>
                  </a:cubicBezTo>
                  <a:cubicBezTo>
                    <a:pt x="746" y="175"/>
                    <a:pt x="744" y="170"/>
                    <a:pt x="741" y="167"/>
                  </a:cubicBezTo>
                  <a:cubicBezTo>
                    <a:pt x="737" y="163"/>
                    <a:pt x="729" y="159"/>
                    <a:pt x="716" y="153"/>
                  </a:cubicBezTo>
                  <a:cubicBezTo>
                    <a:pt x="704" y="148"/>
                    <a:pt x="695" y="142"/>
                    <a:pt x="689" y="135"/>
                  </a:cubicBezTo>
                  <a:cubicBezTo>
                    <a:pt x="684" y="129"/>
                    <a:pt x="681" y="121"/>
                    <a:pt x="681" y="111"/>
                  </a:cubicBezTo>
                  <a:cubicBezTo>
                    <a:pt x="681" y="99"/>
                    <a:pt x="686" y="89"/>
                    <a:pt x="696" y="81"/>
                  </a:cubicBezTo>
                  <a:cubicBezTo>
                    <a:pt x="705" y="73"/>
                    <a:pt x="718" y="69"/>
                    <a:pt x="732" y="69"/>
                  </a:cubicBezTo>
                  <a:cubicBezTo>
                    <a:pt x="744" y="69"/>
                    <a:pt x="754" y="71"/>
                    <a:pt x="763" y="76"/>
                  </a:cubicBezTo>
                  <a:cubicBezTo>
                    <a:pt x="763" y="99"/>
                    <a:pt x="763" y="99"/>
                    <a:pt x="763" y="99"/>
                  </a:cubicBezTo>
                  <a:cubicBezTo>
                    <a:pt x="754" y="92"/>
                    <a:pt x="743" y="89"/>
                    <a:pt x="730" y="89"/>
                  </a:cubicBezTo>
                  <a:cubicBezTo>
                    <a:pt x="723" y="89"/>
                    <a:pt x="717" y="90"/>
                    <a:pt x="712" y="94"/>
                  </a:cubicBezTo>
                  <a:cubicBezTo>
                    <a:pt x="707" y="98"/>
                    <a:pt x="705" y="103"/>
                    <a:pt x="705" y="109"/>
                  </a:cubicBezTo>
                  <a:cubicBezTo>
                    <a:pt x="705" y="115"/>
                    <a:pt x="707" y="120"/>
                    <a:pt x="710" y="123"/>
                  </a:cubicBezTo>
                  <a:cubicBezTo>
                    <a:pt x="714" y="127"/>
                    <a:pt x="721" y="131"/>
                    <a:pt x="733" y="135"/>
                  </a:cubicBezTo>
                  <a:cubicBezTo>
                    <a:pt x="746" y="141"/>
                    <a:pt x="756" y="147"/>
                    <a:pt x="761" y="154"/>
                  </a:cubicBezTo>
                  <a:cubicBezTo>
                    <a:pt x="767" y="160"/>
                    <a:pt x="770" y="168"/>
                    <a:pt x="770" y="178"/>
                  </a:cubicBezTo>
                  <a:close/>
                  <a:moveTo>
                    <a:pt x="926" y="144"/>
                  </a:moveTo>
                  <a:cubicBezTo>
                    <a:pt x="926" y="167"/>
                    <a:pt x="920" y="185"/>
                    <a:pt x="907" y="199"/>
                  </a:cubicBezTo>
                  <a:cubicBezTo>
                    <a:pt x="894" y="213"/>
                    <a:pt x="877" y="220"/>
                    <a:pt x="855" y="220"/>
                  </a:cubicBezTo>
                  <a:cubicBezTo>
                    <a:pt x="833" y="220"/>
                    <a:pt x="816" y="213"/>
                    <a:pt x="804" y="200"/>
                  </a:cubicBezTo>
                  <a:cubicBezTo>
                    <a:pt x="791" y="186"/>
                    <a:pt x="785" y="168"/>
                    <a:pt x="785" y="146"/>
                  </a:cubicBezTo>
                  <a:cubicBezTo>
                    <a:pt x="785" y="122"/>
                    <a:pt x="791" y="103"/>
                    <a:pt x="804" y="90"/>
                  </a:cubicBezTo>
                  <a:cubicBezTo>
                    <a:pt x="817" y="76"/>
                    <a:pt x="835" y="69"/>
                    <a:pt x="858" y="69"/>
                  </a:cubicBezTo>
                  <a:cubicBezTo>
                    <a:pt x="879" y="69"/>
                    <a:pt x="896" y="76"/>
                    <a:pt x="908" y="89"/>
                  </a:cubicBezTo>
                  <a:cubicBezTo>
                    <a:pt x="920" y="102"/>
                    <a:pt x="926" y="121"/>
                    <a:pt x="926" y="144"/>
                  </a:cubicBezTo>
                  <a:close/>
                  <a:moveTo>
                    <a:pt x="903" y="145"/>
                  </a:moveTo>
                  <a:cubicBezTo>
                    <a:pt x="903" y="127"/>
                    <a:pt x="899" y="113"/>
                    <a:pt x="891" y="103"/>
                  </a:cubicBezTo>
                  <a:cubicBezTo>
                    <a:pt x="883" y="93"/>
                    <a:pt x="871" y="89"/>
                    <a:pt x="856" y="89"/>
                  </a:cubicBezTo>
                  <a:cubicBezTo>
                    <a:pt x="842" y="89"/>
                    <a:pt x="830" y="93"/>
                    <a:pt x="821" y="103"/>
                  </a:cubicBezTo>
                  <a:cubicBezTo>
                    <a:pt x="813" y="113"/>
                    <a:pt x="808" y="127"/>
                    <a:pt x="808" y="145"/>
                  </a:cubicBezTo>
                  <a:cubicBezTo>
                    <a:pt x="808" y="162"/>
                    <a:pt x="813" y="176"/>
                    <a:pt x="821" y="186"/>
                  </a:cubicBezTo>
                  <a:cubicBezTo>
                    <a:pt x="830" y="195"/>
                    <a:pt x="842" y="200"/>
                    <a:pt x="856" y="200"/>
                  </a:cubicBezTo>
                  <a:cubicBezTo>
                    <a:pt x="871" y="200"/>
                    <a:pt x="883" y="195"/>
                    <a:pt x="891" y="186"/>
                  </a:cubicBezTo>
                  <a:cubicBezTo>
                    <a:pt x="899" y="176"/>
                    <a:pt x="903" y="163"/>
                    <a:pt x="903" y="145"/>
                  </a:cubicBezTo>
                  <a:close/>
                  <a:moveTo>
                    <a:pt x="1020" y="23"/>
                  </a:moveTo>
                  <a:cubicBezTo>
                    <a:pt x="1016" y="21"/>
                    <a:pt x="1011" y="20"/>
                    <a:pt x="1005" y="20"/>
                  </a:cubicBezTo>
                  <a:cubicBezTo>
                    <a:pt x="989" y="20"/>
                    <a:pt x="981" y="30"/>
                    <a:pt x="981" y="50"/>
                  </a:cubicBezTo>
                  <a:cubicBezTo>
                    <a:pt x="981" y="72"/>
                    <a:pt x="981" y="72"/>
                    <a:pt x="981" y="72"/>
                  </a:cubicBezTo>
                  <a:cubicBezTo>
                    <a:pt x="1015" y="72"/>
                    <a:pt x="1015" y="72"/>
                    <a:pt x="1015" y="72"/>
                  </a:cubicBezTo>
                  <a:cubicBezTo>
                    <a:pt x="1015" y="92"/>
                    <a:pt x="1015" y="92"/>
                    <a:pt x="1015" y="92"/>
                  </a:cubicBezTo>
                  <a:cubicBezTo>
                    <a:pt x="981" y="92"/>
                    <a:pt x="981" y="92"/>
                    <a:pt x="981" y="92"/>
                  </a:cubicBezTo>
                  <a:cubicBezTo>
                    <a:pt x="981" y="216"/>
                    <a:pt x="981" y="216"/>
                    <a:pt x="981" y="216"/>
                  </a:cubicBezTo>
                  <a:cubicBezTo>
                    <a:pt x="958" y="216"/>
                    <a:pt x="958" y="216"/>
                    <a:pt x="958" y="216"/>
                  </a:cubicBezTo>
                  <a:cubicBezTo>
                    <a:pt x="958" y="92"/>
                    <a:pt x="958" y="92"/>
                    <a:pt x="958" y="92"/>
                  </a:cubicBezTo>
                  <a:cubicBezTo>
                    <a:pt x="933" y="92"/>
                    <a:pt x="933" y="92"/>
                    <a:pt x="933" y="92"/>
                  </a:cubicBezTo>
                  <a:cubicBezTo>
                    <a:pt x="933" y="72"/>
                    <a:pt x="933" y="72"/>
                    <a:pt x="933" y="72"/>
                  </a:cubicBezTo>
                  <a:cubicBezTo>
                    <a:pt x="958" y="72"/>
                    <a:pt x="958" y="72"/>
                    <a:pt x="958" y="72"/>
                  </a:cubicBezTo>
                  <a:cubicBezTo>
                    <a:pt x="958" y="49"/>
                    <a:pt x="958" y="49"/>
                    <a:pt x="958" y="49"/>
                  </a:cubicBezTo>
                  <a:cubicBezTo>
                    <a:pt x="958" y="34"/>
                    <a:pt x="962" y="23"/>
                    <a:pt x="971" y="14"/>
                  </a:cubicBezTo>
                  <a:cubicBezTo>
                    <a:pt x="979" y="5"/>
                    <a:pt x="990" y="0"/>
                    <a:pt x="1004" y="0"/>
                  </a:cubicBezTo>
                  <a:cubicBezTo>
                    <a:pt x="1011" y="0"/>
                    <a:pt x="1016" y="1"/>
                    <a:pt x="1020" y="3"/>
                  </a:cubicBezTo>
                  <a:lnTo>
                    <a:pt x="1020" y="23"/>
                  </a:lnTo>
                  <a:close/>
                  <a:moveTo>
                    <a:pt x="1098" y="215"/>
                  </a:moveTo>
                  <a:cubicBezTo>
                    <a:pt x="1093" y="218"/>
                    <a:pt x="1086" y="220"/>
                    <a:pt x="1077" y="220"/>
                  </a:cubicBezTo>
                  <a:cubicBezTo>
                    <a:pt x="1052" y="220"/>
                    <a:pt x="1039" y="205"/>
                    <a:pt x="1039" y="177"/>
                  </a:cubicBezTo>
                  <a:cubicBezTo>
                    <a:pt x="1039" y="92"/>
                    <a:pt x="1039" y="92"/>
                    <a:pt x="1039" y="92"/>
                  </a:cubicBezTo>
                  <a:cubicBezTo>
                    <a:pt x="1014" y="92"/>
                    <a:pt x="1014" y="92"/>
                    <a:pt x="1014" y="92"/>
                  </a:cubicBezTo>
                  <a:cubicBezTo>
                    <a:pt x="1014" y="72"/>
                    <a:pt x="1014" y="72"/>
                    <a:pt x="1014" y="72"/>
                  </a:cubicBezTo>
                  <a:cubicBezTo>
                    <a:pt x="1039" y="72"/>
                    <a:pt x="1039" y="72"/>
                    <a:pt x="1039" y="72"/>
                  </a:cubicBezTo>
                  <a:cubicBezTo>
                    <a:pt x="1039" y="37"/>
                    <a:pt x="1039" y="37"/>
                    <a:pt x="1039" y="37"/>
                  </a:cubicBezTo>
                  <a:cubicBezTo>
                    <a:pt x="1062" y="30"/>
                    <a:pt x="1062" y="30"/>
                    <a:pt x="1062" y="30"/>
                  </a:cubicBezTo>
                  <a:cubicBezTo>
                    <a:pt x="1062" y="72"/>
                    <a:pt x="1062" y="72"/>
                    <a:pt x="1062" y="72"/>
                  </a:cubicBezTo>
                  <a:cubicBezTo>
                    <a:pt x="1098" y="72"/>
                    <a:pt x="1098" y="72"/>
                    <a:pt x="1098" y="72"/>
                  </a:cubicBezTo>
                  <a:cubicBezTo>
                    <a:pt x="1098" y="92"/>
                    <a:pt x="1098" y="92"/>
                    <a:pt x="1098" y="92"/>
                  </a:cubicBezTo>
                  <a:cubicBezTo>
                    <a:pt x="1062" y="92"/>
                    <a:pt x="1062" y="92"/>
                    <a:pt x="1062" y="92"/>
                  </a:cubicBezTo>
                  <a:cubicBezTo>
                    <a:pt x="1062" y="173"/>
                    <a:pt x="1062" y="173"/>
                    <a:pt x="1062" y="173"/>
                  </a:cubicBezTo>
                  <a:cubicBezTo>
                    <a:pt x="1062" y="183"/>
                    <a:pt x="1064" y="190"/>
                    <a:pt x="1067" y="194"/>
                  </a:cubicBezTo>
                  <a:cubicBezTo>
                    <a:pt x="1070" y="198"/>
                    <a:pt x="1076" y="200"/>
                    <a:pt x="1083" y="200"/>
                  </a:cubicBezTo>
                  <a:cubicBezTo>
                    <a:pt x="1089" y="200"/>
                    <a:pt x="1094" y="198"/>
                    <a:pt x="1098" y="195"/>
                  </a:cubicBezTo>
                  <a:lnTo>
                    <a:pt x="1098" y="215"/>
                  </a:lnTo>
                  <a:close/>
                  <a:moveTo>
                    <a:pt x="134" y="446"/>
                  </a:moveTo>
                  <a:cubicBezTo>
                    <a:pt x="134" y="463"/>
                    <a:pt x="128" y="477"/>
                    <a:pt x="116" y="488"/>
                  </a:cubicBezTo>
                  <a:cubicBezTo>
                    <a:pt x="103" y="499"/>
                    <a:pt x="88" y="504"/>
                    <a:pt x="69" y="504"/>
                  </a:cubicBezTo>
                  <a:cubicBezTo>
                    <a:pt x="10" y="504"/>
                    <a:pt x="10" y="504"/>
                    <a:pt x="10" y="504"/>
                  </a:cubicBezTo>
                  <a:cubicBezTo>
                    <a:pt x="10" y="303"/>
                    <a:pt x="10" y="303"/>
                    <a:pt x="10" y="303"/>
                  </a:cubicBezTo>
                  <a:cubicBezTo>
                    <a:pt x="67" y="303"/>
                    <a:pt x="67" y="303"/>
                    <a:pt x="67" y="303"/>
                  </a:cubicBezTo>
                  <a:cubicBezTo>
                    <a:pt x="84" y="303"/>
                    <a:pt x="98" y="307"/>
                    <a:pt x="108" y="315"/>
                  </a:cubicBezTo>
                  <a:cubicBezTo>
                    <a:pt x="119" y="324"/>
                    <a:pt x="124" y="335"/>
                    <a:pt x="124" y="349"/>
                  </a:cubicBezTo>
                  <a:cubicBezTo>
                    <a:pt x="124" y="360"/>
                    <a:pt x="121" y="370"/>
                    <a:pt x="115" y="378"/>
                  </a:cubicBezTo>
                  <a:cubicBezTo>
                    <a:pt x="108" y="387"/>
                    <a:pt x="100" y="393"/>
                    <a:pt x="89" y="397"/>
                  </a:cubicBezTo>
                  <a:cubicBezTo>
                    <a:pt x="89" y="397"/>
                    <a:pt x="89" y="397"/>
                    <a:pt x="89" y="397"/>
                  </a:cubicBezTo>
                  <a:cubicBezTo>
                    <a:pt x="103" y="399"/>
                    <a:pt x="114" y="404"/>
                    <a:pt x="122" y="413"/>
                  </a:cubicBezTo>
                  <a:cubicBezTo>
                    <a:pt x="130" y="421"/>
                    <a:pt x="134" y="433"/>
                    <a:pt x="134" y="446"/>
                  </a:cubicBezTo>
                  <a:close/>
                  <a:moveTo>
                    <a:pt x="99" y="353"/>
                  </a:moveTo>
                  <a:cubicBezTo>
                    <a:pt x="99" y="334"/>
                    <a:pt x="86" y="324"/>
                    <a:pt x="61" y="324"/>
                  </a:cubicBezTo>
                  <a:cubicBezTo>
                    <a:pt x="33" y="324"/>
                    <a:pt x="33" y="324"/>
                    <a:pt x="33" y="324"/>
                  </a:cubicBezTo>
                  <a:cubicBezTo>
                    <a:pt x="33" y="389"/>
                    <a:pt x="33" y="389"/>
                    <a:pt x="33" y="389"/>
                  </a:cubicBezTo>
                  <a:cubicBezTo>
                    <a:pt x="58" y="389"/>
                    <a:pt x="58" y="389"/>
                    <a:pt x="58" y="389"/>
                  </a:cubicBezTo>
                  <a:cubicBezTo>
                    <a:pt x="70" y="389"/>
                    <a:pt x="81" y="386"/>
                    <a:pt x="88" y="380"/>
                  </a:cubicBezTo>
                  <a:cubicBezTo>
                    <a:pt x="95" y="374"/>
                    <a:pt x="99" y="365"/>
                    <a:pt x="99" y="353"/>
                  </a:cubicBezTo>
                  <a:close/>
                  <a:moveTo>
                    <a:pt x="109" y="446"/>
                  </a:moveTo>
                  <a:cubicBezTo>
                    <a:pt x="109" y="422"/>
                    <a:pt x="93" y="410"/>
                    <a:pt x="61" y="410"/>
                  </a:cubicBezTo>
                  <a:cubicBezTo>
                    <a:pt x="33" y="410"/>
                    <a:pt x="33" y="410"/>
                    <a:pt x="33" y="410"/>
                  </a:cubicBezTo>
                  <a:cubicBezTo>
                    <a:pt x="33" y="483"/>
                    <a:pt x="33" y="483"/>
                    <a:pt x="33" y="483"/>
                  </a:cubicBezTo>
                  <a:cubicBezTo>
                    <a:pt x="65" y="483"/>
                    <a:pt x="65" y="483"/>
                    <a:pt x="65" y="483"/>
                  </a:cubicBezTo>
                  <a:cubicBezTo>
                    <a:pt x="79" y="483"/>
                    <a:pt x="90" y="480"/>
                    <a:pt x="98" y="473"/>
                  </a:cubicBezTo>
                  <a:cubicBezTo>
                    <a:pt x="105" y="466"/>
                    <a:pt x="109" y="457"/>
                    <a:pt x="109" y="446"/>
                  </a:cubicBezTo>
                  <a:close/>
                  <a:moveTo>
                    <a:pt x="191" y="309"/>
                  </a:moveTo>
                  <a:cubicBezTo>
                    <a:pt x="191" y="313"/>
                    <a:pt x="190" y="317"/>
                    <a:pt x="187" y="320"/>
                  </a:cubicBezTo>
                  <a:cubicBezTo>
                    <a:pt x="184" y="322"/>
                    <a:pt x="180" y="324"/>
                    <a:pt x="176" y="324"/>
                  </a:cubicBezTo>
                  <a:cubicBezTo>
                    <a:pt x="172" y="324"/>
                    <a:pt x="168" y="322"/>
                    <a:pt x="165" y="320"/>
                  </a:cubicBezTo>
                  <a:cubicBezTo>
                    <a:pt x="162" y="317"/>
                    <a:pt x="161" y="313"/>
                    <a:pt x="161" y="309"/>
                  </a:cubicBezTo>
                  <a:cubicBezTo>
                    <a:pt x="161" y="305"/>
                    <a:pt x="162" y="301"/>
                    <a:pt x="165" y="298"/>
                  </a:cubicBezTo>
                  <a:cubicBezTo>
                    <a:pt x="168" y="295"/>
                    <a:pt x="172" y="294"/>
                    <a:pt x="176" y="294"/>
                  </a:cubicBezTo>
                  <a:cubicBezTo>
                    <a:pt x="180" y="294"/>
                    <a:pt x="184" y="295"/>
                    <a:pt x="187" y="298"/>
                  </a:cubicBezTo>
                  <a:cubicBezTo>
                    <a:pt x="190" y="301"/>
                    <a:pt x="191" y="305"/>
                    <a:pt x="191" y="309"/>
                  </a:cubicBezTo>
                  <a:close/>
                  <a:moveTo>
                    <a:pt x="187" y="504"/>
                  </a:moveTo>
                  <a:cubicBezTo>
                    <a:pt x="164" y="504"/>
                    <a:pt x="164" y="504"/>
                    <a:pt x="164" y="504"/>
                  </a:cubicBezTo>
                  <a:cubicBezTo>
                    <a:pt x="164" y="360"/>
                    <a:pt x="164" y="360"/>
                    <a:pt x="164" y="360"/>
                  </a:cubicBezTo>
                  <a:cubicBezTo>
                    <a:pt x="187" y="360"/>
                    <a:pt x="187" y="360"/>
                    <a:pt x="187" y="360"/>
                  </a:cubicBezTo>
                  <a:lnTo>
                    <a:pt x="187" y="504"/>
                  </a:lnTo>
                  <a:close/>
                  <a:moveTo>
                    <a:pt x="327" y="367"/>
                  </a:moveTo>
                  <a:cubicBezTo>
                    <a:pt x="241" y="485"/>
                    <a:pt x="241" y="485"/>
                    <a:pt x="241" y="485"/>
                  </a:cubicBezTo>
                  <a:cubicBezTo>
                    <a:pt x="326" y="485"/>
                    <a:pt x="326" y="485"/>
                    <a:pt x="326" y="485"/>
                  </a:cubicBezTo>
                  <a:cubicBezTo>
                    <a:pt x="326" y="504"/>
                    <a:pt x="326" y="504"/>
                    <a:pt x="326" y="504"/>
                  </a:cubicBezTo>
                  <a:cubicBezTo>
                    <a:pt x="207" y="504"/>
                    <a:pt x="207" y="504"/>
                    <a:pt x="207" y="504"/>
                  </a:cubicBezTo>
                  <a:cubicBezTo>
                    <a:pt x="207" y="497"/>
                    <a:pt x="207" y="497"/>
                    <a:pt x="207" y="497"/>
                  </a:cubicBezTo>
                  <a:cubicBezTo>
                    <a:pt x="293" y="380"/>
                    <a:pt x="293" y="380"/>
                    <a:pt x="293" y="380"/>
                  </a:cubicBezTo>
                  <a:cubicBezTo>
                    <a:pt x="215" y="380"/>
                    <a:pt x="215" y="380"/>
                    <a:pt x="215" y="380"/>
                  </a:cubicBezTo>
                  <a:cubicBezTo>
                    <a:pt x="215" y="360"/>
                    <a:pt x="215" y="360"/>
                    <a:pt x="215" y="360"/>
                  </a:cubicBezTo>
                  <a:cubicBezTo>
                    <a:pt x="327" y="360"/>
                    <a:pt x="327" y="360"/>
                    <a:pt x="327" y="360"/>
                  </a:cubicBezTo>
                  <a:lnTo>
                    <a:pt x="327" y="367"/>
                  </a:lnTo>
                  <a:close/>
                  <a:moveTo>
                    <a:pt x="456" y="324"/>
                  </a:moveTo>
                  <a:cubicBezTo>
                    <a:pt x="398" y="324"/>
                    <a:pt x="398" y="324"/>
                    <a:pt x="398" y="324"/>
                  </a:cubicBezTo>
                  <a:cubicBezTo>
                    <a:pt x="398" y="504"/>
                    <a:pt x="398" y="504"/>
                    <a:pt x="398" y="504"/>
                  </a:cubicBezTo>
                  <a:cubicBezTo>
                    <a:pt x="375" y="504"/>
                    <a:pt x="375" y="504"/>
                    <a:pt x="375" y="504"/>
                  </a:cubicBezTo>
                  <a:cubicBezTo>
                    <a:pt x="375" y="324"/>
                    <a:pt x="375" y="324"/>
                    <a:pt x="375" y="324"/>
                  </a:cubicBezTo>
                  <a:cubicBezTo>
                    <a:pt x="316" y="324"/>
                    <a:pt x="316" y="324"/>
                    <a:pt x="316" y="324"/>
                  </a:cubicBezTo>
                  <a:cubicBezTo>
                    <a:pt x="316" y="303"/>
                    <a:pt x="316" y="303"/>
                    <a:pt x="316" y="303"/>
                  </a:cubicBezTo>
                  <a:cubicBezTo>
                    <a:pt x="456" y="303"/>
                    <a:pt x="456" y="303"/>
                    <a:pt x="456" y="303"/>
                  </a:cubicBezTo>
                  <a:lnTo>
                    <a:pt x="456" y="324"/>
                  </a:lnTo>
                  <a:close/>
                  <a:moveTo>
                    <a:pt x="549" y="504"/>
                  </a:moveTo>
                  <a:cubicBezTo>
                    <a:pt x="526" y="504"/>
                    <a:pt x="526" y="504"/>
                    <a:pt x="526" y="504"/>
                  </a:cubicBezTo>
                  <a:cubicBezTo>
                    <a:pt x="526" y="482"/>
                    <a:pt x="526" y="482"/>
                    <a:pt x="526" y="482"/>
                  </a:cubicBezTo>
                  <a:cubicBezTo>
                    <a:pt x="525" y="482"/>
                    <a:pt x="525" y="482"/>
                    <a:pt x="525" y="482"/>
                  </a:cubicBezTo>
                  <a:cubicBezTo>
                    <a:pt x="515" y="499"/>
                    <a:pt x="500" y="508"/>
                    <a:pt x="481" y="508"/>
                  </a:cubicBezTo>
                  <a:cubicBezTo>
                    <a:pt x="467" y="508"/>
                    <a:pt x="456" y="504"/>
                    <a:pt x="447" y="497"/>
                  </a:cubicBezTo>
                  <a:cubicBezTo>
                    <a:pt x="439" y="489"/>
                    <a:pt x="435" y="479"/>
                    <a:pt x="435" y="466"/>
                  </a:cubicBezTo>
                  <a:cubicBezTo>
                    <a:pt x="435" y="439"/>
                    <a:pt x="451" y="424"/>
                    <a:pt x="482" y="419"/>
                  </a:cubicBezTo>
                  <a:cubicBezTo>
                    <a:pt x="526" y="413"/>
                    <a:pt x="526" y="413"/>
                    <a:pt x="526" y="413"/>
                  </a:cubicBezTo>
                  <a:cubicBezTo>
                    <a:pt x="526" y="389"/>
                    <a:pt x="516" y="377"/>
                    <a:pt x="496" y="377"/>
                  </a:cubicBezTo>
                  <a:cubicBezTo>
                    <a:pt x="479" y="377"/>
                    <a:pt x="463" y="382"/>
                    <a:pt x="449" y="394"/>
                  </a:cubicBezTo>
                  <a:cubicBezTo>
                    <a:pt x="449" y="370"/>
                    <a:pt x="449" y="370"/>
                    <a:pt x="449" y="370"/>
                  </a:cubicBezTo>
                  <a:cubicBezTo>
                    <a:pt x="453" y="367"/>
                    <a:pt x="460" y="364"/>
                    <a:pt x="471" y="361"/>
                  </a:cubicBezTo>
                  <a:cubicBezTo>
                    <a:pt x="481" y="358"/>
                    <a:pt x="490" y="357"/>
                    <a:pt x="498" y="357"/>
                  </a:cubicBezTo>
                  <a:cubicBezTo>
                    <a:pt x="532" y="357"/>
                    <a:pt x="549" y="375"/>
                    <a:pt x="549" y="411"/>
                  </a:cubicBezTo>
                  <a:lnTo>
                    <a:pt x="549" y="504"/>
                  </a:lnTo>
                  <a:close/>
                  <a:moveTo>
                    <a:pt x="526" y="432"/>
                  </a:moveTo>
                  <a:cubicBezTo>
                    <a:pt x="491" y="436"/>
                    <a:pt x="491" y="436"/>
                    <a:pt x="491" y="436"/>
                  </a:cubicBezTo>
                  <a:cubicBezTo>
                    <a:pt x="479" y="438"/>
                    <a:pt x="470" y="441"/>
                    <a:pt x="466" y="445"/>
                  </a:cubicBezTo>
                  <a:cubicBezTo>
                    <a:pt x="461" y="449"/>
                    <a:pt x="458" y="455"/>
                    <a:pt x="458" y="464"/>
                  </a:cubicBezTo>
                  <a:cubicBezTo>
                    <a:pt x="458" y="472"/>
                    <a:pt x="461" y="477"/>
                    <a:pt x="466" y="482"/>
                  </a:cubicBezTo>
                  <a:cubicBezTo>
                    <a:pt x="471" y="486"/>
                    <a:pt x="478" y="488"/>
                    <a:pt x="486" y="488"/>
                  </a:cubicBezTo>
                  <a:cubicBezTo>
                    <a:pt x="497" y="488"/>
                    <a:pt x="507" y="484"/>
                    <a:pt x="514" y="476"/>
                  </a:cubicBezTo>
                  <a:cubicBezTo>
                    <a:pt x="522" y="468"/>
                    <a:pt x="526" y="458"/>
                    <a:pt x="526" y="446"/>
                  </a:cubicBezTo>
                  <a:lnTo>
                    <a:pt x="526" y="432"/>
                  </a:lnTo>
                  <a:close/>
                  <a:moveTo>
                    <a:pt x="607" y="504"/>
                  </a:moveTo>
                  <a:cubicBezTo>
                    <a:pt x="584" y="504"/>
                    <a:pt x="584" y="504"/>
                    <a:pt x="584" y="504"/>
                  </a:cubicBezTo>
                  <a:cubicBezTo>
                    <a:pt x="584" y="291"/>
                    <a:pt x="584" y="291"/>
                    <a:pt x="584" y="291"/>
                  </a:cubicBezTo>
                  <a:cubicBezTo>
                    <a:pt x="607" y="291"/>
                    <a:pt x="607" y="291"/>
                    <a:pt x="607" y="291"/>
                  </a:cubicBezTo>
                  <a:lnTo>
                    <a:pt x="607" y="504"/>
                  </a:lnTo>
                  <a:close/>
                  <a:moveTo>
                    <a:pt x="766" y="504"/>
                  </a:moveTo>
                  <a:cubicBezTo>
                    <a:pt x="733" y="504"/>
                    <a:pt x="733" y="504"/>
                    <a:pt x="733" y="504"/>
                  </a:cubicBezTo>
                  <a:cubicBezTo>
                    <a:pt x="670" y="435"/>
                    <a:pt x="670" y="435"/>
                    <a:pt x="670" y="435"/>
                  </a:cubicBezTo>
                  <a:cubicBezTo>
                    <a:pt x="669" y="435"/>
                    <a:pt x="669" y="435"/>
                    <a:pt x="669" y="435"/>
                  </a:cubicBezTo>
                  <a:cubicBezTo>
                    <a:pt x="669" y="504"/>
                    <a:pt x="669" y="504"/>
                    <a:pt x="669" y="504"/>
                  </a:cubicBezTo>
                  <a:cubicBezTo>
                    <a:pt x="646" y="504"/>
                    <a:pt x="646" y="504"/>
                    <a:pt x="646" y="504"/>
                  </a:cubicBezTo>
                  <a:cubicBezTo>
                    <a:pt x="646" y="291"/>
                    <a:pt x="646" y="291"/>
                    <a:pt x="646" y="291"/>
                  </a:cubicBezTo>
                  <a:cubicBezTo>
                    <a:pt x="669" y="291"/>
                    <a:pt x="669" y="291"/>
                    <a:pt x="669" y="291"/>
                  </a:cubicBezTo>
                  <a:cubicBezTo>
                    <a:pt x="669" y="426"/>
                    <a:pt x="669" y="426"/>
                    <a:pt x="669" y="426"/>
                  </a:cubicBezTo>
                  <a:cubicBezTo>
                    <a:pt x="670" y="426"/>
                    <a:pt x="670" y="426"/>
                    <a:pt x="670" y="426"/>
                  </a:cubicBezTo>
                  <a:cubicBezTo>
                    <a:pt x="730" y="360"/>
                    <a:pt x="730" y="360"/>
                    <a:pt x="730" y="360"/>
                  </a:cubicBezTo>
                  <a:cubicBezTo>
                    <a:pt x="761" y="360"/>
                    <a:pt x="761" y="360"/>
                    <a:pt x="761" y="360"/>
                  </a:cubicBezTo>
                  <a:cubicBezTo>
                    <a:pt x="694" y="430"/>
                    <a:pt x="694" y="430"/>
                    <a:pt x="694" y="430"/>
                  </a:cubicBezTo>
                  <a:lnTo>
                    <a:pt x="766" y="504"/>
                  </a:lnTo>
                  <a:close/>
                  <a:moveTo>
                    <a:pt x="113" y="741"/>
                  </a:moveTo>
                  <a:cubicBezTo>
                    <a:pt x="113" y="758"/>
                    <a:pt x="107" y="772"/>
                    <a:pt x="95" y="781"/>
                  </a:cubicBezTo>
                  <a:cubicBezTo>
                    <a:pt x="83" y="791"/>
                    <a:pt x="66" y="796"/>
                    <a:pt x="46" y="796"/>
                  </a:cubicBezTo>
                  <a:cubicBezTo>
                    <a:pt x="38" y="796"/>
                    <a:pt x="30" y="795"/>
                    <a:pt x="20" y="792"/>
                  </a:cubicBezTo>
                  <a:cubicBezTo>
                    <a:pt x="11" y="790"/>
                    <a:pt x="4" y="787"/>
                    <a:pt x="0" y="784"/>
                  </a:cubicBezTo>
                  <a:cubicBezTo>
                    <a:pt x="0" y="756"/>
                    <a:pt x="0" y="756"/>
                    <a:pt x="0" y="756"/>
                  </a:cubicBezTo>
                  <a:cubicBezTo>
                    <a:pt x="6" y="762"/>
                    <a:pt x="14" y="766"/>
                    <a:pt x="23" y="769"/>
                  </a:cubicBezTo>
                  <a:cubicBezTo>
                    <a:pt x="32" y="773"/>
                    <a:pt x="41" y="774"/>
                    <a:pt x="49" y="774"/>
                  </a:cubicBezTo>
                  <a:cubicBezTo>
                    <a:pt x="75" y="774"/>
                    <a:pt x="88" y="764"/>
                    <a:pt x="88" y="744"/>
                  </a:cubicBezTo>
                  <a:cubicBezTo>
                    <a:pt x="88" y="736"/>
                    <a:pt x="85" y="729"/>
                    <a:pt x="80" y="723"/>
                  </a:cubicBezTo>
                  <a:cubicBezTo>
                    <a:pt x="74" y="716"/>
                    <a:pt x="63" y="709"/>
                    <a:pt x="46" y="699"/>
                  </a:cubicBezTo>
                  <a:cubicBezTo>
                    <a:pt x="29" y="689"/>
                    <a:pt x="17" y="680"/>
                    <a:pt x="11" y="672"/>
                  </a:cubicBezTo>
                  <a:cubicBezTo>
                    <a:pt x="4" y="664"/>
                    <a:pt x="1" y="653"/>
                    <a:pt x="1" y="641"/>
                  </a:cubicBezTo>
                  <a:cubicBezTo>
                    <a:pt x="1" y="625"/>
                    <a:pt x="7" y="612"/>
                    <a:pt x="19" y="602"/>
                  </a:cubicBezTo>
                  <a:cubicBezTo>
                    <a:pt x="30" y="592"/>
                    <a:pt x="46" y="587"/>
                    <a:pt x="65" y="587"/>
                  </a:cubicBezTo>
                  <a:cubicBezTo>
                    <a:pt x="83" y="587"/>
                    <a:pt x="96" y="590"/>
                    <a:pt x="104" y="594"/>
                  </a:cubicBezTo>
                  <a:cubicBezTo>
                    <a:pt x="104" y="621"/>
                    <a:pt x="104" y="621"/>
                    <a:pt x="104" y="621"/>
                  </a:cubicBezTo>
                  <a:cubicBezTo>
                    <a:pt x="94" y="613"/>
                    <a:pt x="80" y="609"/>
                    <a:pt x="63" y="609"/>
                  </a:cubicBezTo>
                  <a:cubicBezTo>
                    <a:pt x="52" y="609"/>
                    <a:pt x="43" y="611"/>
                    <a:pt x="36" y="617"/>
                  </a:cubicBezTo>
                  <a:cubicBezTo>
                    <a:pt x="29" y="623"/>
                    <a:pt x="25" y="630"/>
                    <a:pt x="25" y="639"/>
                  </a:cubicBezTo>
                  <a:cubicBezTo>
                    <a:pt x="25" y="646"/>
                    <a:pt x="26" y="651"/>
                    <a:pt x="29" y="655"/>
                  </a:cubicBezTo>
                  <a:cubicBezTo>
                    <a:pt x="31" y="659"/>
                    <a:pt x="34" y="663"/>
                    <a:pt x="39" y="667"/>
                  </a:cubicBezTo>
                  <a:cubicBezTo>
                    <a:pt x="44" y="671"/>
                    <a:pt x="53" y="676"/>
                    <a:pt x="65" y="683"/>
                  </a:cubicBezTo>
                  <a:cubicBezTo>
                    <a:pt x="82" y="693"/>
                    <a:pt x="95" y="702"/>
                    <a:pt x="102" y="711"/>
                  </a:cubicBezTo>
                  <a:cubicBezTo>
                    <a:pt x="109" y="720"/>
                    <a:pt x="113" y="730"/>
                    <a:pt x="113" y="741"/>
                  </a:cubicBezTo>
                  <a:close/>
                  <a:moveTo>
                    <a:pt x="257" y="726"/>
                  </a:moveTo>
                  <a:cubicBezTo>
                    <a:pt x="155" y="726"/>
                    <a:pt x="155" y="726"/>
                    <a:pt x="155" y="726"/>
                  </a:cubicBezTo>
                  <a:cubicBezTo>
                    <a:pt x="155" y="742"/>
                    <a:pt x="160" y="755"/>
                    <a:pt x="168" y="763"/>
                  </a:cubicBezTo>
                  <a:cubicBezTo>
                    <a:pt x="176" y="772"/>
                    <a:pt x="187" y="776"/>
                    <a:pt x="202" y="776"/>
                  </a:cubicBezTo>
                  <a:cubicBezTo>
                    <a:pt x="218" y="776"/>
                    <a:pt x="233" y="771"/>
                    <a:pt x="247" y="760"/>
                  </a:cubicBezTo>
                  <a:cubicBezTo>
                    <a:pt x="247" y="782"/>
                    <a:pt x="247" y="782"/>
                    <a:pt x="247" y="782"/>
                  </a:cubicBezTo>
                  <a:cubicBezTo>
                    <a:pt x="234" y="791"/>
                    <a:pt x="217" y="796"/>
                    <a:pt x="196" y="796"/>
                  </a:cubicBezTo>
                  <a:cubicBezTo>
                    <a:pt x="176" y="796"/>
                    <a:pt x="160" y="789"/>
                    <a:pt x="148" y="776"/>
                  </a:cubicBezTo>
                  <a:cubicBezTo>
                    <a:pt x="137" y="763"/>
                    <a:pt x="131" y="744"/>
                    <a:pt x="131" y="721"/>
                  </a:cubicBezTo>
                  <a:cubicBezTo>
                    <a:pt x="131" y="707"/>
                    <a:pt x="134" y="694"/>
                    <a:pt x="140" y="682"/>
                  </a:cubicBezTo>
                  <a:cubicBezTo>
                    <a:pt x="146" y="670"/>
                    <a:pt x="153" y="661"/>
                    <a:pt x="164" y="655"/>
                  </a:cubicBezTo>
                  <a:cubicBezTo>
                    <a:pt x="174" y="648"/>
                    <a:pt x="185" y="645"/>
                    <a:pt x="197" y="645"/>
                  </a:cubicBezTo>
                  <a:cubicBezTo>
                    <a:pt x="216" y="645"/>
                    <a:pt x="231" y="651"/>
                    <a:pt x="241" y="663"/>
                  </a:cubicBezTo>
                  <a:cubicBezTo>
                    <a:pt x="251" y="675"/>
                    <a:pt x="257" y="692"/>
                    <a:pt x="257" y="714"/>
                  </a:cubicBezTo>
                  <a:lnTo>
                    <a:pt x="257" y="726"/>
                  </a:lnTo>
                  <a:close/>
                  <a:moveTo>
                    <a:pt x="233" y="707"/>
                  </a:moveTo>
                  <a:cubicBezTo>
                    <a:pt x="233" y="693"/>
                    <a:pt x="230" y="683"/>
                    <a:pt x="223" y="676"/>
                  </a:cubicBezTo>
                  <a:cubicBezTo>
                    <a:pt x="217" y="668"/>
                    <a:pt x="208" y="665"/>
                    <a:pt x="197" y="665"/>
                  </a:cubicBezTo>
                  <a:cubicBezTo>
                    <a:pt x="186" y="665"/>
                    <a:pt x="177" y="668"/>
                    <a:pt x="170" y="676"/>
                  </a:cubicBezTo>
                  <a:cubicBezTo>
                    <a:pt x="162" y="684"/>
                    <a:pt x="157" y="694"/>
                    <a:pt x="155" y="707"/>
                  </a:cubicBezTo>
                  <a:lnTo>
                    <a:pt x="233" y="707"/>
                  </a:lnTo>
                  <a:close/>
                  <a:moveTo>
                    <a:pt x="358" y="672"/>
                  </a:moveTo>
                  <a:cubicBezTo>
                    <a:pt x="354" y="669"/>
                    <a:pt x="348" y="667"/>
                    <a:pt x="340" y="667"/>
                  </a:cubicBezTo>
                  <a:cubicBezTo>
                    <a:pt x="330" y="667"/>
                    <a:pt x="322" y="672"/>
                    <a:pt x="315" y="681"/>
                  </a:cubicBezTo>
                  <a:cubicBezTo>
                    <a:pt x="309" y="691"/>
                    <a:pt x="306" y="704"/>
                    <a:pt x="306" y="719"/>
                  </a:cubicBezTo>
                  <a:cubicBezTo>
                    <a:pt x="306" y="792"/>
                    <a:pt x="306" y="792"/>
                    <a:pt x="306" y="792"/>
                  </a:cubicBezTo>
                  <a:cubicBezTo>
                    <a:pt x="283" y="792"/>
                    <a:pt x="283" y="792"/>
                    <a:pt x="283" y="792"/>
                  </a:cubicBezTo>
                  <a:cubicBezTo>
                    <a:pt x="283" y="648"/>
                    <a:pt x="283" y="648"/>
                    <a:pt x="283" y="648"/>
                  </a:cubicBezTo>
                  <a:cubicBezTo>
                    <a:pt x="306" y="648"/>
                    <a:pt x="306" y="648"/>
                    <a:pt x="306" y="648"/>
                  </a:cubicBezTo>
                  <a:cubicBezTo>
                    <a:pt x="306" y="678"/>
                    <a:pt x="306" y="678"/>
                    <a:pt x="306" y="678"/>
                  </a:cubicBezTo>
                  <a:cubicBezTo>
                    <a:pt x="306" y="678"/>
                    <a:pt x="306" y="678"/>
                    <a:pt x="306" y="678"/>
                  </a:cubicBezTo>
                  <a:cubicBezTo>
                    <a:pt x="309" y="668"/>
                    <a:pt x="314" y="660"/>
                    <a:pt x="321" y="654"/>
                  </a:cubicBezTo>
                  <a:cubicBezTo>
                    <a:pt x="328" y="649"/>
                    <a:pt x="335" y="646"/>
                    <a:pt x="344" y="646"/>
                  </a:cubicBezTo>
                  <a:cubicBezTo>
                    <a:pt x="350" y="646"/>
                    <a:pt x="355" y="646"/>
                    <a:pt x="358" y="648"/>
                  </a:cubicBezTo>
                  <a:lnTo>
                    <a:pt x="358" y="672"/>
                  </a:lnTo>
                  <a:close/>
                  <a:moveTo>
                    <a:pt x="500" y="648"/>
                  </a:moveTo>
                  <a:cubicBezTo>
                    <a:pt x="443" y="792"/>
                    <a:pt x="443" y="792"/>
                    <a:pt x="443" y="792"/>
                  </a:cubicBezTo>
                  <a:cubicBezTo>
                    <a:pt x="420" y="792"/>
                    <a:pt x="420" y="792"/>
                    <a:pt x="420" y="792"/>
                  </a:cubicBezTo>
                  <a:cubicBezTo>
                    <a:pt x="365" y="648"/>
                    <a:pt x="365" y="648"/>
                    <a:pt x="365" y="648"/>
                  </a:cubicBezTo>
                  <a:cubicBezTo>
                    <a:pt x="391" y="648"/>
                    <a:pt x="391" y="648"/>
                    <a:pt x="391" y="648"/>
                  </a:cubicBezTo>
                  <a:cubicBezTo>
                    <a:pt x="427" y="753"/>
                    <a:pt x="427" y="753"/>
                    <a:pt x="427" y="753"/>
                  </a:cubicBezTo>
                  <a:cubicBezTo>
                    <a:pt x="429" y="758"/>
                    <a:pt x="431" y="765"/>
                    <a:pt x="432" y="773"/>
                  </a:cubicBezTo>
                  <a:cubicBezTo>
                    <a:pt x="433" y="773"/>
                    <a:pt x="433" y="773"/>
                    <a:pt x="433" y="773"/>
                  </a:cubicBezTo>
                  <a:cubicBezTo>
                    <a:pt x="434" y="766"/>
                    <a:pt x="435" y="760"/>
                    <a:pt x="437" y="754"/>
                  </a:cubicBezTo>
                  <a:cubicBezTo>
                    <a:pt x="476" y="648"/>
                    <a:pt x="476" y="648"/>
                    <a:pt x="476" y="648"/>
                  </a:cubicBezTo>
                  <a:lnTo>
                    <a:pt x="500" y="648"/>
                  </a:lnTo>
                  <a:close/>
                  <a:moveTo>
                    <a:pt x="631" y="726"/>
                  </a:moveTo>
                  <a:cubicBezTo>
                    <a:pt x="530" y="726"/>
                    <a:pt x="530" y="726"/>
                    <a:pt x="530" y="726"/>
                  </a:cubicBezTo>
                  <a:cubicBezTo>
                    <a:pt x="530" y="742"/>
                    <a:pt x="534" y="755"/>
                    <a:pt x="543" y="763"/>
                  </a:cubicBezTo>
                  <a:cubicBezTo>
                    <a:pt x="551" y="772"/>
                    <a:pt x="562" y="776"/>
                    <a:pt x="577" y="776"/>
                  </a:cubicBezTo>
                  <a:cubicBezTo>
                    <a:pt x="593" y="776"/>
                    <a:pt x="608" y="771"/>
                    <a:pt x="621" y="760"/>
                  </a:cubicBezTo>
                  <a:cubicBezTo>
                    <a:pt x="621" y="782"/>
                    <a:pt x="621" y="782"/>
                    <a:pt x="621" y="782"/>
                  </a:cubicBezTo>
                  <a:cubicBezTo>
                    <a:pt x="609" y="791"/>
                    <a:pt x="592" y="796"/>
                    <a:pt x="571" y="796"/>
                  </a:cubicBezTo>
                  <a:cubicBezTo>
                    <a:pt x="551" y="796"/>
                    <a:pt x="535" y="789"/>
                    <a:pt x="523" y="776"/>
                  </a:cubicBezTo>
                  <a:cubicBezTo>
                    <a:pt x="512" y="763"/>
                    <a:pt x="506" y="744"/>
                    <a:pt x="506" y="721"/>
                  </a:cubicBezTo>
                  <a:cubicBezTo>
                    <a:pt x="506" y="707"/>
                    <a:pt x="509" y="694"/>
                    <a:pt x="515" y="682"/>
                  </a:cubicBezTo>
                  <a:cubicBezTo>
                    <a:pt x="520" y="670"/>
                    <a:pt x="528" y="661"/>
                    <a:pt x="538" y="655"/>
                  </a:cubicBezTo>
                  <a:cubicBezTo>
                    <a:pt x="548" y="648"/>
                    <a:pt x="560" y="645"/>
                    <a:pt x="572" y="645"/>
                  </a:cubicBezTo>
                  <a:cubicBezTo>
                    <a:pt x="591" y="645"/>
                    <a:pt x="605" y="651"/>
                    <a:pt x="616" y="663"/>
                  </a:cubicBezTo>
                  <a:cubicBezTo>
                    <a:pt x="626" y="675"/>
                    <a:pt x="631" y="692"/>
                    <a:pt x="631" y="714"/>
                  </a:cubicBezTo>
                  <a:lnTo>
                    <a:pt x="631" y="726"/>
                  </a:lnTo>
                  <a:close/>
                  <a:moveTo>
                    <a:pt x="608" y="707"/>
                  </a:moveTo>
                  <a:cubicBezTo>
                    <a:pt x="608" y="693"/>
                    <a:pt x="604" y="683"/>
                    <a:pt x="598" y="676"/>
                  </a:cubicBezTo>
                  <a:cubicBezTo>
                    <a:pt x="592" y="668"/>
                    <a:pt x="583" y="665"/>
                    <a:pt x="572" y="665"/>
                  </a:cubicBezTo>
                  <a:cubicBezTo>
                    <a:pt x="561" y="665"/>
                    <a:pt x="552" y="668"/>
                    <a:pt x="544" y="676"/>
                  </a:cubicBezTo>
                  <a:cubicBezTo>
                    <a:pt x="537" y="684"/>
                    <a:pt x="532" y="694"/>
                    <a:pt x="530" y="707"/>
                  </a:cubicBezTo>
                  <a:lnTo>
                    <a:pt x="608" y="707"/>
                  </a:lnTo>
                  <a:close/>
                  <a:moveTo>
                    <a:pt x="733" y="672"/>
                  </a:moveTo>
                  <a:cubicBezTo>
                    <a:pt x="728" y="669"/>
                    <a:pt x="723" y="667"/>
                    <a:pt x="715" y="667"/>
                  </a:cubicBezTo>
                  <a:cubicBezTo>
                    <a:pt x="705" y="667"/>
                    <a:pt x="696" y="672"/>
                    <a:pt x="690" y="681"/>
                  </a:cubicBezTo>
                  <a:cubicBezTo>
                    <a:pt x="684" y="691"/>
                    <a:pt x="681" y="704"/>
                    <a:pt x="681" y="719"/>
                  </a:cubicBezTo>
                  <a:cubicBezTo>
                    <a:pt x="681" y="792"/>
                    <a:pt x="681" y="792"/>
                    <a:pt x="681" y="792"/>
                  </a:cubicBezTo>
                  <a:cubicBezTo>
                    <a:pt x="657" y="792"/>
                    <a:pt x="657" y="792"/>
                    <a:pt x="657" y="792"/>
                  </a:cubicBezTo>
                  <a:cubicBezTo>
                    <a:pt x="657" y="648"/>
                    <a:pt x="657" y="648"/>
                    <a:pt x="657" y="648"/>
                  </a:cubicBezTo>
                  <a:cubicBezTo>
                    <a:pt x="681" y="648"/>
                    <a:pt x="681" y="648"/>
                    <a:pt x="681" y="648"/>
                  </a:cubicBezTo>
                  <a:cubicBezTo>
                    <a:pt x="681" y="678"/>
                    <a:pt x="681" y="678"/>
                    <a:pt x="681" y="678"/>
                  </a:cubicBezTo>
                  <a:cubicBezTo>
                    <a:pt x="681" y="678"/>
                    <a:pt x="681" y="678"/>
                    <a:pt x="681" y="678"/>
                  </a:cubicBezTo>
                  <a:cubicBezTo>
                    <a:pt x="684" y="668"/>
                    <a:pt x="689" y="660"/>
                    <a:pt x="696" y="654"/>
                  </a:cubicBezTo>
                  <a:cubicBezTo>
                    <a:pt x="702" y="649"/>
                    <a:pt x="710" y="646"/>
                    <a:pt x="719" y="646"/>
                  </a:cubicBezTo>
                  <a:cubicBezTo>
                    <a:pt x="725" y="646"/>
                    <a:pt x="729" y="646"/>
                    <a:pt x="733" y="648"/>
                  </a:cubicBezTo>
                  <a:lnTo>
                    <a:pt x="733" y="6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맑은 고딕" panose="020B0503020000020004" pitchFamily="34" charset="-127"/>
                <a:ea typeface="맑은 고딕" panose="020B0503020000020004" pitchFamily="34" charset="-127"/>
                <a:cs typeface="+mn-cs"/>
              </a:endParaRPr>
            </a:p>
          </p:txBody>
        </p:sp>
        <p:pic>
          <p:nvPicPr>
            <p:cNvPr id="93" name="Picture 118"/>
            <p:cNvPicPr>
              <a:picLocks noChangeAspect="1"/>
            </p:cNvPicPr>
            <p:nvPr/>
          </p:nvPicPr>
          <p:blipFill>
            <a:blip r:embed="rId3" cstate="screen">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11124716" y="5036057"/>
              <a:ext cx="420687" cy="420687"/>
            </a:xfrm>
            <a:prstGeom prst="rect">
              <a:avLst/>
            </a:prstGeom>
          </p:spPr>
        </p:pic>
        <p:grpSp>
          <p:nvGrpSpPr>
            <p:cNvPr id="94" name="Group 57"/>
            <p:cNvGrpSpPr>
              <a:grpSpLocks noChangeAspect="1"/>
            </p:cNvGrpSpPr>
            <p:nvPr/>
          </p:nvGrpSpPr>
          <p:grpSpPr bwMode="auto">
            <a:xfrm>
              <a:off x="9926638" y="3368675"/>
              <a:ext cx="777875" cy="800100"/>
              <a:chOff x="6253" y="2122"/>
              <a:chExt cx="490" cy="504"/>
            </a:xfrm>
          </p:grpSpPr>
          <p:sp>
            <p:nvSpPr>
              <p:cNvPr id="110" name="AutoShape 56"/>
              <p:cNvSpPr>
                <a:spLocks noChangeAspect="1" noChangeArrowheads="1" noTextEdit="1"/>
              </p:cNvSpPr>
              <p:nvPr/>
            </p:nvSpPr>
            <p:spPr bwMode="auto">
              <a:xfrm>
                <a:off x="6253" y="2122"/>
                <a:ext cx="488" cy="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맑은 고딕" panose="020B0503020000020004" pitchFamily="34" charset="-127"/>
                  <a:ea typeface="맑은 고딕" panose="020B0503020000020004" pitchFamily="34" charset="-127"/>
                  <a:cs typeface="+mn-cs"/>
                </a:endParaRPr>
              </a:p>
            </p:txBody>
          </p:sp>
          <p:sp>
            <p:nvSpPr>
              <p:cNvPr id="111" name="Freeform 58"/>
              <p:cNvSpPr>
                <a:spLocks/>
              </p:cNvSpPr>
              <p:nvPr/>
            </p:nvSpPr>
            <p:spPr bwMode="auto">
              <a:xfrm>
                <a:off x="6255" y="2122"/>
                <a:ext cx="488" cy="489"/>
              </a:xfrm>
              <a:custGeom>
                <a:avLst/>
                <a:gdLst>
                  <a:gd name="T0" fmla="*/ 178 w 306"/>
                  <a:gd name="T1" fmla="*/ 305 h 307"/>
                  <a:gd name="T2" fmla="*/ 173 w 306"/>
                  <a:gd name="T3" fmla="*/ 305 h 307"/>
                  <a:gd name="T4" fmla="*/ 1 w 306"/>
                  <a:gd name="T5" fmla="*/ 133 h 307"/>
                  <a:gd name="T6" fmla="*/ 1 w 306"/>
                  <a:gd name="T7" fmla="*/ 128 h 307"/>
                  <a:gd name="T8" fmla="*/ 128 w 306"/>
                  <a:gd name="T9" fmla="*/ 2 h 307"/>
                  <a:gd name="T10" fmla="*/ 133 w 306"/>
                  <a:gd name="T11" fmla="*/ 2 h 307"/>
                  <a:gd name="T12" fmla="*/ 305 w 306"/>
                  <a:gd name="T13" fmla="*/ 174 h 307"/>
                  <a:gd name="T14" fmla="*/ 305 w 306"/>
                  <a:gd name="T15" fmla="*/ 179 h 307"/>
                  <a:gd name="T16" fmla="*/ 178 w 306"/>
                  <a:gd name="T17" fmla="*/ 30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6" h="307">
                    <a:moveTo>
                      <a:pt x="178" y="305"/>
                    </a:moveTo>
                    <a:cubicBezTo>
                      <a:pt x="177" y="307"/>
                      <a:pt x="175" y="307"/>
                      <a:pt x="173" y="305"/>
                    </a:cubicBezTo>
                    <a:cubicBezTo>
                      <a:pt x="1" y="133"/>
                      <a:pt x="1" y="133"/>
                      <a:pt x="1" y="133"/>
                    </a:cubicBezTo>
                    <a:cubicBezTo>
                      <a:pt x="0" y="132"/>
                      <a:pt x="0" y="130"/>
                      <a:pt x="1" y="128"/>
                    </a:cubicBezTo>
                    <a:cubicBezTo>
                      <a:pt x="128" y="2"/>
                      <a:pt x="128" y="2"/>
                      <a:pt x="128" y="2"/>
                    </a:cubicBezTo>
                    <a:cubicBezTo>
                      <a:pt x="129" y="0"/>
                      <a:pt x="131" y="0"/>
                      <a:pt x="133" y="2"/>
                    </a:cubicBezTo>
                    <a:cubicBezTo>
                      <a:pt x="305" y="174"/>
                      <a:pt x="305" y="174"/>
                      <a:pt x="305" y="174"/>
                    </a:cubicBezTo>
                    <a:cubicBezTo>
                      <a:pt x="306" y="175"/>
                      <a:pt x="306" y="177"/>
                      <a:pt x="305" y="179"/>
                    </a:cubicBezTo>
                    <a:lnTo>
                      <a:pt x="178" y="30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맑은 고딕" panose="020B0503020000020004" pitchFamily="34" charset="-127"/>
                  <a:ea typeface="맑은 고딕" panose="020B0503020000020004" pitchFamily="34" charset="-127"/>
                  <a:cs typeface="+mn-cs"/>
                </a:endParaRPr>
              </a:p>
            </p:txBody>
          </p:sp>
          <p:sp>
            <p:nvSpPr>
              <p:cNvPr id="112" name="Freeform 59"/>
              <p:cNvSpPr>
                <a:spLocks/>
              </p:cNvSpPr>
              <p:nvPr/>
            </p:nvSpPr>
            <p:spPr bwMode="auto">
              <a:xfrm>
                <a:off x="6298" y="2165"/>
                <a:ext cx="403" cy="402"/>
              </a:xfrm>
              <a:custGeom>
                <a:avLst/>
                <a:gdLst>
                  <a:gd name="T0" fmla="*/ 151 w 253"/>
                  <a:gd name="T1" fmla="*/ 251 h 252"/>
                  <a:gd name="T2" fmla="*/ 147 w 253"/>
                  <a:gd name="T3" fmla="*/ 251 h 252"/>
                  <a:gd name="T4" fmla="*/ 2 w 253"/>
                  <a:gd name="T5" fmla="*/ 105 h 252"/>
                  <a:gd name="T6" fmla="*/ 2 w 253"/>
                  <a:gd name="T7" fmla="*/ 101 h 252"/>
                  <a:gd name="T8" fmla="*/ 102 w 253"/>
                  <a:gd name="T9" fmla="*/ 1 h 252"/>
                  <a:gd name="T10" fmla="*/ 106 w 253"/>
                  <a:gd name="T11" fmla="*/ 1 h 252"/>
                  <a:gd name="T12" fmla="*/ 251 w 253"/>
                  <a:gd name="T13" fmla="*/ 147 h 252"/>
                  <a:gd name="T14" fmla="*/ 251 w 253"/>
                  <a:gd name="T15" fmla="*/ 151 h 252"/>
                  <a:gd name="T16" fmla="*/ 151 w 253"/>
                  <a:gd name="T17" fmla="*/ 25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2">
                    <a:moveTo>
                      <a:pt x="151" y="251"/>
                    </a:moveTo>
                    <a:cubicBezTo>
                      <a:pt x="150" y="252"/>
                      <a:pt x="148" y="252"/>
                      <a:pt x="147" y="251"/>
                    </a:cubicBezTo>
                    <a:cubicBezTo>
                      <a:pt x="2" y="105"/>
                      <a:pt x="2" y="105"/>
                      <a:pt x="2" y="105"/>
                    </a:cubicBezTo>
                    <a:cubicBezTo>
                      <a:pt x="0" y="104"/>
                      <a:pt x="0" y="102"/>
                      <a:pt x="2" y="101"/>
                    </a:cubicBezTo>
                    <a:cubicBezTo>
                      <a:pt x="102" y="1"/>
                      <a:pt x="102" y="1"/>
                      <a:pt x="102" y="1"/>
                    </a:cubicBezTo>
                    <a:cubicBezTo>
                      <a:pt x="103" y="0"/>
                      <a:pt x="105" y="0"/>
                      <a:pt x="106" y="1"/>
                    </a:cubicBezTo>
                    <a:cubicBezTo>
                      <a:pt x="251" y="147"/>
                      <a:pt x="251" y="147"/>
                      <a:pt x="251" y="147"/>
                    </a:cubicBezTo>
                    <a:cubicBezTo>
                      <a:pt x="253" y="148"/>
                      <a:pt x="253" y="150"/>
                      <a:pt x="251" y="151"/>
                    </a:cubicBezTo>
                    <a:lnTo>
                      <a:pt x="151" y="251"/>
                    </a:lnTo>
                    <a:close/>
                  </a:path>
                </a:pathLst>
              </a:custGeom>
              <a:gradFill flip="none" rotWithShape="1">
                <a:gsLst>
                  <a:gs pos="50000">
                    <a:srgbClr val="5EB6DA"/>
                  </a:gs>
                  <a:gs pos="50000">
                    <a:srgbClr val="3999C6"/>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맑은 고딕" panose="020B0503020000020004" pitchFamily="34" charset="-127"/>
                  <a:ea typeface="맑은 고딕" panose="020B0503020000020004" pitchFamily="34" charset="-127"/>
                  <a:cs typeface="+mn-cs"/>
                </a:endParaRPr>
              </a:p>
            </p:txBody>
          </p:sp>
          <p:sp>
            <p:nvSpPr>
              <p:cNvPr id="113" name="Freeform 60"/>
              <p:cNvSpPr>
                <a:spLocks/>
              </p:cNvSpPr>
              <p:nvPr/>
            </p:nvSpPr>
            <p:spPr bwMode="auto">
              <a:xfrm>
                <a:off x="6591" y="2269"/>
                <a:ext cx="7" cy="6"/>
              </a:xfrm>
              <a:custGeom>
                <a:avLst/>
                <a:gdLst>
                  <a:gd name="T0" fmla="*/ 3 w 4"/>
                  <a:gd name="T1" fmla="*/ 3 h 4"/>
                  <a:gd name="T2" fmla="*/ 0 w 4"/>
                  <a:gd name="T3" fmla="*/ 3 h 4"/>
                  <a:gd name="T4" fmla="*/ 1 w 4"/>
                  <a:gd name="T5" fmla="*/ 0 h 4"/>
                  <a:gd name="T6" fmla="*/ 3 w 4"/>
                  <a:gd name="T7" fmla="*/ 0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4"/>
                      <a:pt x="1" y="4"/>
                      <a:pt x="0" y="3"/>
                    </a:cubicBezTo>
                    <a:cubicBezTo>
                      <a:pt x="0" y="2"/>
                      <a:pt x="0" y="1"/>
                      <a:pt x="1" y="0"/>
                    </a:cubicBezTo>
                    <a:cubicBezTo>
                      <a:pt x="1" y="0"/>
                      <a:pt x="2" y="0"/>
                      <a:pt x="3" y="0"/>
                    </a:cubicBezTo>
                    <a:cubicBezTo>
                      <a:pt x="4" y="1"/>
                      <a:pt x="4" y="2"/>
                      <a:pt x="3" y="3"/>
                    </a:cubicBezTo>
                    <a:close/>
                  </a:path>
                </a:pathLst>
              </a:custGeom>
              <a:solidFill>
                <a:srgbClr val="DFD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맑은 고딕" panose="020B0503020000020004" pitchFamily="34" charset="-127"/>
                  <a:ea typeface="맑은 고딕" panose="020B0503020000020004" pitchFamily="34" charset="-127"/>
                  <a:cs typeface="+mn-cs"/>
                </a:endParaRPr>
              </a:p>
            </p:txBody>
          </p:sp>
          <p:sp>
            <p:nvSpPr>
              <p:cNvPr id="114" name="Rectangle 61"/>
              <p:cNvSpPr>
                <a:spLocks noChangeArrowheads="1"/>
              </p:cNvSpPr>
              <p:nvPr/>
            </p:nvSpPr>
            <p:spPr bwMode="auto">
              <a:xfrm>
                <a:off x="6610" y="2584"/>
                <a:ext cx="16" cy="3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맑은 고딕" panose="020B0503020000020004" pitchFamily="34" charset="-127"/>
                  <a:ea typeface="맑은 고딕" panose="020B0503020000020004" pitchFamily="34" charset="-127"/>
                  <a:cs typeface="+mn-cs"/>
                </a:endParaRPr>
              </a:p>
            </p:txBody>
          </p:sp>
          <p:sp>
            <p:nvSpPr>
              <p:cNvPr id="115" name="Rectangle 62"/>
              <p:cNvSpPr>
                <a:spLocks noChangeArrowheads="1"/>
              </p:cNvSpPr>
              <p:nvPr/>
            </p:nvSpPr>
            <p:spPr bwMode="auto">
              <a:xfrm>
                <a:off x="6610" y="2444"/>
                <a:ext cx="16" cy="14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맑은 고딕" panose="020B0503020000020004" pitchFamily="34" charset="-127"/>
                  <a:ea typeface="맑은 고딕" panose="020B0503020000020004" pitchFamily="34" charset="-127"/>
                  <a:cs typeface="+mn-cs"/>
                </a:endParaRPr>
              </a:p>
            </p:txBody>
          </p:sp>
          <p:sp>
            <p:nvSpPr>
              <p:cNvPr id="116" name="Freeform 63"/>
              <p:cNvSpPr>
                <a:spLocks/>
              </p:cNvSpPr>
              <p:nvPr/>
            </p:nvSpPr>
            <p:spPr bwMode="auto">
              <a:xfrm>
                <a:off x="6610" y="2621"/>
                <a:ext cx="16" cy="5"/>
              </a:xfrm>
              <a:custGeom>
                <a:avLst/>
                <a:gdLst>
                  <a:gd name="T0" fmla="*/ 10 w 10"/>
                  <a:gd name="T1" fmla="*/ 1 h 3"/>
                  <a:gd name="T2" fmla="*/ 10 w 10"/>
                  <a:gd name="T3" fmla="*/ 0 h 3"/>
                  <a:gd name="T4" fmla="*/ 0 w 10"/>
                  <a:gd name="T5" fmla="*/ 0 h 3"/>
                  <a:gd name="T6" fmla="*/ 0 w 10"/>
                  <a:gd name="T7" fmla="*/ 1 h 3"/>
                  <a:gd name="T8" fmla="*/ 2 w 10"/>
                  <a:gd name="T9" fmla="*/ 3 h 3"/>
                  <a:gd name="T10" fmla="*/ 8 w 10"/>
                  <a:gd name="T11" fmla="*/ 3 h 3"/>
                  <a:gd name="T12" fmla="*/ 10 w 10"/>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10" h="3">
                    <a:moveTo>
                      <a:pt x="10" y="1"/>
                    </a:moveTo>
                    <a:cubicBezTo>
                      <a:pt x="10" y="0"/>
                      <a:pt x="10" y="0"/>
                      <a:pt x="10" y="0"/>
                    </a:cubicBezTo>
                    <a:cubicBezTo>
                      <a:pt x="0" y="0"/>
                      <a:pt x="0" y="0"/>
                      <a:pt x="0" y="0"/>
                    </a:cubicBezTo>
                    <a:cubicBezTo>
                      <a:pt x="0" y="1"/>
                      <a:pt x="0" y="1"/>
                      <a:pt x="0" y="1"/>
                    </a:cubicBezTo>
                    <a:cubicBezTo>
                      <a:pt x="0" y="2"/>
                      <a:pt x="1" y="3"/>
                      <a:pt x="2" y="3"/>
                    </a:cubicBezTo>
                    <a:cubicBezTo>
                      <a:pt x="8" y="3"/>
                      <a:pt x="8" y="3"/>
                      <a:pt x="8" y="3"/>
                    </a:cubicBezTo>
                    <a:cubicBezTo>
                      <a:pt x="9" y="3"/>
                      <a:pt x="10" y="2"/>
                      <a:pt x="10" y="1"/>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맑은 고딕" panose="020B0503020000020004" pitchFamily="34" charset="-127"/>
                  <a:ea typeface="맑은 고딕" panose="020B0503020000020004" pitchFamily="34" charset="-127"/>
                  <a:cs typeface="+mn-cs"/>
                </a:endParaRPr>
              </a:p>
            </p:txBody>
          </p:sp>
          <p:sp>
            <p:nvSpPr>
              <p:cNvPr id="117" name="Freeform 64"/>
              <p:cNvSpPr>
                <a:spLocks/>
              </p:cNvSpPr>
              <p:nvPr/>
            </p:nvSpPr>
            <p:spPr bwMode="auto">
              <a:xfrm>
                <a:off x="6615" y="2401"/>
                <a:ext cx="7" cy="9"/>
              </a:xfrm>
              <a:custGeom>
                <a:avLst/>
                <a:gdLst>
                  <a:gd name="T0" fmla="*/ 0 w 4"/>
                  <a:gd name="T1" fmla="*/ 2 h 6"/>
                  <a:gd name="T2" fmla="*/ 0 w 4"/>
                  <a:gd name="T3" fmla="*/ 6 h 6"/>
                  <a:gd name="T4" fmla="*/ 4 w 4"/>
                  <a:gd name="T5" fmla="*/ 6 h 6"/>
                  <a:gd name="T6" fmla="*/ 4 w 4"/>
                  <a:gd name="T7" fmla="*/ 2 h 6"/>
                  <a:gd name="T8" fmla="*/ 2 w 4"/>
                  <a:gd name="T9" fmla="*/ 0 h 6"/>
                  <a:gd name="T10" fmla="*/ 2 w 4"/>
                  <a:gd name="T11" fmla="*/ 0 h 6"/>
                  <a:gd name="T12" fmla="*/ 0 w 4"/>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0" y="2"/>
                    </a:moveTo>
                    <a:cubicBezTo>
                      <a:pt x="0" y="6"/>
                      <a:pt x="0" y="6"/>
                      <a:pt x="0" y="6"/>
                    </a:cubicBezTo>
                    <a:cubicBezTo>
                      <a:pt x="4" y="6"/>
                      <a:pt x="4" y="6"/>
                      <a:pt x="4" y="6"/>
                    </a:cubicBezTo>
                    <a:cubicBezTo>
                      <a:pt x="4" y="2"/>
                      <a:pt x="4" y="2"/>
                      <a:pt x="4" y="2"/>
                    </a:cubicBezTo>
                    <a:cubicBezTo>
                      <a:pt x="4" y="1"/>
                      <a:pt x="3" y="0"/>
                      <a:pt x="2" y="0"/>
                    </a:cubicBezTo>
                    <a:cubicBezTo>
                      <a:pt x="2" y="0"/>
                      <a:pt x="2" y="0"/>
                      <a:pt x="2" y="0"/>
                    </a:cubicBezTo>
                    <a:cubicBezTo>
                      <a:pt x="1" y="0"/>
                      <a:pt x="0" y="1"/>
                      <a:pt x="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맑은 고딕" panose="020B0503020000020004" pitchFamily="34" charset="-127"/>
                  <a:ea typeface="맑은 고딕" panose="020B0503020000020004" pitchFamily="34" charset="-127"/>
                  <a:cs typeface="+mn-cs"/>
                </a:endParaRPr>
              </a:p>
            </p:txBody>
          </p:sp>
          <p:sp>
            <p:nvSpPr>
              <p:cNvPr id="118" name="Freeform 65"/>
              <p:cNvSpPr>
                <a:spLocks/>
              </p:cNvSpPr>
              <p:nvPr/>
            </p:nvSpPr>
            <p:spPr bwMode="auto">
              <a:xfrm>
                <a:off x="6610" y="2410"/>
                <a:ext cx="16" cy="34"/>
              </a:xfrm>
              <a:custGeom>
                <a:avLst/>
                <a:gdLst>
                  <a:gd name="T0" fmla="*/ 10 w 10"/>
                  <a:gd name="T1" fmla="*/ 10 h 21"/>
                  <a:gd name="T2" fmla="*/ 7 w 10"/>
                  <a:gd name="T3" fmla="*/ 0 h 21"/>
                  <a:gd name="T4" fmla="*/ 3 w 10"/>
                  <a:gd name="T5" fmla="*/ 0 h 21"/>
                  <a:gd name="T6" fmla="*/ 0 w 10"/>
                  <a:gd name="T7" fmla="*/ 10 h 21"/>
                  <a:gd name="T8" fmla="*/ 0 w 10"/>
                  <a:gd name="T9" fmla="*/ 21 h 21"/>
                  <a:gd name="T10" fmla="*/ 4 w 10"/>
                  <a:gd name="T11" fmla="*/ 21 h 21"/>
                  <a:gd name="T12" fmla="*/ 5 w 10"/>
                  <a:gd name="T13" fmla="*/ 21 h 21"/>
                  <a:gd name="T14" fmla="*/ 10 w 10"/>
                  <a:gd name="T15" fmla="*/ 21 h 21"/>
                  <a:gd name="T16" fmla="*/ 10 w 10"/>
                  <a:gd name="T17" fmla="*/ 1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21">
                    <a:moveTo>
                      <a:pt x="10" y="10"/>
                    </a:moveTo>
                    <a:cubicBezTo>
                      <a:pt x="10" y="7"/>
                      <a:pt x="9" y="1"/>
                      <a:pt x="7" y="0"/>
                    </a:cubicBezTo>
                    <a:cubicBezTo>
                      <a:pt x="3" y="0"/>
                      <a:pt x="3" y="0"/>
                      <a:pt x="3" y="0"/>
                    </a:cubicBezTo>
                    <a:cubicBezTo>
                      <a:pt x="1" y="1"/>
                      <a:pt x="0" y="7"/>
                      <a:pt x="0" y="10"/>
                    </a:cubicBezTo>
                    <a:cubicBezTo>
                      <a:pt x="0" y="21"/>
                      <a:pt x="0" y="21"/>
                      <a:pt x="0" y="21"/>
                    </a:cubicBezTo>
                    <a:cubicBezTo>
                      <a:pt x="4" y="21"/>
                      <a:pt x="4" y="21"/>
                      <a:pt x="4" y="21"/>
                    </a:cubicBezTo>
                    <a:cubicBezTo>
                      <a:pt x="5" y="21"/>
                      <a:pt x="5" y="21"/>
                      <a:pt x="5" y="21"/>
                    </a:cubicBezTo>
                    <a:cubicBezTo>
                      <a:pt x="10" y="21"/>
                      <a:pt x="10" y="21"/>
                      <a:pt x="10" y="21"/>
                    </a:cubicBezTo>
                    <a:lnTo>
                      <a:pt x="10" y="1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맑은 고딕" panose="020B0503020000020004" pitchFamily="34" charset="-127"/>
                  <a:ea typeface="맑은 고딕" panose="020B0503020000020004" pitchFamily="34" charset="-127"/>
                  <a:cs typeface="+mn-cs"/>
                </a:endParaRPr>
              </a:p>
            </p:txBody>
          </p:sp>
          <p:sp>
            <p:nvSpPr>
              <p:cNvPr id="119" name="Freeform 66"/>
              <p:cNvSpPr>
                <a:spLocks/>
              </p:cNvSpPr>
              <p:nvPr/>
            </p:nvSpPr>
            <p:spPr bwMode="auto">
              <a:xfrm>
                <a:off x="6615" y="2602"/>
                <a:ext cx="7" cy="19"/>
              </a:xfrm>
              <a:custGeom>
                <a:avLst/>
                <a:gdLst>
                  <a:gd name="T0" fmla="*/ 1 w 4"/>
                  <a:gd name="T1" fmla="*/ 12 h 12"/>
                  <a:gd name="T2" fmla="*/ 0 w 4"/>
                  <a:gd name="T3" fmla="*/ 11 h 12"/>
                  <a:gd name="T4" fmla="*/ 0 w 4"/>
                  <a:gd name="T5" fmla="*/ 1 h 12"/>
                  <a:gd name="T6" fmla="*/ 1 w 4"/>
                  <a:gd name="T7" fmla="*/ 0 h 12"/>
                  <a:gd name="T8" fmla="*/ 2 w 4"/>
                  <a:gd name="T9" fmla="*/ 0 h 12"/>
                  <a:gd name="T10" fmla="*/ 4 w 4"/>
                  <a:gd name="T11" fmla="*/ 1 h 12"/>
                  <a:gd name="T12" fmla="*/ 4 w 4"/>
                  <a:gd name="T13" fmla="*/ 11 h 12"/>
                  <a:gd name="T14" fmla="*/ 2 w 4"/>
                  <a:gd name="T15" fmla="*/ 12 h 12"/>
                  <a:gd name="T16" fmla="*/ 1 w 4"/>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1" y="12"/>
                    </a:moveTo>
                    <a:cubicBezTo>
                      <a:pt x="0" y="12"/>
                      <a:pt x="0" y="12"/>
                      <a:pt x="0" y="11"/>
                    </a:cubicBezTo>
                    <a:cubicBezTo>
                      <a:pt x="0" y="1"/>
                      <a:pt x="0" y="1"/>
                      <a:pt x="0" y="1"/>
                    </a:cubicBezTo>
                    <a:cubicBezTo>
                      <a:pt x="0" y="0"/>
                      <a:pt x="0" y="0"/>
                      <a:pt x="1" y="0"/>
                    </a:cubicBezTo>
                    <a:cubicBezTo>
                      <a:pt x="2" y="0"/>
                      <a:pt x="2" y="0"/>
                      <a:pt x="2" y="0"/>
                    </a:cubicBezTo>
                    <a:cubicBezTo>
                      <a:pt x="3" y="0"/>
                      <a:pt x="4" y="0"/>
                      <a:pt x="4" y="1"/>
                    </a:cubicBezTo>
                    <a:cubicBezTo>
                      <a:pt x="4" y="11"/>
                      <a:pt x="4" y="11"/>
                      <a:pt x="4" y="11"/>
                    </a:cubicBezTo>
                    <a:cubicBezTo>
                      <a:pt x="4" y="12"/>
                      <a:pt x="3" y="12"/>
                      <a:pt x="2" y="12"/>
                    </a:cubicBezTo>
                    <a:lnTo>
                      <a:pt x="1" y="12"/>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맑은 고딕" panose="020B0503020000020004" pitchFamily="34" charset="-127"/>
                  <a:ea typeface="맑은 고딕" panose="020B0503020000020004" pitchFamily="34" charset="-127"/>
                  <a:cs typeface="+mn-cs"/>
                </a:endParaRPr>
              </a:p>
            </p:txBody>
          </p:sp>
        </p:grpSp>
        <p:grpSp>
          <p:nvGrpSpPr>
            <p:cNvPr id="95" name="Group 69"/>
            <p:cNvGrpSpPr>
              <a:grpSpLocks noChangeAspect="1"/>
            </p:cNvGrpSpPr>
            <p:nvPr/>
          </p:nvGrpSpPr>
          <p:grpSpPr bwMode="auto">
            <a:xfrm>
              <a:off x="11045825" y="3357563"/>
              <a:ext cx="385763" cy="696912"/>
              <a:chOff x="6958" y="2115"/>
              <a:chExt cx="243" cy="439"/>
            </a:xfrm>
          </p:grpSpPr>
          <p:sp>
            <p:nvSpPr>
              <p:cNvPr id="103" name="AutoShape 68"/>
              <p:cNvSpPr>
                <a:spLocks noChangeAspect="1" noChangeArrowheads="1" noTextEdit="1"/>
              </p:cNvSpPr>
              <p:nvPr/>
            </p:nvSpPr>
            <p:spPr bwMode="auto">
              <a:xfrm>
                <a:off x="6958" y="2115"/>
                <a:ext cx="243" cy="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맑은 고딕" panose="020B0503020000020004" pitchFamily="34" charset="-127"/>
                  <a:ea typeface="맑은 고딕" panose="020B0503020000020004" pitchFamily="34" charset="-127"/>
                  <a:cs typeface="+mn-cs"/>
                </a:endParaRPr>
              </a:p>
            </p:txBody>
          </p:sp>
          <p:sp>
            <p:nvSpPr>
              <p:cNvPr id="104" name="Freeform 70"/>
              <p:cNvSpPr>
                <a:spLocks/>
              </p:cNvSpPr>
              <p:nvPr/>
            </p:nvSpPr>
            <p:spPr bwMode="auto">
              <a:xfrm>
                <a:off x="6960" y="2117"/>
                <a:ext cx="243" cy="435"/>
              </a:xfrm>
              <a:custGeom>
                <a:avLst/>
                <a:gdLst>
                  <a:gd name="T0" fmla="*/ 108 w 108"/>
                  <a:gd name="T1" fmla="*/ 188 h 196"/>
                  <a:gd name="T2" fmla="*/ 100 w 108"/>
                  <a:gd name="T3" fmla="*/ 196 h 196"/>
                  <a:gd name="T4" fmla="*/ 9 w 108"/>
                  <a:gd name="T5" fmla="*/ 196 h 196"/>
                  <a:gd name="T6" fmla="*/ 0 w 108"/>
                  <a:gd name="T7" fmla="*/ 188 h 196"/>
                  <a:gd name="T8" fmla="*/ 0 w 108"/>
                  <a:gd name="T9" fmla="*/ 9 h 196"/>
                  <a:gd name="T10" fmla="*/ 9 w 108"/>
                  <a:gd name="T11" fmla="*/ 0 h 196"/>
                  <a:gd name="T12" fmla="*/ 100 w 108"/>
                  <a:gd name="T13" fmla="*/ 0 h 196"/>
                  <a:gd name="T14" fmla="*/ 108 w 108"/>
                  <a:gd name="T15" fmla="*/ 9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3"/>
                      <a:pt x="104" y="196"/>
                      <a:pt x="100" y="196"/>
                    </a:cubicBezTo>
                    <a:cubicBezTo>
                      <a:pt x="9" y="196"/>
                      <a:pt x="9" y="196"/>
                      <a:pt x="9" y="196"/>
                    </a:cubicBezTo>
                    <a:cubicBezTo>
                      <a:pt x="4" y="196"/>
                      <a:pt x="0" y="193"/>
                      <a:pt x="0" y="188"/>
                    </a:cubicBezTo>
                    <a:cubicBezTo>
                      <a:pt x="0" y="9"/>
                      <a:pt x="0" y="9"/>
                      <a:pt x="0" y="9"/>
                    </a:cubicBezTo>
                    <a:cubicBezTo>
                      <a:pt x="0" y="4"/>
                      <a:pt x="4" y="0"/>
                      <a:pt x="9" y="0"/>
                    </a:cubicBezTo>
                    <a:cubicBezTo>
                      <a:pt x="100" y="0"/>
                      <a:pt x="100" y="0"/>
                      <a:pt x="100" y="0"/>
                    </a:cubicBezTo>
                    <a:cubicBezTo>
                      <a:pt x="104" y="0"/>
                      <a:pt x="108" y="4"/>
                      <a:pt x="108" y="9"/>
                    </a:cubicBezTo>
                    <a:lnTo>
                      <a:pt x="108" y="188"/>
                    </a:lnTo>
                    <a:close/>
                  </a:path>
                </a:pathLst>
              </a:custGeom>
              <a:gradFill flip="none" rotWithShape="1">
                <a:gsLst>
                  <a:gs pos="50000">
                    <a:srgbClr val="5EB6DA"/>
                  </a:gs>
                  <a:gs pos="50000">
                    <a:srgbClr val="3999C6"/>
                  </a:gs>
                </a:gsLst>
                <a:lin ang="81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맑은 고딕" panose="020B0503020000020004" pitchFamily="34" charset="-127"/>
                  <a:ea typeface="맑은 고딕" panose="020B0503020000020004" pitchFamily="34" charset="-127"/>
                  <a:cs typeface="+mn-cs"/>
                </a:endParaRPr>
              </a:p>
            </p:txBody>
          </p:sp>
          <p:sp>
            <p:nvSpPr>
              <p:cNvPr id="105" name="Rectangle 71"/>
              <p:cNvSpPr>
                <a:spLocks noChangeArrowheads="1"/>
              </p:cNvSpPr>
              <p:nvPr/>
            </p:nvSpPr>
            <p:spPr bwMode="auto">
              <a:xfrm>
                <a:off x="6974" y="2179"/>
                <a:ext cx="216" cy="311"/>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맑은 고딕" panose="020B0503020000020004" pitchFamily="34" charset="-127"/>
                  <a:ea typeface="맑은 고딕" panose="020B0503020000020004" pitchFamily="34" charset="-127"/>
                  <a:cs typeface="+mn-cs"/>
                </a:endParaRPr>
              </a:p>
            </p:txBody>
          </p:sp>
          <p:sp>
            <p:nvSpPr>
              <p:cNvPr id="106" name="Freeform 72"/>
              <p:cNvSpPr>
                <a:spLocks/>
              </p:cNvSpPr>
              <p:nvPr/>
            </p:nvSpPr>
            <p:spPr bwMode="auto">
              <a:xfrm>
                <a:off x="7014" y="2142"/>
                <a:ext cx="135" cy="6"/>
              </a:xfrm>
              <a:custGeom>
                <a:avLst/>
                <a:gdLst>
                  <a:gd name="T0" fmla="*/ 60 w 60"/>
                  <a:gd name="T1" fmla="*/ 2 h 3"/>
                  <a:gd name="T2" fmla="*/ 58 w 60"/>
                  <a:gd name="T3" fmla="*/ 3 h 3"/>
                  <a:gd name="T4" fmla="*/ 2 w 60"/>
                  <a:gd name="T5" fmla="*/ 3 h 3"/>
                  <a:gd name="T6" fmla="*/ 0 w 60"/>
                  <a:gd name="T7" fmla="*/ 2 h 3"/>
                  <a:gd name="T8" fmla="*/ 0 w 60"/>
                  <a:gd name="T9" fmla="*/ 2 h 3"/>
                  <a:gd name="T10" fmla="*/ 2 w 60"/>
                  <a:gd name="T11" fmla="*/ 0 h 3"/>
                  <a:gd name="T12" fmla="*/ 58 w 60"/>
                  <a:gd name="T13" fmla="*/ 0 h 3"/>
                  <a:gd name="T14" fmla="*/ 60 w 60"/>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3">
                    <a:moveTo>
                      <a:pt x="60" y="2"/>
                    </a:moveTo>
                    <a:cubicBezTo>
                      <a:pt x="60" y="3"/>
                      <a:pt x="59" y="3"/>
                      <a:pt x="58" y="3"/>
                    </a:cubicBezTo>
                    <a:cubicBezTo>
                      <a:pt x="2" y="3"/>
                      <a:pt x="2" y="3"/>
                      <a:pt x="2" y="3"/>
                    </a:cubicBezTo>
                    <a:cubicBezTo>
                      <a:pt x="1" y="3"/>
                      <a:pt x="0" y="3"/>
                      <a:pt x="0" y="2"/>
                    </a:cubicBezTo>
                    <a:cubicBezTo>
                      <a:pt x="0" y="2"/>
                      <a:pt x="0" y="2"/>
                      <a:pt x="0" y="2"/>
                    </a:cubicBezTo>
                    <a:cubicBezTo>
                      <a:pt x="0" y="1"/>
                      <a:pt x="1" y="0"/>
                      <a:pt x="2" y="0"/>
                    </a:cubicBezTo>
                    <a:cubicBezTo>
                      <a:pt x="58" y="0"/>
                      <a:pt x="58" y="0"/>
                      <a:pt x="58" y="0"/>
                    </a:cubicBezTo>
                    <a:cubicBezTo>
                      <a:pt x="59" y="0"/>
                      <a:pt x="60" y="1"/>
                      <a:pt x="60" y="2"/>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맑은 고딕" panose="020B0503020000020004" pitchFamily="34" charset="-127"/>
                  <a:ea typeface="맑은 고딕" panose="020B0503020000020004" pitchFamily="34" charset="-127"/>
                  <a:cs typeface="+mn-cs"/>
                </a:endParaRPr>
              </a:p>
            </p:txBody>
          </p:sp>
          <p:sp>
            <p:nvSpPr>
              <p:cNvPr id="107" name="Freeform 73"/>
              <p:cNvSpPr>
                <a:spLocks/>
              </p:cNvSpPr>
              <p:nvPr/>
            </p:nvSpPr>
            <p:spPr bwMode="auto">
              <a:xfrm>
                <a:off x="6974" y="2514"/>
                <a:ext cx="25" cy="13"/>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맑은 고딕" panose="020B0503020000020004" pitchFamily="34" charset="-127"/>
                  <a:ea typeface="맑은 고딕" panose="020B0503020000020004" pitchFamily="34" charset="-127"/>
                  <a:cs typeface="+mn-cs"/>
                </a:endParaRPr>
              </a:p>
            </p:txBody>
          </p:sp>
          <p:sp>
            <p:nvSpPr>
              <p:cNvPr id="108" name="Freeform 74"/>
              <p:cNvSpPr>
                <a:spLocks/>
              </p:cNvSpPr>
              <p:nvPr/>
            </p:nvSpPr>
            <p:spPr bwMode="auto">
              <a:xfrm>
                <a:off x="7165" y="2514"/>
                <a:ext cx="25" cy="13"/>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2" y="6"/>
                      <a:pt x="0" y="5"/>
                      <a:pt x="0" y="3"/>
                    </a:cubicBezTo>
                    <a:cubicBezTo>
                      <a:pt x="0" y="3"/>
                      <a:pt x="0" y="3"/>
                      <a:pt x="0" y="3"/>
                    </a:cubicBezTo>
                    <a:cubicBezTo>
                      <a:pt x="0" y="2"/>
                      <a:pt x="2" y="0"/>
                      <a:pt x="3" y="0"/>
                    </a:cubicBezTo>
                    <a:cubicBezTo>
                      <a:pt x="8" y="0"/>
                      <a:pt x="8" y="0"/>
                      <a:pt x="8" y="0"/>
                    </a:cubicBezTo>
                    <a:cubicBezTo>
                      <a:pt x="10" y="0"/>
                      <a:pt x="11" y="2"/>
                      <a:pt x="11" y="3"/>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맑은 고딕" panose="020B0503020000020004" pitchFamily="34" charset="-127"/>
                  <a:ea typeface="맑은 고딕" panose="020B0503020000020004" pitchFamily="34" charset="-127"/>
                  <a:cs typeface="+mn-cs"/>
                </a:endParaRPr>
              </a:p>
            </p:txBody>
          </p:sp>
          <p:sp>
            <p:nvSpPr>
              <p:cNvPr id="109" name="Freeform 75"/>
              <p:cNvSpPr>
                <a:spLocks/>
              </p:cNvSpPr>
              <p:nvPr/>
            </p:nvSpPr>
            <p:spPr bwMode="auto">
              <a:xfrm>
                <a:off x="7057" y="2507"/>
                <a:ext cx="52" cy="29"/>
              </a:xfrm>
              <a:custGeom>
                <a:avLst/>
                <a:gdLst>
                  <a:gd name="T0" fmla="*/ 23 w 23"/>
                  <a:gd name="T1" fmla="*/ 6 h 13"/>
                  <a:gd name="T2" fmla="*/ 17 w 23"/>
                  <a:gd name="T3" fmla="*/ 13 h 13"/>
                  <a:gd name="T4" fmla="*/ 6 w 23"/>
                  <a:gd name="T5" fmla="*/ 13 h 13"/>
                  <a:gd name="T6" fmla="*/ 0 w 23"/>
                  <a:gd name="T7" fmla="*/ 6 h 13"/>
                  <a:gd name="T8" fmla="*/ 0 w 23"/>
                  <a:gd name="T9" fmla="*/ 6 h 13"/>
                  <a:gd name="T10" fmla="*/ 6 w 23"/>
                  <a:gd name="T11" fmla="*/ 0 h 13"/>
                  <a:gd name="T12" fmla="*/ 17 w 23"/>
                  <a:gd name="T13" fmla="*/ 0 h 13"/>
                  <a:gd name="T14" fmla="*/ 23 w 23"/>
                  <a:gd name="T15" fmla="*/ 6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3">
                    <a:moveTo>
                      <a:pt x="23" y="6"/>
                    </a:moveTo>
                    <a:cubicBezTo>
                      <a:pt x="23" y="10"/>
                      <a:pt x="20" y="13"/>
                      <a:pt x="17" y="13"/>
                    </a:cubicBezTo>
                    <a:cubicBezTo>
                      <a:pt x="6" y="13"/>
                      <a:pt x="6" y="13"/>
                      <a:pt x="6" y="13"/>
                    </a:cubicBezTo>
                    <a:cubicBezTo>
                      <a:pt x="2" y="13"/>
                      <a:pt x="0" y="10"/>
                      <a:pt x="0" y="6"/>
                    </a:cubicBezTo>
                    <a:cubicBezTo>
                      <a:pt x="0" y="6"/>
                      <a:pt x="0" y="6"/>
                      <a:pt x="0" y="6"/>
                    </a:cubicBezTo>
                    <a:cubicBezTo>
                      <a:pt x="0" y="3"/>
                      <a:pt x="2" y="0"/>
                      <a:pt x="6" y="0"/>
                    </a:cubicBezTo>
                    <a:cubicBezTo>
                      <a:pt x="17" y="0"/>
                      <a:pt x="17" y="0"/>
                      <a:pt x="17" y="0"/>
                    </a:cubicBezTo>
                    <a:cubicBezTo>
                      <a:pt x="20" y="0"/>
                      <a:pt x="23" y="3"/>
                      <a:pt x="23" y="6"/>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맑은 고딕" panose="020B0503020000020004" pitchFamily="34" charset="-127"/>
                  <a:ea typeface="맑은 고딕" panose="020B0503020000020004" pitchFamily="34" charset="-127"/>
                  <a:cs typeface="+mn-cs"/>
                </a:endParaRPr>
              </a:p>
            </p:txBody>
          </p:sp>
        </p:grpSp>
        <p:grpSp>
          <p:nvGrpSpPr>
            <p:cNvPr id="96" name="Group 78"/>
            <p:cNvGrpSpPr>
              <a:grpSpLocks noChangeAspect="1"/>
            </p:cNvGrpSpPr>
            <p:nvPr/>
          </p:nvGrpSpPr>
          <p:grpSpPr bwMode="auto">
            <a:xfrm>
              <a:off x="10161588" y="2198688"/>
              <a:ext cx="1373187" cy="590550"/>
              <a:chOff x="6401" y="1385"/>
              <a:chExt cx="865" cy="372"/>
            </a:xfrm>
          </p:grpSpPr>
          <p:sp>
            <p:nvSpPr>
              <p:cNvPr id="97" name="AutoShape 77"/>
              <p:cNvSpPr>
                <a:spLocks noChangeAspect="1" noChangeArrowheads="1" noTextEdit="1"/>
              </p:cNvSpPr>
              <p:nvPr/>
            </p:nvSpPr>
            <p:spPr bwMode="auto">
              <a:xfrm>
                <a:off x="6401" y="1385"/>
                <a:ext cx="865" cy="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맑은 고딕" panose="020B0503020000020004" pitchFamily="34" charset="-127"/>
                  <a:ea typeface="맑은 고딕" panose="020B0503020000020004" pitchFamily="34" charset="-127"/>
                  <a:cs typeface="+mn-cs"/>
                </a:endParaRPr>
              </a:p>
            </p:txBody>
          </p:sp>
          <p:sp>
            <p:nvSpPr>
              <p:cNvPr id="98" name="Rectangle 79"/>
              <p:cNvSpPr>
                <a:spLocks noChangeArrowheads="1"/>
              </p:cNvSpPr>
              <p:nvPr/>
            </p:nvSpPr>
            <p:spPr bwMode="auto">
              <a:xfrm>
                <a:off x="6701" y="1385"/>
                <a:ext cx="497" cy="339"/>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맑은 고딕" panose="020B0503020000020004" pitchFamily="34" charset="-127"/>
                  <a:ea typeface="맑은 고딕" panose="020B0503020000020004" pitchFamily="34" charset="-127"/>
                  <a:cs typeface="+mn-cs"/>
                </a:endParaRPr>
              </a:p>
            </p:txBody>
          </p:sp>
          <p:sp>
            <p:nvSpPr>
              <p:cNvPr id="99" name="Rectangle 80"/>
              <p:cNvSpPr>
                <a:spLocks noChangeArrowheads="1"/>
              </p:cNvSpPr>
              <p:nvPr/>
            </p:nvSpPr>
            <p:spPr bwMode="auto">
              <a:xfrm>
                <a:off x="6717" y="1412"/>
                <a:ext cx="465" cy="297"/>
              </a:xfrm>
              <a:prstGeom prst="rect">
                <a:avLst/>
              </a:prstGeom>
              <a:gradFill>
                <a:gsLst>
                  <a:gs pos="50000">
                    <a:srgbClr val="5EB6DA"/>
                  </a:gs>
                  <a:gs pos="50000">
                    <a:srgbClr val="3999C6"/>
                  </a:gs>
                </a:gsLst>
                <a:lin ang="81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맑은 고딕" panose="020B0503020000020004" pitchFamily="34" charset="-127"/>
                  <a:ea typeface="맑은 고딕" panose="020B0503020000020004" pitchFamily="34" charset="-127"/>
                  <a:cs typeface="+mn-cs"/>
                </a:endParaRPr>
              </a:p>
            </p:txBody>
          </p:sp>
          <p:sp>
            <p:nvSpPr>
              <p:cNvPr id="100" name="Freeform 81"/>
              <p:cNvSpPr>
                <a:spLocks/>
              </p:cNvSpPr>
              <p:nvPr/>
            </p:nvSpPr>
            <p:spPr bwMode="auto">
              <a:xfrm>
                <a:off x="6624" y="1730"/>
                <a:ext cx="642" cy="26"/>
              </a:xfrm>
              <a:custGeom>
                <a:avLst/>
                <a:gdLst>
                  <a:gd name="T0" fmla="*/ 0 w 510"/>
                  <a:gd name="T1" fmla="*/ 0 h 20"/>
                  <a:gd name="T2" fmla="*/ 0 w 510"/>
                  <a:gd name="T3" fmla="*/ 1 h 20"/>
                  <a:gd name="T4" fmla="*/ 19 w 510"/>
                  <a:gd name="T5" fmla="*/ 20 h 20"/>
                  <a:gd name="T6" fmla="*/ 491 w 510"/>
                  <a:gd name="T7" fmla="*/ 20 h 20"/>
                  <a:gd name="T8" fmla="*/ 510 w 510"/>
                  <a:gd name="T9" fmla="*/ 1 h 20"/>
                  <a:gd name="T10" fmla="*/ 510 w 510"/>
                  <a:gd name="T11" fmla="*/ 0 h 20"/>
                  <a:gd name="T12" fmla="*/ 0 w 510"/>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510" h="20">
                    <a:moveTo>
                      <a:pt x="0" y="0"/>
                    </a:moveTo>
                    <a:cubicBezTo>
                      <a:pt x="0" y="1"/>
                      <a:pt x="0" y="1"/>
                      <a:pt x="0" y="1"/>
                    </a:cubicBezTo>
                    <a:cubicBezTo>
                      <a:pt x="0" y="11"/>
                      <a:pt x="9" y="20"/>
                      <a:pt x="19" y="20"/>
                    </a:cubicBezTo>
                    <a:cubicBezTo>
                      <a:pt x="491" y="20"/>
                      <a:pt x="491" y="20"/>
                      <a:pt x="491" y="20"/>
                    </a:cubicBezTo>
                    <a:cubicBezTo>
                      <a:pt x="501" y="20"/>
                      <a:pt x="510" y="11"/>
                      <a:pt x="510" y="1"/>
                    </a:cubicBezTo>
                    <a:cubicBezTo>
                      <a:pt x="510" y="0"/>
                      <a:pt x="510" y="0"/>
                      <a:pt x="510" y="0"/>
                    </a:cubicBezTo>
                    <a:lnTo>
                      <a:pt x="0"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맑은 고딕" panose="020B0503020000020004" pitchFamily="34" charset="-127"/>
                  <a:ea typeface="맑은 고딕" panose="020B0503020000020004" pitchFamily="34" charset="-127"/>
                  <a:cs typeface="+mn-cs"/>
                </a:endParaRPr>
              </a:p>
            </p:txBody>
          </p:sp>
          <p:sp>
            <p:nvSpPr>
              <p:cNvPr id="101" name="Freeform 82"/>
              <p:cNvSpPr>
                <a:spLocks noEditPoints="1"/>
              </p:cNvSpPr>
              <p:nvPr/>
            </p:nvSpPr>
            <p:spPr bwMode="auto">
              <a:xfrm>
                <a:off x="6401" y="1463"/>
                <a:ext cx="165" cy="204"/>
              </a:xfrm>
              <a:custGeom>
                <a:avLst/>
                <a:gdLst>
                  <a:gd name="T0" fmla="*/ 65 w 131"/>
                  <a:gd name="T1" fmla="*/ 0 h 161"/>
                  <a:gd name="T2" fmla="*/ 0 w 131"/>
                  <a:gd name="T3" fmla="*/ 66 h 161"/>
                  <a:gd name="T4" fmla="*/ 0 w 131"/>
                  <a:gd name="T5" fmla="*/ 161 h 161"/>
                  <a:gd name="T6" fmla="*/ 109 w 131"/>
                  <a:gd name="T7" fmla="*/ 161 h 161"/>
                  <a:gd name="T8" fmla="*/ 109 w 131"/>
                  <a:gd name="T9" fmla="*/ 135 h 161"/>
                  <a:gd name="T10" fmla="*/ 107 w 131"/>
                  <a:gd name="T11" fmla="*/ 135 h 161"/>
                  <a:gd name="T12" fmla="*/ 86 w 131"/>
                  <a:gd name="T13" fmla="*/ 123 h 161"/>
                  <a:gd name="T14" fmla="*/ 109 w 131"/>
                  <a:gd name="T15" fmla="*/ 123 h 161"/>
                  <a:gd name="T16" fmla="*/ 109 w 131"/>
                  <a:gd name="T17" fmla="*/ 104 h 161"/>
                  <a:gd name="T18" fmla="*/ 131 w 131"/>
                  <a:gd name="T19" fmla="*/ 104 h 161"/>
                  <a:gd name="T20" fmla="*/ 131 w 131"/>
                  <a:gd name="T21" fmla="*/ 66 h 161"/>
                  <a:gd name="T22" fmla="*/ 65 w 131"/>
                  <a:gd name="T23" fmla="*/ 0 h 161"/>
                  <a:gd name="T24" fmla="*/ 88 w 131"/>
                  <a:gd name="T25" fmla="*/ 82 h 161"/>
                  <a:gd name="T26" fmla="*/ 80 w 131"/>
                  <a:gd name="T27" fmla="*/ 74 h 161"/>
                  <a:gd name="T28" fmla="*/ 88 w 131"/>
                  <a:gd name="T29" fmla="*/ 66 h 161"/>
                  <a:gd name="T30" fmla="*/ 96 w 131"/>
                  <a:gd name="T31" fmla="*/ 74 h 161"/>
                  <a:gd name="T32" fmla="*/ 88 w 131"/>
                  <a:gd name="T33" fmla="*/ 8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1" h="161">
                    <a:moveTo>
                      <a:pt x="65" y="0"/>
                    </a:moveTo>
                    <a:cubicBezTo>
                      <a:pt x="29" y="0"/>
                      <a:pt x="0" y="30"/>
                      <a:pt x="0" y="66"/>
                    </a:cubicBezTo>
                    <a:cubicBezTo>
                      <a:pt x="0" y="161"/>
                      <a:pt x="0" y="161"/>
                      <a:pt x="0" y="161"/>
                    </a:cubicBezTo>
                    <a:cubicBezTo>
                      <a:pt x="109" y="161"/>
                      <a:pt x="109" y="161"/>
                      <a:pt x="109" y="161"/>
                    </a:cubicBezTo>
                    <a:cubicBezTo>
                      <a:pt x="109" y="135"/>
                      <a:pt x="109" y="135"/>
                      <a:pt x="109" y="135"/>
                    </a:cubicBezTo>
                    <a:cubicBezTo>
                      <a:pt x="108" y="135"/>
                      <a:pt x="108" y="135"/>
                      <a:pt x="107" y="135"/>
                    </a:cubicBezTo>
                    <a:cubicBezTo>
                      <a:pt x="98" y="135"/>
                      <a:pt x="90" y="130"/>
                      <a:pt x="86" y="123"/>
                    </a:cubicBezTo>
                    <a:cubicBezTo>
                      <a:pt x="109" y="123"/>
                      <a:pt x="109" y="123"/>
                      <a:pt x="109" y="123"/>
                    </a:cubicBezTo>
                    <a:cubicBezTo>
                      <a:pt x="109" y="104"/>
                      <a:pt x="109" y="104"/>
                      <a:pt x="109" y="104"/>
                    </a:cubicBezTo>
                    <a:cubicBezTo>
                      <a:pt x="131" y="104"/>
                      <a:pt x="131" y="104"/>
                      <a:pt x="131" y="104"/>
                    </a:cubicBezTo>
                    <a:cubicBezTo>
                      <a:pt x="131" y="66"/>
                      <a:pt x="131" y="66"/>
                      <a:pt x="131" y="66"/>
                    </a:cubicBezTo>
                    <a:cubicBezTo>
                      <a:pt x="131" y="30"/>
                      <a:pt x="102" y="0"/>
                      <a:pt x="65" y="0"/>
                    </a:cubicBezTo>
                    <a:close/>
                    <a:moveTo>
                      <a:pt x="88" y="82"/>
                    </a:moveTo>
                    <a:cubicBezTo>
                      <a:pt x="84" y="82"/>
                      <a:pt x="80" y="78"/>
                      <a:pt x="80" y="74"/>
                    </a:cubicBezTo>
                    <a:cubicBezTo>
                      <a:pt x="80" y="70"/>
                      <a:pt x="84" y="66"/>
                      <a:pt x="88" y="66"/>
                    </a:cubicBezTo>
                    <a:cubicBezTo>
                      <a:pt x="92" y="66"/>
                      <a:pt x="96" y="70"/>
                      <a:pt x="96" y="74"/>
                    </a:cubicBezTo>
                    <a:cubicBezTo>
                      <a:pt x="96" y="78"/>
                      <a:pt x="92" y="82"/>
                      <a:pt x="88" y="82"/>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맑은 고딕" panose="020B0503020000020004" pitchFamily="34" charset="-127"/>
                  <a:ea typeface="맑은 고딕" panose="020B0503020000020004" pitchFamily="34" charset="-127"/>
                  <a:cs typeface="+mn-cs"/>
                </a:endParaRPr>
              </a:p>
            </p:txBody>
          </p:sp>
          <p:sp>
            <p:nvSpPr>
              <p:cNvPr id="102" name="Freeform 83"/>
              <p:cNvSpPr>
                <a:spLocks noEditPoints="1"/>
              </p:cNvSpPr>
              <p:nvPr/>
            </p:nvSpPr>
            <p:spPr bwMode="auto">
              <a:xfrm>
                <a:off x="6856" y="1463"/>
                <a:ext cx="164" cy="204"/>
              </a:xfrm>
              <a:custGeom>
                <a:avLst/>
                <a:gdLst>
                  <a:gd name="T0" fmla="*/ 0 w 131"/>
                  <a:gd name="T1" fmla="*/ 66 h 161"/>
                  <a:gd name="T2" fmla="*/ 0 w 131"/>
                  <a:gd name="T3" fmla="*/ 104 h 161"/>
                  <a:gd name="T4" fmla="*/ 22 w 131"/>
                  <a:gd name="T5" fmla="*/ 104 h 161"/>
                  <a:gd name="T6" fmla="*/ 22 w 131"/>
                  <a:gd name="T7" fmla="*/ 123 h 161"/>
                  <a:gd name="T8" fmla="*/ 45 w 131"/>
                  <a:gd name="T9" fmla="*/ 123 h 161"/>
                  <a:gd name="T10" fmla="*/ 23 w 131"/>
                  <a:gd name="T11" fmla="*/ 135 h 161"/>
                  <a:gd name="T12" fmla="*/ 22 w 131"/>
                  <a:gd name="T13" fmla="*/ 135 h 161"/>
                  <a:gd name="T14" fmla="*/ 22 w 131"/>
                  <a:gd name="T15" fmla="*/ 161 h 161"/>
                  <a:gd name="T16" fmla="*/ 131 w 131"/>
                  <a:gd name="T17" fmla="*/ 161 h 161"/>
                  <a:gd name="T18" fmla="*/ 131 w 131"/>
                  <a:gd name="T19" fmla="*/ 66 h 161"/>
                  <a:gd name="T20" fmla="*/ 65 w 131"/>
                  <a:gd name="T21" fmla="*/ 0 h 161"/>
                  <a:gd name="T22" fmla="*/ 0 w 131"/>
                  <a:gd name="T23" fmla="*/ 66 h 161"/>
                  <a:gd name="T24" fmla="*/ 35 w 131"/>
                  <a:gd name="T25" fmla="*/ 74 h 161"/>
                  <a:gd name="T26" fmla="*/ 43 w 131"/>
                  <a:gd name="T27" fmla="*/ 66 h 161"/>
                  <a:gd name="T28" fmla="*/ 50 w 131"/>
                  <a:gd name="T29" fmla="*/ 74 h 161"/>
                  <a:gd name="T30" fmla="*/ 43 w 131"/>
                  <a:gd name="T31" fmla="*/ 82 h 161"/>
                  <a:gd name="T32" fmla="*/ 35 w 131"/>
                  <a:gd name="T33" fmla="*/ 7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1" h="161">
                    <a:moveTo>
                      <a:pt x="0" y="66"/>
                    </a:moveTo>
                    <a:cubicBezTo>
                      <a:pt x="0" y="104"/>
                      <a:pt x="0" y="104"/>
                      <a:pt x="0" y="104"/>
                    </a:cubicBezTo>
                    <a:cubicBezTo>
                      <a:pt x="22" y="104"/>
                      <a:pt x="22" y="104"/>
                      <a:pt x="22" y="104"/>
                    </a:cubicBezTo>
                    <a:cubicBezTo>
                      <a:pt x="22" y="123"/>
                      <a:pt x="22" y="123"/>
                      <a:pt x="22" y="123"/>
                    </a:cubicBezTo>
                    <a:cubicBezTo>
                      <a:pt x="45" y="123"/>
                      <a:pt x="45" y="123"/>
                      <a:pt x="45" y="123"/>
                    </a:cubicBezTo>
                    <a:cubicBezTo>
                      <a:pt x="40" y="130"/>
                      <a:pt x="32" y="135"/>
                      <a:pt x="23" y="135"/>
                    </a:cubicBezTo>
                    <a:cubicBezTo>
                      <a:pt x="23" y="135"/>
                      <a:pt x="22" y="135"/>
                      <a:pt x="22" y="135"/>
                    </a:cubicBezTo>
                    <a:cubicBezTo>
                      <a:pt x="22" y="161"/>
                      <a:pt x="22" y="161"/>
                      <a:pt x="22" y="161"/>
                    </a:cubicBezTo>
                    <a:cubicBezTo>
                      <a:pt x="131" y="161"/>
                      <a:pt x="131" y="161"/>
                      <a:pt x="131" y="161"/>
                    </a:cubicBezTo>
                    <a:cubicBezTo>
                      <a:pt x="131" y="66"/>
                      <a:pt x="131" y="66"/>
                      <a:pt x="131" y="66"/>
                    </a:cubicBezTo>
                    <a:cubicBezTo>
                      <a:pt x="131" y="30"/>
                      <a:pt x="102" y="0"/>
                      <a:pt x="65" y="0"/>
                    </a:cubicBezTo>
                    <a:cubicBezTo>
                      <a:pt x="29" y="0"/>
                      <a:pt x="0" y="30"/>
                      <a:pt x="0" y="66"/>
                    </a:cubicBezTo>
                    <a:close/>
                    <a:moveTo>
                      <a:pt x="35" y="74"/>
                    </a:moveTo>
                    <a:cubicBezTo>
                      <a:pt x="35" y="70"/>
                      <a:pt x="38" y="66"/>
                      <a:pt x="43" y="66"/>
                    </a:cubicBezTo>
                    <a:cubicBezTo>
                      <a:pt x="47" y="66"/>
                      <a:pt x="50" y="70"/>
                      <a:pt x="50" y="74"/>
                    </a:cubicBezTo>
                    <a:cubicBezTo>
                      <a:pt x="50" y="78"/>
                      <a:pt x="47" y="82"/>
                      <a:pt x="43" y="82"/>
                    </a:cubicBezTo>
                    <a:cubicBezTo>
                      <a:pt x="38" y="82"/>
                      <a:pt x="35" y="78"/>
                      <a:pt x="35"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맑은 고딕" panose="020B0503020000020004" pitchFamily="34" charset="-127"/>
                  <a:ea typeface="맑은 고딕" panose="020B0503020000020004" pitchFamily="34" charset="-127"/>
                  <a:cs typeface="+mn-cs"/>
                </a:endParaRPr>
              </a:p>
            </p:txBody>
          </p:sp>
        </p:grpSp>
      </p:grpSp>
      <p:grpSp>
        <p:nvGrpSpPr>
          <p:cNvPr id="121" name="Group 146"/>
          <p:cNvGrpSpPr>
            <a:grpSpLocks noChangeAspect="1"/>
          </p:cNvGrpSpPr>
          <p:nvPr/>
        </p:nvGrpSpPr>
        <p:grpSpPr>
          <a:xfrm>
            <a:off x="6196675" y="2347504"/>
            <a:ext cx="552066" cy="460873"/>
            <a:chOff x="6039300" y="2656447"/>
            <a:chExt cx="559038" cy="435274"/>
          </a:xfrm>
          <a:solidFill>
            <a:srgbClr val="4DA0E2"/>
          </a:solidFill>
        </p:grpSpPr>
        <p:sp>
          <p:nvSpPr>
            <p:cNvPr id="122" name="Freeform 5"/>
            <p:cNvSpPr>
              <a:spLocks/>
            </p:cNvSpPr>
            <p:nvPr/>
          </p:nvSpPr>
          <p:spPr bwMode="auto">
            <a:xfrm>
              <a:off x="6203457" y="2656447"/>
              <a:ext cx="394881" cy="435274"/>
            </a:xfrm>
            <a:custGeom>
              <a:avLst/>
              <a:gdLst>
                <a:gd name="T0" fmla="*/ 247 w 1222"/>
                <a:gd name="T1" fmla="*/ 309 h 1347"/>
                <a:gd name="T2" fmla="*/ 155 w 1222"/>
                <a:gd name="T3" fmla="*/ 328 h 1347"/>
                <a:gd name="T4" fmla="*/ 63 w 1222"/>
                <a:gd name="T5" fmla="*/ 360 h 1347"/>
                <a:gd name="T6" fmla="*/ 21 w 1222"/>
                <a:gd name="T7" fmla="*/ 309 h 1347"/>
                <a:gd name="T8" fmla="*/ 4 w 1222"/>
                <a:gd name="T9" fmla="*/ 247 h 1347"/>
                <a:gd name="T10" fmla="*/ 80 w 1222"/>
                <a:gd name="T11" fmla="*/ 167 h 1347"/>
                <a:gd name="T12" fmla="*/ 148 w 1222"/>
                <a:gd name="T13" fmla="*/ 167 h 1347"/>
                <a:gd name="T14" fmla="*/ 275 w 1222"/>
                <a:gd name="T15" fmla="*/ 218 h 1347"/>
                <a:gd name="T16" fmla="*/ 373 w 1222"/>
                <a:gd name="T17" fmla="*/ 191 h 1347"/>
                <a:gd name="T18" fmla="*/ 397 w 1222"/>
                <a:gd name="T19" fmla="*/ 164 h 1347"/>
                <a:gd name="T20" fmla="*/ 454 w 1222"/>
                <a:gd name="T21" fmla="*/ 13 h 1347"/>
                <a:gd name="T22" fmla="*/ 478 w 1222"/>
                <a:gd name="T23" fmla="*/ 0 h 1347"/>
                <a:gd name="T24" fmla="*/ 590 w 1222"/>
                <a:gd name="T25" fmla="*/ 2 h 1347"/>
                <a:gd name="T26" fmla="*/ 622 w 1222"/>
                <a:gd name="T27" fmla="*/ 34 h 1347"/>
                <a:gd name="T28" fmla="*/ 685 w 1222"/>
                <a:gd name="T29" fmla="*/ 178 h 1347"/>
                <a:gd name="T30" fmla="*/ 763 w 1222"/>
                <a:gd name="T31" fmla="*/ 215 h 1347"/>
                <a:gd name="T32" fmla="*/ 878 w 1222"/>
                <a:gd name="T33" fmla="*/ 181 h 1347"/>
                <a:gd name="T34" fmla="*/ 972 w 1222"/>
                <a:gd name="T35" fmla="*/ 146 h 1347"/>
                <a:gd name="T36" fmla="*/ 1056 w 1222"/>
                <a:gd name="T37" fmla="*/ 221 h 1347"/>
                <a:gd name="T38" fmla="*/ 1062 w 1222"/>
                <a:gd name="T39" fmla="*/ 282 h 1347"/>
                <a:gd name="T40" fmla="*/ 1006 w 1222"/>
                <a:gd name="T41" fmla="*/ 407 h 1347"/>
                <a:gd name="T42" fmla="*/ 1022 w 1222"/>
                <a:gd name="T43" fmla="*/ 496 h 1347"/>
                <a:gd name="T44" fmla="*/ 1150 w 1222"/>
                <a:gd name="T45" fmla="*/ 568 h 1347"/>
                <a:gd name="T46" fmla="*/ 1215 w 1222"/>
                <a:gd name="T47" fmla="*/ 600 h 1347"/>
                <a:gd name="T48" fmla="*/ 1219 w 1222"/>
                <a:gd name="T49" fmla="*/ 725 h 1347"/>
                <a:gd name="T50" fmla="*/ 1144 w 1222"/>
                <a:gd name="T51" fmla="*/ 775 h 1347"/>
                <a:gd name="T52" fmla="*/ 1036 w 1222"/>
                <a:gd name="T53" fmla="*/ 818 h 1347"/>
                <a:gd name="T54" fmla="*/ 1001 w 1222"/>
                <a:gd name="T55" fmla="*/ 903 h 1347"/>
                <a:gd name="T56" fmla="*/ 1041 w 1222"/>
                <a:gd name="T57" fmla="*/ 1006 h 1347"/>
                <a:gd name="T58" fmla="*/ 1072 w 1222"/>
                <a:gd name="T59" fmla="*/ 1080 h 1347"/>
                <a:gd name="T60" fmla="*/ 998 w 1222"/>
                <a:gd name="T61" fmla="*/ 1176 h 1347"/>
                <a:gd name="T62" fmla="*/ 953 w 1222"/>
                <a:gd name="T63" fmla="*/ 1190 h 1347"/>
                <a:gd name="T64" fmla="*/ 800 w 1222"/>
                <a:gd name="T65" fmla="*/ 1131 h 1347"/>
                <a:gd name="T66" fmla="*/ 713 w 1222"/>
                <a:gd name="T67" fmla="*/ 1152 h 1347"/>
                <a:gd name="T68" fmla="*/ 669 w 1222"/>
                <a:gd name="T69" fmla="*/ 1203 h 1347"/>
                <a:gd name="T70" fmla="*/ 624 w 1222"/>
                <a:gd name="T71" fmla="*/ 1333 h 1347"/>
                <a:gd name="T72" fmla="*/ 586 w 1222"/>
                <a:gd name="T73" fmla="*/ 1347 h 1347"/>
                <a:gd name="T74" fmla="*/ 464 w 1222"/>
                <a:gd name="T75" fmla="*/ 1336 h 1347"/>
                <a:gd name="T76" fmla="*/ 427 w 1222"/>
                <a:gd name="T77" fmla="*/ 1240 h 1347"/>
                <a:gd name="T78" fmla="*/ 381 w 1222"/>
                <a:gd name="T79" fmla="*/ 1158 h 1347"/>
                <a:gd name="T80" fmla="*/ 293 w 1222"/>
                <a:gd name="T81" fmla="*/ 1126 h 1347"/>
                <a:gd name="T82" fmla="*/ 157 w 1222"/>
                <a:gd name="T83" fmla="*/ 1192 h 1347"/>
                <a:gd name="T84" fmla="*/ 98 w 1222"/>
                <a:gd name="T85" fmla="*/ 1192 h 1347"/>
                <a:gd name="T86" fmla="*/ 16 w 1222"/>
                <a:gd name="T87" fmla="*/ 1109 h 1347"/>
                <a:gd name="T88" fmla="*/ 31 w 1222"/>
                <a:gd name="T89" fmla="*/ 1054 h 1347"/>
                <a:gd name="T90" fmla="*/ 140 w 1222"/>
                <a:gd name="T91" fmla="*/ 987 h 1347"/>
                <a:gd name="T92" fmla="*/ 274 w 1222"/>
                <a:gd name="T93" fmla="*/ 885 h 1347"/>
                <a:gd name="T94" fmla="*/ 352 w 1222"/>
                <a:gd name="T95" fmla="*/ 872 h 1347"/>
                <a:gd name="T96" fmla="*/ 469 w 1222"/>
                <a:gd name="T97" fmla="*/ 931 h 1347"/>
                <a:gd name="T98" fmla="*/ 526 w 1222"/>
                <a:gd name="T99" fmla="*/ 944 h 1347"/>
                <a:gd name="T100" fmla="*/ 610 w 1222"/>
                <a:gd name="T101" fmla="*/ 931 h 1347"/>
                <a:gd name="T102" fmla="*/ 709 w 1222"/>
                <a:gd name="T103" fmla="*/ 880 h 1347"/>
                <a:gd name="T104" fmla="*/ 790 w 1222"/>
                <a:gd name="T105" fmla="*/ 765 h 1347"/>
                <a:gd name="T106" fmla="*/ 811 w 1222"/>
                <a:gd name="T107" fmla="*/ 680 h 1347"/>
                <a:gd name="T108" fmla="*/ 805 w 1222"/>
                <a:gd name="T109" fmla="*/ 616 h 1347"/>
                <a:gd name="T110" fmla="*/ 747 w 1222"/>
                <a:gd name="T111" fmla="*/ 503 h 1347"/>
                <a:gd name="T112" fmla="*/ 582 w 1222"/>
                <a:gd name="T113" fmla="*/ 373 h 1347"/>
                <a:gd name="T114" fmla="*/ 458 w 1222"/>
                <a:gd name="T115" fmla="*/ 323 h 1347"/>
                <a:gd name="T116" fmla="*/ 357 w 1222"/>
                <a:gd name="T117" fmla="*/ 304 h 1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22" h="1347">
                  <a:moveTo>
                    <a:pt x="319" y="303"/>
                  </a:moveTo>
                  <a:lnTo>
                    <a:pt x="319" y="303"/>
                  </a:lnTo>
                  <a:lnTo>
                    <a:pt x="295" y="303"/>
                  </a:lnTo>
                  <a:lnTo>
                    <a:pt x="295" y="303"/>
                  </a:lnTo>
                  <a:lnTo>
                    <a:pt x="280" y="304"/>
                  </a:lnTo>
                  <a:lnTo>
                    <a:pt x="264" y="306"/>
                  </a:lnTo>
                  <a:lnTo>
                    <a:pt x="264" y="306"/>
                  </a:lnTo>
                  <a:lnTo>
                    <a:pt x="247" y="309"/>
                  </a:lnTo>
                  <a:lnTo>
                    <a:pt x="247" y="309"/>
                  </a:lnTo>
                  <a:lnTo>
                    <a:pt x="239" y="311"/>
                  </a:lnTo>
                  <a:lnTo>
                    <a:pt x="239" y="311"/>
                  </a:lnTo>
                  <a:lnTo>
                    <a:pt x="200" y="319"/>
                  </a:lnTo>
                  <a:lnTo>
                    <a:pt x="200" y="319"/>
                  </a:lnTo>
                  <a:lnTo>
                    <a:pt x="192" y="320"/>
                  </a:lnTo>
                  <a:lnTo>
                    <a:pt x="192" y="320"/>
                  </a:lnTo>
                  <a:lnTo>
                    <a:pt x="155" y="328"/>
                  </a:lnTo>
                  <a:lnTo>
                    <a:pt x="155" y="328"/>
                  </a:lnTo>
                  <a:lnTo>
                    <a:pt x="133" y="336"/>
                  </a:lnTo>
                  <a:lnTo>
                    <a:pt x="133" y="336"/>
                  </a:lnTo>
                  <a:lnTo>
                    <a:pt x="92" y="351"/>
                  </a:lnTo>
                  <a:lnTo>
                    <a:pt x="92" y="351"/>
                  </a:lnTo>
                  <a:lnTo>
                    <a:pt x="68" y="360"/>
                  </a:lnTo>
                  <a:lnTo>
                    <a:pt x="68" y="360"/>
                  </a:lnTo>
                  <a:lnTo>
                    <a:pt x="63" y="360"/>
                  </a:lnTo>
                  <a:lnTo>
                    <a:pt x="58" y="360"/>
                  </a:lnTo>
                  <a:lnTo>
                    <a:pt x="55" y="359"/>
                  </a:lnTo>
                  <a:lnTo>
                    <a:pt x="52" y="355"/>
                  </a:lnTo>
                  <a:lnTo>
                    <a:pt x="52" y="355"/>
                  </a:lnTo>
                  <a:lnTo>
                    <a:pt x="44" y="346"/>
                  </a:lnTo>
                  <a:lnTo>
                    <a:pt x="44" y="346"/>
                  </a:lnTo>
                  <a:lnTo>
                    <a:pt x="21" y="309"/>
                  </a:lnTo>
                  <a:lnTo>
                    <a:pt x="21" y="309"/>
                  </a:lnTo>
                  <a:lnTo>
                    <a:pt x="4" y="280"/>
                  </a:lnTo>
                  <a:lnTo>
                    <a:pt x="4" y="280"/>
                  </a:lnTo>
                  <a:lnTo>
                    <a:pt x="2" y="272"/>
                  </a:lnTo>
                  <a:lnTo>
                    <a:pt x="0" y="264"/>
                  </a:lnTo>
                  <a:lnTo>
                    <a:pt x="0" y="258"/>
                  </a:lnTo>
                  <a:lnTo>
                    <a:pt x="2" y="250"/>
                  </a:lnTo>
                  <a:lnTo>
                    <a:pt x="2" y="250"/>
                  </a:lnTo>
                  <a:lnTo>
                    <a:pt x="4" y="247"/>
                  </a:lnTo>
                  <a:lnTo>
                    <a:pt x="5" y="244"/>
                  </a:lnTo>
                  <a:lnTo>
                    <a:pt x="5" y="244"/>
                  </a:lnTo>
                  <a:lnTo>
                    <a:pt x="16" y="229"/>
                  </a:lnTo>
                  <a:lnTo>
                    <a:pt x="16" y="229"/>
                  </a:lnTo>
                  <a:lnTo>
                    <a:pt x="60" y="186"/>
                  </a:lnTo>
                  <a:lnTo>
                    <a:pt x="60" y="186"/>
                  </a:lnTo>
                  <a:lnTo>
                    <a:pt x="80" y="167"/>
                  </a:lnTo>
                  <a:lnTo>
                    <a:pt x="80" y="167"/>
                  </a:lnTo>
                  <a:lnTo>
                    <a:pt x="85" y="164"/>
                  </a:lnTo>
                  <a:lnTo>
                    <a:pt x="92" y="160"/>
                  </a:lnTo>
                  <a:lnTo>
                    <a:pt x="103" y="159"/>
                  </a:lnTo>
                  <a:lnTo>
                    <a:pt x="103" y="159"/>
                  </a:lnTo>
                  <a:lnTo>
                    <a:pt x="119" y="159"/>
                  </a:lnTo>
                  <a:lnTo>
                    <a:pt x="133" y="162"/>
                  </a:lnTo>
                  <a:lnTo>
                    <a:pt x="133" y="162"/>
                  </a:lnTo>
                  <a:lnTo>
                    <a:pt x="148" y="167"/>
                  </a:lnTo>
                  <a:lnTo>
                    <a:pt x="162" y="173"/>
                  </a:lnTo>
                  <a:lnTo>
                    <a:pt x="162" y="173"/>
                  </a:lnTo>
                  <a:lnTo>
                    <a:pt x="199" y="191"/>
                  </a:lnTo>
                  <a:lnTo>
                    <a:pt x="237" y="207"/>
                  </a:lnTo>
                  <a:lnTo>
                    <a:pt x="237" y="207"/>
                  </a:lnTo>
                  <a:lnTo>
                    <a:pt x="255" y="213"/>
                  </a:lnTo>
                  <a:lnTo>
                    <a:pt x="255" y="213"/>
                  </a:lnTo>
                  <a:lnTo>
                    <a:pt x="275" y="218"/>
                  </a:lnTo>
                  <a:lnTo>
                    <a:pt x="287" y="218"/>
                  </a:lnTo>
                  <a:lnTo>
                    <a:pt x="296" y="218"/>
                  </a:lnTo>
                  <a:lnTo>
                    <a:pt x="296" y="218"/>
                  </a:lnTo>
                  <a:lnTo>
                    <a:pt x="315" y="215"/>
                  </a:lnTo>
                  <a:lnTo>
                    <a:pt x="335" y="208"/>
                  </a:lnTo>
                  <a:lnTo>
                    <a:pt x="335" y="208"/>
                  </a:lnTo>
                  <a:lnTo>
                    <a:pt x="354" y="200"/>
                  </a:lnTo>
                  <a:lnTo>
                    <a:pt x="373" y="191"/>
                  </a:lnTo>
                  <a:lnTo>
                    <a:pt x="373" y="191"/>
                  </a:lnTo>
                  <a:lnTo>
                    <a:pt x="375" y="189"/>
                  </a:lnTo>
                  <a:lnTo>
                    <a:pt x="375" y="189"/>
                  </a:lnTo>
                  <a:lnTo>
                    <a:pt x="381" y="184"/>
                  </a:lnTo>
                  <a:lnTo>
                    <a:pt x="387" y="178"/>
                  </a:lnTo>
                  <a:lnTo>
                    <a:pt x="392" y="172"/>
                  </a:lnTo>
                  <a:lnTo>
                    <a:pt x="397" y="164"/>
                  </a:lnTo>
                  <a:lnTo>
                    <a:pt x="397" y="164"/>
                  </a:lnTo>
                  <a:lnTo>
                    <a:pt x="407" y="136"/>
                  </a:lnTo>
                  <a:lnTo>
                    <a:pt x="416" y="111"/>
                  </a:lnTo>
                  <a:lnTo>
                    <a:pt x="416" y="111"/>
                  </a:lnTo>
                  <a:lnTo>
                    <a:pt x="430" y="72"/>
                  </a:lnTo>
                  <a:lnTo>
                    <a:pt x="430" y="72"/>
                  </a:lnTo>
                  <a:lnTo>
                    <a:pt x="446" y="28"/>
                  </a:lnTo>
                  <a:lnTo>
                    <a:pt x="446" y="28"/>
                  </a:lnTo>
                  <a:lnTo>
                    <a:pt x="454" y="13"/>
                  </a:lnTo>
                  <a:lnTo>
                    <a:pt x="454" y="13"/>
                  </a:lnTo>
                  <a:lnTo>
                    <a:pt x="458" y="8"/>
                  </a:lnTo>
                  <a:lnTo>
                    <a:pt x="464" y="7"/>
                  </a:lnTo>
                  <a:lnTo>
                    <a:pt x="464" y="7"/>
                  </a:lnTo>
                  <a:lnTo>
                    <a:pt x="469" y="5"/>
                  </a:lnTo>
                  <a:lnTo>
                    <a:pt x="474" y="2"/>
                  </a:lnTo>
                  <a:lnTo>
                    <a:pt x="474" y="2"/>
                  </a:lnTo>
                  <a:lnTo>
                    <a:pt x="478" y="0"/>
                  </a:lnTo>
                  <a:lnTo>
                    <a:pt x="478" y="0"/>
                  </a:lnTo>
                  <a:lnTo>
                    <a:pt x="485" y="0"/>
                  </a:lnTo>
                  <a:lnTo>
                    <a:pt x="485" y="0"/>
                  </a:lnTo>
                  <a:lnTo>
                    <a:pt x="581" y="0"/>
                  </a:lnTo>
                  <a:lnTo>
                    <a:pt x="581" y="0"/>
                  </a:lnTo>
                  <a:lnTo>
                    <a:pt x="586" y="0"/>
                  </a:lnTo>
                  <a:lnTo>
                    <a:pt x="590" y="2"/>
                  </a:lnTo>
                  <a:lnTo>
                    <a:pt x="590" y="2"/>
                  </a:lnTo>
                  <a:lnTo>
                    <a:pt x="598" y="5"/>
                  </a:lnTo>
                  <a:lnTo>
                    <a:pt x="608" y="8"/>
                  </a:lnTo>
                  <a:lnTo>
                    <a:pt x="608" y="8"/>
                  </a:lnTo>
                  <a:lnTo>
                    <a:pt x="610" y="8"/>
                  </a:lnTo>
                  <a:lnTo>
                    <a:pt x="611" y="12"/>
                  </a:lnTo>
                  <a:lnTo>
                    <a:pt x="611" y="12"/>
                  </a:lnTo>
                  <a:lnTo>
                    <a:pt x="618" y="23"/>
                  </a:lnTo>
                  <a:lnTo>
                    <a:pt x="622" y="34"/>
                  </a:lnTo>
                  <a:lnTo>
                    <a:pt x="622" y="34"/>
                  </a:lnTo>
                  <a:lnTo>
                    <a:pt x="659" y="124"/>
                  </a:lnTo>
                  <a:lnTo>
                    <a:pt x="659" y="124"/>
                  </a:lnTo>
                  <a:lnTo>
                    <a:pt x="672" y="157"/>
                  </a:lnTo>
                  <a:lnTo>
                    <a:pt x="672" y="157"/>
                  </a:lnTo>
                  <a:lnTo>
                    <a:pt x="680" y="172"/>
                  </a:lnTo>
                  <a:lnTo>
                    <a:pt x="680" y="172"/>
                  </a:lnTo>
                  <a:lnTo>
                    <a:pt x="685" y="178"/>
                  </a:lnTo>
                  <a:lnTo>
                    <a:pt x="691" y="183"/>
                  </a:lnTo>
                  <a:lnTo>
                    <a:pt x="691" y="183"/>
                  </a:lnTo>
                  <a:lnTo>
                    <a:pt x="707" y="194"/>
                  </a:lnTo>
                  <a:lnTo>
                    <a:pt x="723" y="202"/>
                  </a:lnTo>
                  <a:lnTo>
                    <a:pt x="723" y="202"/>
                  </a:lnTo>
                  <a:lnTo>
                    <a:pt x="752" y="213"/>
                  </a:lnTo>
                  <a:lnTo>
                    <a:pt x="752" y="213"/>
                  </a:lnTo>
                  <a:lnTo>
                    <a:pt x="763" y="215"/>
                  </a:lnTo>
                  <a:lnTo>
                    <a:pt x="774" y="218"/>
                  </a:lnTo>
                  <a:lnTo>
                    <a:pt x="787" y="218"/>
                  </a:lnTo>
                  <a:lnTo>
                    <a:pt x="800" y="216"/>
                  </a:lnTo>
                  <a:lnTo>
                    <a:pt x="800" y="216"/>
                  </a:lnTo>
                  <a:lnTo>
                    <a:pt x="816" y="212"/>
                  </a:lnTo>
                  <a:lnTo>
                    <a:pt x="832" y="205"/>
                  </a:lnTo>
                  <a:lnTo>
                    <a:pt x="832" y="205"/>
                  </a:lnTo>
                  <a:lnTo>
                    <a:pt x="878" y="181"/>
                  </a:lnTo>
                  <a:lnTo>
                    <a:pt x="878" y="181"/>
                  </a:lnTo>
                  <a:lnTo>
                    <a:pt x="905" y="167"/>
                  </a:lnTo>
                  <a:lnTo>
                    <a:pt x="934" y="154"/>
                  </a:lnTo>
                  <a:lnTo>
                    <a:pt x="934" y="154"/>
                  </a:lnTo>
                  <a:lnTo>
                    <a:pt x="960" y="144"/>
                  </a:lnTo>
                  <a:lnTo>
                    <a:pt x="960" y="144"/>
                  </a:lnTo>
                  <a:lnTo>
                    <a:pt x="966" y="144"/>
                  </a:lnTo>
                  <a:lnTo>
                    <a:pt x="972" y="146"/>
                  </a:lnTo>
                  <a:lnTo>
                    <a:pt x="972" y="146"/>
                  </a:lnTo>
                  <a:lnTo>
                    <a:pt x="988" y="156"/>
                  </a:lnTo>
                  <a:lnTo>
                    <a:pt x="988" y="156"/>
                  </a:lnTo>
                  <a:lnTo>
                    <a:pt x="1001" y="167"/>
                  </a:lnTo>
                  <a:lnTo>
                    <a:pt x="1001" y="167"/>
                  </a:lnTo>
                  <a:lnTo>
                    <a:pt x="1052" y="220"/>
                  </a:lnTo>
                  <a:lnTo>
                    <a:pt x="1052" y="220"/>
                  </a:lnTo>
                  <a:lnTo>
                    <a:pt x="1056" y="221"/>
                  </a:lnTo>
                  <a:lnTo>
                    <a:pt x="1056" y="221"/>
                  </a:lnTo>
                  <a:lnTo>
                    <a:pt x="1062" y="231"/>
                  </a:lnTo>
                  <a:lnTo>
                    <a:pt x="1067" y="242"/>
                  </a:lnTo>
                  <a:lnTo>
                    <a:pt x="1067" y="253"/>
                  </a:lnTo>
                  <a:lnTo>
                    <a:pt x="1067" y="264"/>
                  </a:lnTo>
                  <a:lnTo>
                    <a:pt x="1067" y="264"/>
                  </a:lnTo>
                  <a:lnTo>
                    <a:pt x="1064" y="274"/>
                  </a:lnTo>
                  <a:lnTo>
                    <a:pt x="1062" y="282"/>
                  </a:lnTo>
                  <a:lnTo>
                    <a:pt x="1054" y="298"/>
                  </a:lnTo>
                  <a:lnTo>
                    <a:pt x="1054" y="298"/>
                  </a:lnTo>
                  <a:lnTo>
                    <a:pt x="1024" y="360"/>
                  </a:lnTo>
                  <a:lnTo>
                    <a:pt x="1024" y="360"/>
                  </a:lnTo>
                  <a:lnTo>
                    <a:pt x="1016" y="378"/>
                  </a:lnTo>
                  <a:lnTo>
                    <a:pt x="1009" y="395"/>
                  </a:lnTo>
                  <a:lnTo>
                    <a:pt x="1009" y="395"/>
                  </a:lnTo>
                  <a:lnTo>
                    <a:pt x="1006" y="407"/>
                  </a:lnTo>
                  <a:lnTo>
                    <a:pt x="1003" y="419"/>
                  </a:lnTo>
                  <a:lnTo>
                    <a:pt x="1003" y="432"/>
                  </a:lnTo>
                  <a:lnTo>
                    <a:pt x="1004" y="445"/>
                  </a:lnTo>
                  <a:lnTo>
                    <a:pt x="1004" y="445"/>
                  </a:lnTo>
                  <a:lnTo>
                    <a:pt x="1009" y="461"/>
                  </a:lnTo>
                  <a:lnTo>
                    <a:pt x="1014" y="474"/>
                  </a:lnTo>
                  <a:lnTo>
                    <a:pt x="1014" y="474"/>
                  </a:lnTo>
                  <a:lnTo>
                    <a:pt x="1022" y="496"/>
                  </a:lnTo>
                  <a:lnTo>
                    <a:pt x="1032" y="517"/>
                  </a:lnTo>
                  <a:lnTo>
                    <a:pt x="1032" y="517"/>
                  </a:lnTo>
                  <a:lnTo>
                    <a:pt x="1036" y="525"/>
                  </a:lnTo>
                  <a:lnTo>
                    <a:pt x="1044" y="530"/>
                  </a:lnTo>
                  <a:lnTo>
                    <a:pt x="1044" y="530"/>
                  </a:lnTo>
                  <a:lnTo>
                    <a:pt x="1068" y="539"/>
                  </a:lnTo>
                  <a:lnTo>
                    <a:pt x="1068" y="539"/>
                  </a:lnTo>
                  <a:lnTo>
                    <a:pt x="1150" y="568"/>
                  </a:lnTo>
                  <a:lnTo>
                    <a:pt x="1150" y="568"/>
                  </a:lnTo>
                  <a:lnTo>
                    <a:pt x="1200" y="586"/>
                  </a:lnTo>
                  <a:lnTo>
                    <a:pt x="1200" y="586"/>
                  </a:lnTo>
                  <a:lnTo>
                    <a:pt x="1208" y="589"/>
                  </a:lnTo>
                  <a:lnTo>
                    <a:pt x="1208" y="589"/>
                  </a:lnTo>
                  <a:lnTo>
                    <a:pt x="1211" y="591"/>
                  </a:lnTo>
                  <a:lnTo>
                    <a:pt x="1212" y="594"/>
                  </a:lnTo>
                  <a:lnTo>
                    <a:pt x="1215" y="600"/>
                  </a:lnTo>
                  <a:lnTo>
                    <a:pt x="1215" y="600"/>
                  </a:lnTo>
                  <a:lnTo>
                    <a:pt x="1220" y="618"/>
                  </a:lnTo>
                  <a:lnTo>
                    <a:pt x="1222" y="634"/>
                  </a:lnTo>
                  <a:lnTo>
                    <a:pt x="1222" y="634"/>
                  </a:lnTo>
                  <a:lnTo>
                    <a:pt x="1220" y="707"/>
                  </a:lnTo>
                  <a:lnTo>
                    <a:pt x="1220" y="707"/>
                  </a:lnTo>
                  <a:lnTo>
                    <a:pt x="1220" y="717"/>
                  </a:lnTo>
                  <a:lnTo>
                    <a:pt x="1219" y="725"/>
                  </a:lnTo>
                  <a:lnTo>
                    <a:pt x="1214" y="741"/>
                  </a:lnTo>
                  <a:lnTo>
                    <a:pt x="1214" y="741"/>
                  </a:lnTo>
                  <a:lnTo>
                    <a:pt x="1211" y="746"/>
                  </a:lnTo>
                  <a:lnTo>
                    <a:pt x="1206" y="749"/>
                  </a:lnTo>
                  <a:lnTo>
                    <a:pt x="1206" y="749"/>
                  </a:lnTo>
                  <a:lnTo>
                    <a:pt x="1184" y="760"/>
                  </a:lnTo>
                  <a:lnTo>
                    <a:pt x="1184" y="760"/>
                  </a:lnTo>
                  <a:lnTo>
                    <a:pt x="1144" y="775"/>
                  </a:lnTo>
                  <a:lnTo>
                    <a:pt x="1104" y="789"/>
                  </a:lnTo>
                  <a:lnTo>
                    <a:pt x="1104" y="789"/>
                  </a:lnTo>
                  <a:lnTo>
                    <a:pt x="1064" y="800"/>
                  </a:lnTo>
                  <a:lnTo>
                    <a:pt x="1064" y="800"/>
                  </a:lnTo>
                  <a:lnTo>
                    <a:pt x="1049" y="807"/>
                  </a:lnTo>
                  <a:lnTo>
                    <a:pt x="1049" y="807"/>
                  </a:lnTo>
                  <a:lnTo>
                    <a:pt x="1043" y="811"/>
                  </a:lnTo>
                  <a:lnTo>
                    <a:pt x="1036" y="818"/>
                  </a:lnTo>
                  <a:lnTo>
                    <a:pt x="1036" y="818"/>
                  </a:lnTo>
                  <a:lnTo>
                    <a:pt x="1027" y="832"/>
                  </a:lnTo>
                  <a:lnTo>
                    <a:pt x="1020" y="847"/>
                  </a:lnTo>
                  <a:lnTo>
                    <a:pt x="1020" y="847"/>
                  </a:lnTo>
                  <a:lnTo>
                    <a:pt x="1009" y="875"/>
                  </a:lnTo>
                  <a:lnTo>
                    <a:pt x="1009" y="875"/>
                  </a:lnTo>
                  <a:lnTo>
                    <a:pt x="1001" y="903"/>
                  </a:lnTo>
                  <a:lnTo>
                    <a:pt x="1001" y="903"/>
                  </a:lnTo>
                  <a:lnTo>
                    <a:pt x="1000" y="911"/>
                  </a:lnTo>
                  <a:lnTo>
                    <a:pt x="1001" y="919"/>
                  </a:lnTo>
                  <a:lnTo>
                    <a:pt x="1001" y="925"/>
                  </a:lnTo>
                  <a:lnTo>
                    <a:pt x="1004" y="933"/>
                  </a:lnTo>
                  <a:lnTo>
                    <a:pt x="1004" y="933"/>
                  </a:lnTo>
                  <a:lnTo>
                    <a:pt x="1012" y="952"/>
                  </a:lnTo>
                  <a:lnTo>
                    <a:pt x="1022" y="971"/>
                  </a:lnTo>
                  <a:lnTo>
                    <a:pt x="1041" y="1006"/>
                  </a:lnTo>
                  <a:lnTo>
                    <a:pt x="1041" y="1006"/>
                  </a:lnTo>
                  <a:lnTo>
                    <a:pt x="1054" y="1030"/>
                  </a:lnTo>
                  <a:lnTo>
                    <a:pt x="1067" y="1056"/>
                  </a:lnTo>
                  <a:lnTo>
                    <a:pt x="1067" y="1056"/>
                  </a:lnTo>
                  <a:lnTo>
                    <a:pt x="1070" y="1066"/>
                  </a:lnTo>
                  <a:lnTo>
                    <a:pt x="1072" y="1077"/>
                  </a:lnTo>
                  <a:lnTo>
                    <a:pt x="1072" y="1077"/>
                  </a:lnTo>
                  <a:lnTo>
                    <a:pt x="1072" y="1080"/>
                  </a:lnTo>
                  <a:lnTo>
                    <a:pt x="1072" y="1080"/>
                  </a:lnTo>
                  <a:lnTo>
                    <a:pt x="1072" y="1091"/>
                  </a:lnTo>
                  <a:lnTo>
                    <a:pt x="1070" y="1099"/>
                  </a:lnTo>
                  <a:lnTo>
                    <a:pt x="1065" y="1106"/>
                  </a:lnTo>
                  <a:lnTo>
                    <a:pt x="1059" y="1114"/>
                  </a:lnTo>
                  <a:lnTo>
                    <a:pt x="1059" y="1114"/>
                  </a:lnTo>
                  <a:lnTo>
                    <a:pt x="1030" y="1146"/>
                  </a:lnTo>
                  <a:lnTo>
                    <a:pt x="998" y="1176"/>
                  </a:lnTo>
                  <a:lnTo>
                    <a:pt x="998" y="1176"/>
                  </a:lnTo>
                  <a:lnTo>
                    <a:pt x="988" y="1182"/>
                  </a:lnTo>
                  <a:lnTo>
                    <a:pt x="988" y="1182"/>
                  </a:lnTo>
                  <a:lnTo>
                    <a:pt x="980" y="1189"/>
                  </a:lnTo>
                  <a:lnTo>
                    <a:pt x="972" y="1192"/>
                  </a:lnTo>
                  <a:lnTo>
                    <a:pt x="963" y="1192"/>
                  </a:lnTo>
                  <a:lnTo>
                    <a:pt x="953" y="1190"/>
                  </a:lnTo>
                  <a:lnTo>
                    <a:pt x="953" y="1190"/>
                  </a:lnTo>
                  <a:lnTo>
                    <a:pt x="931" y="1182"/>
                  </a:lnTo>
                  <a:lnTo>
                    <a:pt x="931" y="1182"/>
                  </a:lnTo>
                  <a:lnTo>
                    <a:pt x="832" y="1141"/>
                  </a:lnTo>
                  <a:lnTo>
                    <a:pt x="832" y="1141"/>
                  </a:lnTo>
                  <a:lnTo>
                    <a:pt x="821" y="1138"/>
                  </a:lnTo>
                  <a:lnTo>
                    <a:pt x="811" y="1134"/>
                  </a:lnTo>
                  <a:lnTo>
                    <a:pt x="811" y="1134"/>
                  </a:lnTo>
                  <a:lnTo>
                    <a:pt x="800" y="1131"/>
                  </a:lnTo>
                  <a:lnTo>
                    <a:pt x="789" y="1131"/>
                  </a:lnTo>
                  <a:lnTo>
                    <a:pt x="779" y="1131"/>
                  </a:lnTo>
                  <a:lnTo>
                    <a:pt x="768" y="1133"/>
                  </a:lnTo>
                  <a:lnTo>
                    <a:pt x="768" y="1133"/>
                  </a:lnTo>
                  <a:lnTo>
                    <a:pt x="741" y="1141"/>
                  </a:lnTo>
                  <a:lnTo>
                    <a:pt x="741" y="1141"/>
                  </a:lnTo>
                  <a:lnTo>
                    <a:pt x="713" y="1152"/>
                  </a:lnTo>
                  <a:lnTo>
                    <a:pt x="713" y="1152"/>
                  </a:lnTo>
                  <a:lnTo>
                    <a:pt x="701" y="1158"/>
                  </a:lnTo>
                  <a:lnTo>
                    <a:pt x="691" y="1166"/>
                  </a:lnTo>
                  <a:lnTo>
                    <a:pt x="683" y="1176"/>
                  </a:lnTo>
                  <a:lnTo>
                    <a:pt x="675" y="1187"/>
                  </a:lnTo>
                  <a:lnTo>
                    <a:pt x="675" y="1187"/>
                  </a:lnTo>
                  <a:lnTo>
                    <a:pt x="672" y="1195"/>
                  </a:lnTo>
                  <a:lnTo>
                    <a:pt x="669" y="1203"/>
                  </a:lnTo>
                  <a:lnTo>
                    <a:pt x="669" y="1203"/>
                  </a:lnTo>
                  <a:lnTo>
                    <a:pt x="656" y="1242"/>
                  </a:lnTo>
                  <a:lnTo>
                    <a:pt x="656" y="1242"/>
                  </a:lnTo>
                  <a:lnTo>
                    <a:pt x="640" y="1290"/>
                  </a:lnTo>
                  <a:lnTo>
                    <a:pt x="640" y="1290"/>
                  </a:lnTo>
                  <a:lnTo>
                    <a:pt x="630" y="1314"/>
                  </a:lnTo>
                  <a:lnTo>
                    <a:pt x="630" y="1314"/>
                  </a:lnTo>
                  <a:lnTo>
                    <a:pt x="624" y="1333"/>
                  </a:lnTo>
                  <a:lnTo>
                    <a:pt x="624" y="1333"/>
                  </a:lnTo>
                  <a:lnTo>
                    <a:pt x="621" y="1338"/>
                  </a:lnTo>
                  <a:lnTo>
                    <a:pt x="616" y="1342"/>
                  </a:lnTo>
                  <a:lnTo>
                    <a:pt x="616" y="1342"/>
                  </a:lnTo>
                  <a:lnTo>
                    <a:pt x="610" y="1346"/>
                  </a:lnTo>
                  <a:lnTo>
                    <a:pt x="602" y="1347"/>
                  </a:lnTo>
                  <a:lnTo>
                    <a:pt x="602" y="1347"/>
                  </a:lnTo>
                  <a:lnTo>
                    <a:pt x="586" y="1347"/>
                  </a:lnTo>
                  <a:lnTo>
                    <a:pt x="586" y="1347"/>
                  </a:lnTo>
                  <a:lnTo>
                    <a:pt x="507" y="1347"/>
                  </a:lnTo>
                  <a:lnTo>
                    <a:pt x="507" y="1347"/>
                  </a:lnTo>
                  <a:lnTo>
                    <a:pt x="494" y="1347"/>
                  </a:lnTo>
                  <a:lnTo>
                    <a:pt x="494" y="1347"/>
                  </a:lnTo>
                  <a:lnTo>
                    <a:pt x="482" y="1346"/>
                  </a:lnTo>
                  <a:lnTo>
                    <a:pt x="469" y="1341"/>
                  </a:lnTo>
                  <a:lnTo>
                    <a:pt x="469" y="1341"/>
                  </a:lnTo>
                  <a:lnTo>
                    <a:pt x="464" y="1336"/>
                  </a:lnTo>
                  <a:lnTo>
                    <a:pt x="459" y="1331"/>
                  </a:lnTo>
                  <a:lnTo>
                    <a:pt x="459" y="1331"/>
                  </a:lnTo>
                  <a:lnTo>
                    <a:pt x="453" y="1318"/>
                  </a:lnTo>
                  <a:lnTo>
                    <a:pt x="448" y="1304"/>
                  </a:lnTo>
                  <a:lnTo>
                    <a:pt x="448" y="1304"/>
                  </a:lnTo>
                  <a:lnTo>
                    <a:pt x="437" y="1272"/>
                  </a:lnTo>
                  <a:lnTo>
                    <a:pt x="427" y="1240"/>
                  </a:lnTo>
                  <a:lnTo>
                    <a:pt x="427" y="1240"/>
                  </a:lnTo>
                  <a:lnTo>
                    <a:pt x="410" y="1187"/>
                  </a:lnTo>
                  <a:lnTo>
                    <a:pt x="410" y="1187"/>
                  </a:lnTo>
                  <a:lnTo>
                    <a:pt x="407" y="1181"/>
                  </a:lnTo>
                  <a:lnTo>
                    <a:pt x="403" y="1174"/>
                  </a:lnTo>
                  <a:lnTo>
                    <a:pt x="399" y="1170"/>
                  </a:lnTo>
                  <a:lnTo>
                    <a:pt x="392" y="1165"/>
                  </a:lnTo>
                  <a:lnTo>
                    <a:pt x="392" y="1165"/>
                  </a:lnTo>
                  <a:lnTo>
                    <a:pt x="381" y="1158"/>
                  </a:lnTo>
                  <a:lnTo>
                    <a:pt x="370" y="1154"/>
                  </a:lnTo>
                  <a:lnTo>
                    <a:pt x="370" y="1154"/>
                  </a:lnTo>
                  <a:lnTo>
                    <a:pt x="343" y="1141"/>
                  </a:lnTo>
                  <a:lnTo>
                    <a:pt x="314" y="1131"/>
                  </a:lnTo>
                  <a:lnTo>
                    <a:pt x="314" y="1131"/>
                  </a:lnTo>
                  <a:lnTo>
                    <a:pt x="303" y="1128"/>
                  </a:lnTo>
                  <a:lnTo>
                    <a:pt x="303" y="1128"/>
                  </a:lnTo>
                  <a:lnTo>
                    <a:pt x="293" y="1126"/>
                  </a:lnTo>
                  <a:lnTo>
                    <a:pt x="283" y="1130"/>
                  </a:lnTo>
                  <a:lnTo>
                    <a:pt x="283" y="1130"/>
                  </a:lnTo>
                  <a:lnTo>
                    <a:pt x="266" y="1136"/>
                  </a:lnTo>
                  <a:lnTo>
                    <a:pt x="266" y="1136"/>
                  </a:lnTo>
                  <a:lnTo>
                    <a:pt x="234" y="1152"/>
                  </a:lnTo>
                  <a:lnTo>
                    <a:pt x="203" y="1168"/>
                  </a:lnTo>
                  <a:lnTo>
                    <a:pt x="203" y="1168"/>
                  </a:lnTo>
                  <a:lnTo>
                    <a:pt x="157" y="1192"/>
                  </a:lnTo>
                  <a:lnTo>
                    <a:pt x="157" y="1192"/>
                  </a:lnTo>
                  <a:lnTo>
                    <a:pt x="148" y="1197"/>
                  </a:lnTo>
                  <a:lnTo>
                    <a:pt x="138" y="1200"/>
                  </a:lnTo>
                  <a:lnTo>
                    <a:pt x="138" y="1200"/>
                  </a:lnTo>
                  <a:lnTo>
                    <a:pt x="128" y="1202"/>
                  </a:lnTo>
                  <a:lnTo>
                    <a:pt x="117" y="1202"/>
                  </a:lnTo>
                  <a:lnTo>
                    <a:pt x="108" y="1198"/>
                  </a:lnTo>
                  <a:lnTo>
                    <a:pt x="98" y="1192"/>
                  </a:lnTo>
                  <a:lnTo>
                    <a:pt x="98" y="1192"/>
                  </a:lnTo>
                  <a:lnTo>
                    <a:pt x="79" y="1174"/>
                  </a:lnTo>
                  <a:lnTo>
                    <a:pt x="60" y="1157"/>
                  </a:lnTo>
                  <a:lnTo>
                    <a:pt x="42" y="1138"/>
                  </a:lnTo>
                  <a:lnTo>
                    <a:pt x="24" y="1118"/>
                  </a:lnTo>
                  <a:lnTo>
                    <a:pt x="24" y="1118"/>
                  </a:lnTo>
                  <a:lnTo>
                    <a:pt x="16" y="1109"/>
                  </a:lnTo>
                  <a:lnTo>
                    <a:pt x="16" y="1109"/>
                  </a:lnTo>
                  <a:lnTo>
                    <a:pt x="15" y="1102"/>
                  </a:lnTo>
                  <a:lnTo>
                    <a:pt x="13" y="1096"/>
                  </a:lnTo>
                  <a:lnTo>
                    <a:pt x="13" y="1096"/>
                  </a:lnTo>
                  <a:lnTo>
                    <a:pt x="15" y="1090"/>
                  </a:lnTo>
                  <a:lnTo>
                    <a:pt x="15" y="1090"/>
                  </a:lnTo>
                  <a:lnTo>
                    <a:pt x="26" y="1062"/>
                  </a:lnTo>
                  <a:lnTo>
                    <a:pt x="26" y="1062"/>
                  </a:lnTo>
                  <a:lnTo>
                    <a:pt x="31" y="1054"/>
                  </a:lnTo>
                  <a:lnTo>
                    <a:pt x="34" y="1050"/>
                  </a:lnTo>
                  <a:lnTo>
                    <a:pt x="45" y="1038"/>
                  </a:lnTo>
                  <a:lnTo>
                    <a:pt x="45" y="1038"/>
                  </a:lnTo>
                  <a:lnTo>
                    <a:pt x="60" y="1029"/>
                  </a:lnTo>
                  <a:lnTo>
                    <a:pt x="76" y="1019"/>
                  </a:lnTo>
                  <a:lnTo>
                    <a:pt x="76" y="1019"/>
                  </a:lnTo>
                  <a:lnTo>
                    <a:pt x="140" y="987"/>
                  </a:lnTo>
                  <a:lnTo>
                    <a:pt x="140" y="987"/>
                  </a:lnTo>
                  <a:lnTo>
                    <a:pt x="159" y="975"/>
                  </a:lnTo>
                  <a:lnTo>
                    <a:pt x="178" y="963"/>
                  </a:lnTo>
                  <a:lnTo>
                    <a:pt x="213" y="935"/>
                  </a:lnTo>
                  <a:lnTo>
                    <a:pt x="213" y="935"/>
                  </a:lnTo>
                  <a:lnTo>
                    <a:pt x="264" y="893"/>
                  </a:lnTo>
                  <a:lnTo>
                    <a:pt x="264" y="893"/>
                  </a:lnTo>
                  <a:lnTo>
                    <a:pt x="274" y="885"/>
                  </a:lnTo>
                  <a:lnTo>
                    <a:pt x="274" y="885"/>
                  </a:lnTo>
                  <a:lnTo>
                    <a:pt x="280" y="880"/>
                  </a:lnTo>
                  <a:lnTo>
                    <a:pt x="288" y="875"/>
                  </a:lnTo>
                  <a:lnTo>
                    <a:pt x="296" y="872"/>
                  </a:lnTo>
                  <a:lnTo>
                    <a:pt x="304" y="871"/>
                  </a:lnTo>
                  <a:lnTo>
                    <a:pt x="322" y="869"/>
                  </a:lnTo>
                  <a:lnTo>
                    <a:pt x="339" y="869"/>
                  </a:lnTo>
                  <a:lnTo>
                    <a:pt x="339" y="869"/>
                  </a:lnTo>
                  <a:lnTo>
                    <a:pt x="352" y="872"/>
                  </a:lnTo>
                  <a:lnTo>
                    <a:pt x="363" y="879"/>
                  </a:lnTo>
                  <a:lnTo>
                    <a:pt x="363" y="879"/>
                  </a:lnTo>
                  <a:lnTo>
                    <a:pt x="400" y="903"/>
                  </a:lnTo>
                  <a:lnTo>
                    <a:pt x="400" y="903"/>
                  </a:lnTo>
                  <a:lnTo>
                    <a:pt x="419" y="914"/>
                  </a:lnTo>
                  <a:lnTo>
                    <a:pt x="438" y="923"/>
                  </a:lnTo>
                  <a:lnTo>
                    <a:pt x="438" y="923"/>
                  </a:lnTo>
                  <a:lnTo>
                    <a:pt x="469" y="931"/>
                  </a:lnTo>
                  <a:lnTo>
                    <a:pt x="469" y="931"/>
                  </a:lnTo>
                  <a:lnTo>
                    <a:pt x="480" y="935"/>
                  </a:lnTo>
                  <a:lnTo>
                    <a:pt x="480" y="935"/>
                  </a:lnTo>
                  <a:lnTo>
                    <a:pt x="490" y="938"/>
                  </a:lnTo>
                  <a:lnTo>
                    <a:pt x="490" y="938"/>
                  </a:lnTo>
                  <a:lnTo>
                    <a:pt x="514" y="943"/>
                  </a:lnTo>
                  <a:lnTo>
                    <a:pt x="514" y="943"/>
                  </a:lnTo>
                  <a:lnTo>
                    <a:pt x="526" y="944"/>
                  </a:lnTo>
                  <a:lnTo>
                    <a:pt x="539" y="944"/>
                  </a:lnTo>
                  <a:lnTo>
                    <a:pt x="552" y="943"/>
                  </a:lnTo>
                  <a:lnTo>
                    <a:pt x="565" y="941"/>
                  </a:lnTo>
                  <a:lnTo>
                    <a:pt x="565" y="941"/>
                  </a:lnTo>
                  <a:lnTo>
                    <a:pt x="579" y="939"/>
                  </a:lnTo>
                  <a:lnTo>
                    <a:pt x="579" y="939"/>
                  </a:lnTo>
                  <a:lnTo>
                    <a:pt x="594" y="936"/>
                  </a:lnTo>
                  <a:lnTo>
                    <a:pt x="610" y="931"/>
                  </a:lnTo>
                  <a:lnTo>
                    <a:pt x="610" y="931"/>
                  </a:lnTo>
                  <a:lnTo>
                    <a:pt x="630" y="925"/>
                  </a:lnTo>
                  <a:lnTo>
                    <a:pt x="650" y="917"/>
                  </a:lnTo>
                  <a:lnTo>
                    <a:pt x="650" y="917"/>
                  </a:lnTo>
                  <a:lnTo>
                    <a:pt x="666" y="909"/>
                  </a:lnTo>
                  <a:lnTo>
                    <a:pt x="680" y="899"/>
                  </a:lnTo>
                  <a:lnTo>
                    <a:pt x="709" y="880"/>
                  </a:lnTo>
                  <a:lnTo>
                    <a:pt x="709" y="880"/>
                  </a:lnTo>
                  <a:lnTo>
                    <a:pt x="725" y="866"/>
                  </a:lnTo>
                  <a:lnTo>
                    <a:pt x="739" y="851"/>
                  </a:lnTo>
                  <a:lnTo>
                    <a:pt x="752" y="835"/>
                  </a:lnTo>
                  <a:lnTo>
                    <a:pt x="763" y="818"/>
                  </a:lnTo>
                  <a:lnTo>
                    <a:pt x="763" y="818"/>
                  </a:lnTo>
                  <a:lnTo>
                    <a:pt x="774" y="800"/>
                  </a:lnTo>
                  <a:lnTo>
                    <a:pt x="782" y="783"/>
                  </a:lnTo>
                  <a:lnTo>
                    <a:pt x="790" y="765"/>
                  </a:lnTo>
                  <a:lnTo>
                    <a:pt x="798" y="746"/>
                  </a:lnTo>
                  <a:lnTo>
                    <a:pt x="798" y="746"/>
                  </a:lnTo>
                  <a:lnTo>
                    <a:pt x="803" y="727"/>
                  </a:lnTo>
                  <a:lnTo>
                    <a:pt x="806" y="707"/>
                  </a:lnTo>
                  <a:lnTo>
                    <a:pt x="806" y="707"/>
                  </a:lnTo>
                  <a:lnTo>
                    <a:pt x="808" y="695"/>
                  </a:lnTo>
                  <a:lnTo>
                    <a:pt x="808" y="695"/>
                  </a:lnTo>
                  <a:lnTo>
                    <a:pt x="811" y="680"/>
                  </a:lnTo>
                  <a:lnTo>
                    <a:pt x="811" y="666"/>
                  </a:lnTo>
                  <a:lnTo>
                    <a:pt x="811" y="651"/>
                  </a:lnTo>
                  <a:lnTo>
                    <a:pt x="808" y="637"/>
                  </a:lnTo>
                  <a:lnTo>
                    <a:pt x="808" y="637"/>
                  </a:lnTo>
                  <a:lnTo>
                    <a:pt x="806" y="626"/>
                  </a:lnTo>
                  <a:lnTo>
                    <a:pt x="806" y="626"/>
                  </a:lnTo>
                  <a:lnTo>
                    <a:pt x="805" y="616"/>
                  </a:lnTo>
                  <a:lnTo>
                    <a:pt x="805" y="616"/>
                  </a:lnTo>
                  <a:lnTo>
                    <a:pt x="795" y="581"/>
                  </a:lnTo>
                  <a:lnTo>
                    <a:pt x="795" y="581"/>
                  </a:lnTo>
                  <a:lnTo>
                    <a:pt x="789" y="563"/>
                  </a:lnTo>
                  <a:lnTo>
                    <a:pt x="781" y="546"/>
                  </a:lnTo>
                  <a:lnTo>
                    <a:pt x="771" y="531"/>
                  </a:lnTo>
                  <a:lnTo>
                    <a:pt x="760" y="517"/>
                  </a:lnTo>
                  <a:lnTo>
                    <a:pt x="760" y="517"/>
                  </a:lnTo>
                  <a:lnTo>
                    <a:pt x="747" y="503"/>
                  </a:lnTo>
                  <a:lnTo>
                    <a:pt x="734" y="490"/>
                  </a:lnTo>
                  <a:lnTo>
                    <a:pt x="709" y="467"/>
                  </a:lnTo>
                  <a:lnTo>
                    <a:pt x="709" y="467"/>
                  </a:lnTo>
                  <a:lnTo>
                    <a:pt x="634" y="408"/>
                  </a:lnTo>
                  <a:lnTo>
                    <a:pt x="634" y="408"/>
                  </a:lnTo>
                  <a:lnTo>
                    <a:pt x="605" y="387"/>
                  </a:lnTo>
                  <a:lnTo>
                    <a:pt x="605" y="387"/>
                  </a:lnTo>
                  <a:lnTo>
                    <a:pt x="582" y="373"/>
                  </a:lnTo>
                  <a:lnTo>
                    <a:pt x="582" y="373"/>
                  </a:lnTo>
                  <a:lnTo>
                    <a:pt x="539" y="351"/>
                  </a:lnTo>
                  <a:lnTo>
                    <a:pt x="539" y="351"/>
                  </a:lnTo>
                  <a:lnTo>
                    <a:pt x="515" y="341"/>
                  </a:lnTo>
                  <a:lnTo>
                    <a:pt x="491" y="333"/>
                  </a:lnTo>
                  <a:lnTo>
                    <a:pt x="491" y="333"/>
                  </a:lnTo>
                  <a:lnTo>
                    <a:pt x="458" y="323"/>
                  </a:lnTo>
                  <a:lnTo>
                    <a:pt x="458" y="323"/>
                  </a:lnTo>
                  <a:lnTo>
                    <a:pt x="419" y="315"/>
                  </a:lnTo>
                  <a:lnTo>
                    <a:pt x="419" y="315"/>
                  </a:lnTo>
                  <a:lnTo>
                    <a:pt x="419" y="315"/>
                  </a:lnTo>
                  <a:lnTo>
                    <a:pt x="419" y="315"/>
                  </a:lnTo>
                  <a:lnTo>
                    <a:pt x="395" y="309"/>
                  </a:lnTo>
                  <a:lnTo>
                    <a:pt x="371" y="306"/>
                  </a:lnTo>
                  <a:lnTo>
                    <a:pt x="371" y="306"/>
                  </a:lnTo>
                  <a:lnTo>
                    <a:pt x="357" y="304"/>
                  </a:lnTo>
                  <a:lnTo>
                    <a:pt x="341" y="303"/>
                  </a:lnTo>
                  <a:lnTo>
                    <a:pt x="341" y="303"/>
                  </a:lnTo>
                  <a:lnTo>
                    <a:pt x="319" y="303"/>
                  </a:lnTo>
                  <a:lnTo>
                    <a:pt x="319" y="303"/>
                  </a:lnTo>
                  <a:lnTo>
                    <a:pt x="319" y="303"/>
                  </a:lnTo>
                  <a:lnTo>
                    <a:pt x="319" y="303"/>
                  </a:lnTo>
                  <a:close/>
                </a:path>
              </a:pathLst>
            </a:custGeom>
            <a:grpFill/>
            <a:ln w="9525">
              <a:solidFill>
                <a:srgbClr val="4D9ED7"/>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맑은 고딕" panose="020B0503020000020004" pitchFamily="34" charset="-127"/>
                <a:ea typeface="맑은 고딕" panose="020B0503020000020004" pitchFamily="34" charset="-127"/>
                <a:cs typeface="+mn-cs"/>
              </a:endParaRPr>
            </a:p>
          </p:txBody>
        </p:sp>
        <p:sp>
          <p:nvSpPr>
            <p:cNvPr id="123" name="Freeform 6"/>
            <p:cNvSpPr>
              <a:spLocks/>
            </p:cNvSpPr>
            <p:nvPr/>
          </p:nvSpPr>
          <p:spPr bwMode="auto">
            <a:xfrm>
              <a:off x="6067737" y="2829329"/>
              <a:ext cx="322820" cy="89834"/>
            </a:xfrm>
            <a:custGeom>
              <a:avLst/>
              <a:gdLst>
                <a:gd name="T0" fmla="*/ 243 w 999"/>
                <a:gd name="T1" fmla="*/ 278 h 278"/>
                <a:gd name="T2" fmla="*/ 198 w 999"/>
                <a:gd name="T3" fmla="*/ 273 h 278"/>
                <a:gd name="T4" fmla="*/ 141 w 999"/>
                <a:gd name="T5" fmla="*/ 257 h 278"/>
                <a:gd name="T6" fmla="*/ 94 w 999"/>
                <a:gd name="T7" fmla="*/ 235 h 278"/>
                <a:gd name="T8" fmla="*/ 46 w 999"/>
                <a:gd name="T9" fmla="*/ 203 h 278"/>
                <a:gd name="T10" fmla="*/ 14 w 999"/>
                <a:gd name="T11" fmla="*/ 174 h 278"/>
                <a:gd name="T12" fmla="*/ 5 w 999"/>
                <a:gd name="T13" fmla="*/ 161 h 278"/>
                <a:gd name="T14" fmla="*/ 2 w 999"/>
                <a:gd name="T15" fmla="*/ 145 h 278"/>
                <a:gd name="T16" fmla="*/ 3 w 999"/>
                <a:gd name="T17" fmla="*/ 120 h 278"/>
                <a:gd name="T18" fmla="*/ 5 w 999"/>
                <a:gd name="T19" fmla="*/ 112 h 278"/>
                <a:gd name="T20" fmla="*/ 19 w 999"/>
                <a:gd name="T21" fmla="*/ 97 h 278"/>
                <a:gd name="T22" fmla="*/ 30 w 999"/>
                <a:gd name="T23" fmla="*/ 96 h 278"/>
                <a:gd name="T24" fmla="*/ 46 w 999"/>
                <a:gd name="T25" fmla="*/ 105 h 278"/>
                <a:gd name="T26" fmla="*/ 94 w 999"/>
                <a:gd name="T27" fmla="*/ 142 h 278"/>
                <a:gd name="T28" fmla="*/ 142 w 999"/>
                <a:gd name="T29" fmla="*/ 172 h 278"/>
                <a:gd name="T30" fmla="*/ 184 w 999"/>
                <a:gd name="T31" fmla="*/ 190 h 278"/>
                <a:gd name="T32" fmla="*/ 216 w 999"/>
                <a:gd name="T33" fmla="*/ 200 h 278"/>
                <a:gd name="T34" fmla="*/ 259 w 999"/>
                <a:gd name="T35" fmla="*/ 204 h 278"/>
                <a:gd name="T36" fmla="*/ 278 w 999"/>
                <a:gd name="T37" fmla="*/ 204 h 278"/>
                <a:gd name="T38" fmla="*/ 328 w 999"/>
                <a:gd name="T39" fmla="*/ 196 h 278"/>
                <a:gd name="T40" fmla="*/ 376 w 999"/>
                <a:gd name="T41" fmla="*/ 180 h 278"/>
                <a:gd name="T42" fmla="*/ 400 w 999"/>
                <a:gd name="T43" fmla="*/ 169 h 278"/>
                <a:gd name="T44" fmla="*/ 446 w 999"/>
                <a:gd name="T45" fmla="*/ 136 h 278"/>
                <a:gd name="T46" fmla="*/ 497 w 999"/>
                <a:gd name="T47" fmla="*/ 91 h 278"/>
                <a:gd name="T48" fmla="*/ 540 w 999"/>
                <a:gd name="T49" fmla="*/ 57 h 278"/>
                <a:gd name="T50" fmla="*/ 590 w 999"/>
                <a:gd name="T51" fmla="*/ 32 h 278"/>
                <a:gd name="T52" fmla="*/ 636 w 999"/>
                <a:gd name="T53" fmla="*/ 16 h 278"/>
                <a:gd name="T54" fmla="*/ 673 w 999"/>
                <a:gd name="T55" fmla="*/ 6 h 278"/>
                <a:gd name="T56" fmla="*/ 692 w 999"/>
                <a:gd name="T57" fmla="*/ 1 h 278"/>
                <a:gd name="T58" fmla="*/ 763 w 999"/>
                <a:gd name="T59" fmla="*/ 1 h 278"/>
                <a:gd name="T60" fmla="*/ 785 w 999"/>
                <a:gd name="T61" fmla="*/ 4 h 278"/>
                <a:gd name="T62" fmla="*/ 820 w 999"/>
                <a:gd name="T63" fmla="*/ 12 h 278"/>
                <a:gd name="T64" fmla="*/ 871 w 999"/>
                <a:gd name="T65" fmla="*/ 30 h 278"/>
                <a:gd name="T66" fmla="*/ 908 w 999"/>
                <a:gd name="T67" fmla="*/ 49 h 278"/>
                <a:gd name="T68" fmla="*/ 964 w 999"/>
                <a:gd name="T69" fmla="*/ 92 h 278"/>
                <a:gd name="T70" fmla="*/ 988 w 999"/>
                <a:gd name="T71" fmla="*/ 118 h 278"/>
                <a:gd name="T72" fmla="*/ 998 w 999"/>
                <a:gd name="T73" fmla="*/ 132 h 278"/>
                <a:gd name="T74" fmla="*/ 999 w 999"/>
                <a:gd name="T75" fmla="*/ 150 h 278"/>
                <a:gd name="T76" fmla="*/ 993 w 999"/>
                <a:gd name="T77" fmla="*/ 172 h 278"/>
                <a:gd name="T78" fmla="*/ 983 w 999"/>
                <a:gd name="T79" fmla="*/ 182 h 278"/>
                <a:gd name="T80" fmla="*/ 958 w 999"/>
                <a:gd name="T81" fmla="*/ 184 h 278"/>
                <a:gd name="T82" fmla="*/ 946 w 999"/>
                <a:gd name="T83" fmla="*/ 179 h 278"/>
                <a:gd name="T84" fmla="*/ 932 w 999"/>
                <a:gd name="T85" fmla="*/ 168 h 278"/>
                <a:gd name="T86" fmla="*/ 882 w 999"/>
                <a:gd name="T87" fmla="*/ 128 h 278"/>
                <a:gd name="T88" fmla="*/ 854 w 999"/>
                <a:gd name="T89" fmla="*/ 110 h 278"/>
                <a:gd name="T90" fmla="*/ 803 w 999"/>
                <a:gd name="T91" fmla="*/ 91 h 278"/>
                <a:gd name="T92" fmla="*/ 759 w 999"/>
                <a:gd name="T93" fmla="*/ 84 h 278"/>
                <a:gd name="T94" fmla="*/ 691 w 999"/>
                <a:gd name="T95" fmla="*/ 86 h 278"/>
                <a:gd name="T96" fmla="*/ 651 w 999"/>
                <a:gd name="T97" fmla="*/ 92 h 278"/>
                <a:gd name="T98" fmla="*/ 612 w 999"/>
                <a:gd name="T99" fmla="*/ 107 h 278"/>
                <a:gd name="T100" fmla="*/ 550 w 999"/>
                <a:gd name="T101" fmla="*/ 147 h 278"/>
                <a:gd name="T102" fmla="*/ 534 w 999"/>
                <a:gd name="T103" fmla="*/ 161 h 278"/>
                <a:gd name="T104" fmla="*/ 510 w 999"/>
                <a:gd name="T105" fmla="*/ 187 h 278"/>
                <a:gd name="T106" fmla="*/ 451 w 999"/>
                <a:gd name="T107" fmla="*/ 232 h 278"/>
                <a:gd name="T108" fmla="*/ 406 w 999"/>
                <a:gd name="T109" fmla="*/ 256 h 278"/>
                <a:gd name="T110" fmla="*/ 352 w 999"/>
                <a:gd name="T111" fmla="*/ 273 h 278"/>
                <a:gd name="T112" fmla="*/ 326 w 999"/>
                <a:gd name="T113" fmla="*/ 276 h 278"/>
                <a:gd name="T114" fmla="*/ 275 w 999"/>
                <a:gd name="T115" fmla="*/ 278 h 278"/>
                <a:gd name="T116" fmla="*/ 275 w 999"/>
                <a:gd name="T1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99" h="278">
                  <a:moveTo>
                    <a:pt x="275" y="278"/>
                  </a:moveTo>
                  <a:lnTo>
                    <a:pt x="275" y="278"/>
                  </a:lnTo>
                  <a:lnTo>
                    <a:pt x="243" y="278"/>
                  </a:lnTo>
                  <a:lnTo>
                    <a:pt x="243" y="278"/>
                  </a:lnTo>
                  <a:lnTo>
                    <a:pt x="221" y="276"/>
                  </a:lnTo>
                  <a:lnTo>
                    <a:pt x="198" y="273"/>
                  </a:lnTo>
                  <a:lnTo>
                    <a:pt x="198" y="273"/>
                  </a:lnTo>
                  <a:lnTo>
                    <a:pt x="169" y="267"/>
                  </a:lnTo>
                  <a:lnTo>
                    <a:pt x="141" y="257"/>
                  </a:lnTo>
                  <a:lnTo>
                    <a:pt x="141" y="257"/>
                  </a:lnTo>
                  <a:lnTo>
                    <a:pt x="117" y="248"/>
                  </a:lnTo>
                  <a:lnTo>
                    <a:pt x="94" y="235"/>
                  </a:lnTo>
                  <a:lnTo>
                    <a:pt x="94" y="235"/>
                  </a:lnTo>
                  <a:lnTo>
                    <a:pt x="62" y="214"/>
                  </a:lnTo>
                  <a:lnTo>
                    <a:pt x="46" y="203"/>
                  </a:lnTo>
                  <a:lnTo>
                    <a:pt x="32" y="190"/>
                  </a:lnTo>
                  <a:lnTo>
                    <a:pt x="32" y="190"/>
                  </a:lnTo>
                  <a:lnTo>
                    <a:pt x="14" y="174"/>
                  </a:lnTo>
                  <a:lnTo>
                    <a:pt x="14" y="174"/>
                  </a:lnTo>
                  <a:lnTo>
                    <a:pt x="10" y="168"/>
                  </a:lnTo>
                  <a:lnTo>
                    <a:pt x="5" y="161"/>
                  </a:lnTo>
                  <a:lnTo>
                    <a:pt x="3" y="153"/>
                  </a:lnTo>
                  <a:lnTo>
                    <a:pt x="2" y="145"/>
                  </a:lnTo>
                  <a:lnTo>
                    <a:pt x="2" y="145"/>
                  </a:lnTo>
                  <a:lnTo>
                    <a:pt x="0" y="132"/>
                  </a:lnTo>
                  <a:lnTo>
                    <a:pt x="3" y="120"/>
                  </a:lnTo>
                  <a:lnTo>
                    <a:pt x="3" y="120"/>
                  </a:lnTo>
                  <a:lnTo>
                    <a:pt x="3" y="118"/>
                  </a:lnTo>
                  <a:lnTo>
                    <a:pt x="3" y="118"/>
                  </a:lnTo>
                  <a:lnTo>
                    <a:pt x="5" y="112"/>
                  </a:lnTo>
                  <a:lnTo>
                    <a:pt x="10" y="105"/>
                  </a:lnTo>
                  <a:lnTo>
                    <a:pt x="14" y="102"/>
                  </a:lnTo>
                  <a:lnTo>
                    <a:pt x="19" y="97"/>
                  </a:lnTo>
                  <a:lnTo>
                    <a:pt x="19" y="97"/>
                  </a:lnTo>
                  <a:lnTo>
                    <a:pt x="27" y="96"/>
                  </a:lnTo>
                  <a:lnTo>
                    <a:pt x="30" y="96"/>
                  </a:lnTo>
                  <a:lnTo>
                    <a:pt x="34" y="97"/>
                  </a:lnTo>
                  <a:lnTo>
                    <a:pt x="34" y="97"/>
                  </a:lnTo>
                  <a:lnTo>
                    <a:pt x="46" y="105"/>
                  </a:lnTo>
                  <a:lnTo>
                    <a:pt x="57" y="113"/>
                  </a:lnTo>
                  <a:lnTo>
                    <a:pt x="57" y="113"/>
                  </a:lnTo>
                  <a:lnTo>
                    <a:pt x="94" y="142"/>
                  </a:lnTo>
                  <a:lnTo>
                    <a:pt x="94" y="142"/>
                  </a:lnTo>
                  <a:lnTo>
                    <a:pt x="117" y="160"/>
                  </a:lnTo>
                  <a:lnTo>
                    <a:pt x="142" y="172"/>
                  </a:lnTo>
                  <a:lnTo>
                    <a:pt x="142" y="172"/>
                  </a:lnTo>
                  <a:lnTo>
                    <a:pt x="163" y="182"/>
                  </a:lnTo>
                  <a:lnTo>
                    <a:pt x="184" y="190"/>
                  </a:lnTo>
                  <a:lnTo>
                    <a:pt x="184" y="190"/>
                  </a:lnTo>
                  <a:lnTo>
                    <a:pt x="216" y="200"/>
                  </a:lnTo>
                  <a:lnTo>
                    <a:pt x="216" y="200"/>
                  </a:lnTo>
                  <a:lnTo>
                    <a:pt x="230" y="201"/>
                  </a:lnTo>
                  <a:lnTo>
                    <a:pt x="230" y="201"/>
                  </a:lnTo>
                  <a:lnTo>
                    <a:pt x="259" y="204"/>
                  </a:lnTo>
                  <a:lnTo>
                    <a:pt x="259" y="204"/>
                  </a:lnTo>
                  <a:lnTo>
                    <a:pt x="278" y="204"/>
                  </a:lnTo>
                  <a:lnTo>
                    <a:pt x="278" y="204"/>
                  </a:lnTo>
                  <a:lnTo>
                    <a:pt x="294" y="203"/>
                  </a:lnTo>
                  <a:lnTo>
                    <a:pt x="312" y="200"/>
                  </a:lnTo>
                  <a:lnTo>
                    <a:pt x="328" y="196"/>
                  </a:lnTo>
                  <a:lnTo>
                    <a:pt x="344" y="192"/>
                  </a:lnTo>
                  <a:lnTo>
                    <a:pt x="344" y="192"/>
                  </a:lnTo>
                  <a:lnTo>
                    <a:pt x="376" y="180"/>
                  </a:lnTo>
                  <a:lnTo>
                    <a:pt x="376" y="180"/>
                  </a:lnTo>
                  <a:lnTo>
                    <a:pt x="388" y="176"/>
                  </a:lnTo>
                  <a:lnTo>
                    <a:pt x="400" y="169"/>
                  </a:lnTo>
                  <a:lnTo>
                    <a:pt x="422" y="155"/>
                  </a:lnTo>
                  <a:lnTo>
                    <a:pt x="422" y="155"/>
                  </a:lnTo>
                  <a:lnTo>
                    <a:pt x="446" y="136"/>
                  </a:lnTo>
                  <a:lnTo>
                    <a:pt x="470" y="115"/>
                  </a:lnTo>
                  <a:lnTo>
                    <a:pt x="470" y="115"/>
                  </a:lnTo>
                  <a:lnTo>
                    <a:pt x="497" y="91"/>
                  </a:lnTo>
                  <a:lnTo>
                    <a:pt x="524" y="68"/>
                  </a:lnTo>
                  <a:lnTo>
                    <a:pt x="524" y="68"/>
                  </a:lnTo>
                  <a:lnTo>
                    <a:pt x="540" y="57"/>
                  </a:lnTo>
                  <a:lnTo>
                    <a:pt x="556" y="48"/>
                  </a:lnTo>
                  <a:lnTo>
                    <a:pt x="574" y="40"/>
                  </a:lnTo>
                  <a:lnTo>
                    <a:pt x="590" y="32"/>
                  </a:lnTo>
                  <a:lnTo>
                    <a:pt x="590" y="32"/>
                  </a:lnTo>
                  <a:lnTo>
                    <a:pt x="636" y="16"/>
                  </a:lnTo>
                  <a:lnTo>
                    <a:pt x="636" y="16"/>
                  </a:lnTo>
                  <a:lnTo>
                    <a:pt x="668" y="6"/>
                  </a:lnTo>
                  <a:lnTo>
                    <a:pt x="668" y="6"/>
                  </a:lnTo>
                  <a:lnTo>
                    <a:pt x="673" y="6"/>
                  </a:lnTo>
                  <a:lnTo>
                    <a:pt x="673" y="6"/>
                  </a:lnTo>
                  <a:lnTo>
                    <a:pt x="683" y="3"/>
                  </a:lnTo>
                  <a:lnTo>
                    <a:pt x="692" y="1"/>
                  </a:lnTo>
                  <a:lnTo>
                    <a:pt x="713" y="0"/>
                  </a:lnTo>
                  <a:lnTo>
                    <a:pt x="713" y="0"/>
                  </a:lnTo>
                  <a:lnTo>
                    <a:pt x="763" y="1"/>
                  </a:lnTo>
                  <a:lnTo>
                    <a:pt x="763" y="1"/>
                  </a:lnTo>
                  <a:lnTo>
                    <a:pt x="774" y="1"/>
                  </a:lnTo>
                  <a:lnTo>
                    <a:pt x="785" y="4"/>
                  </a:lnTo>
                  <a:lnTo>
                    <a:pt x="785" y="4"/>
                  </a:lnTo>
                  <a:lnTo>
                    <a:pt x="803" y="8"/>
                  </a:lnTo>
                  <a:lnTo>
                    <a:pt x="820" y="12"/>
                  </a:lnTo>
                  <a:lnTo>
                    <a:pt x="820" y="12"/>
                  </a:lnTo>
                  <a:lnTo>
                    <a:pt x="855" y="24"/>
                  </a:lnTo>
                  <a:lnTo>
                    <a:pt x="871" y="30"/>
                  </a:lnTo>
                  <a:lnTo>
                    <a:pt x="887" y="38"/>
                  </a:lnTo>
                  <a:lnTo>
                    <a:pt x="887" y="38"/>
                  </a:lnTo>
                  <a:lnTo>
                    <a:pt x="908" y="49"/>
                  </a:lnTo>
                  <a:lnTo>
                    <a:pt x="929" y="62"/>
                  </a:lnTo>
                  <a:lnTo>
                    <a:pt x="946" y="76"/>
                  </a:lnTo>
                  <a:lnTo>
                    <a:pt x="964" y="92"/>
                  </a:lnTo>
                  <a:lnTo>
                    <a:pt x="964" y="92"/>
                  </a:lnTo>
                  <a:lnTo>
                    <a:pt x="977" y="105"/>
                  </a:lnTo>
                  <a:lnTo>
                    <a:pt x="988" y="118"/>
                  </a:lnTo>
                  <a:lnTo>
                    <a:pt x="988" y="118"/>
                  </a:lnTo>
                  <a:lnTo>
                    <a:pt x="994" y="126"/>
                  </a:lnTo>
                  <a:lnTo>
                    <a:pt x="998" y="132"/>
                  </a:lnTo>
                  <a:lnTo>
                    <a:pt x="999" y="140"/>
                  </a:lnTo>
                  <a:lnTo>
                    <a:pt x="999" y="150"/>
                  </a:lnTo>
                  <a:lnTo>
                    <a:pt x="999" y="150"/>
                  </a:lnTo>
                  <a:lnTo>
                    <a:pt x="999" y="158"/>
                  </a:lnTo>
                  <a:lnTo>
                    <a:pt x="996" y="166"/>
                  </a:lnTo>
                  <a:lnTo>
                    <a:pt x="993" y="172"/>
                  </a:lnTo>
                  <a:lnTo>
                    <a:pt x="988" y="179"/>
                  </a:lnTo>
                  <a:lnTo>
                    <a:pt x="988" y="179"/>
                  </a:lnTo>
                  <a:lnTo>
                    <a:pt x="983" y="182"/>
                  </a:lnTo>
                  <a:lnTo>
                    <a:pt x="978" y="184"/>
                  </a:lnTo>
                  <a:lnTo>
                    <a:pt x="978" y="184"/>
                  </a:lnTo>
                  <a:lnTo>
                    <a:pt x="958" y="184"/>
                  </a:lnTo>
                  <a:lnTo>
                    <a:pt x="958" y="184"/>
                  </a:lnTo>
                  <a:lnTo>
                    <a:pt x="951" y="182"/>
                  </a:lnTo>
                  <a:lnTo>
                    <a:pt x="946" y="179"/>
                  </a:lnTo>
                  <a:lnTo>
                    <a:pt x="946" y="179"/>
                  </a:lnTo>
                  <a:lnTo>
                    <a:pt x="932" y="168"/>
                  </a:lnTo>
                  <a:lnTo>
                    <a:pt x="932" y="168"/>
                  </a:lnTo>
                  <a:lnTo>
                    <a:pt x="910" y="148"/>
                  </a:lnTo>
                  <a:lnTo>
                    <a:pt x="910" y="148"/>
                  </a:lnTo>
                  <a:lnTo>
                    <a:pt x="882" y="128"/>
                  </a:lnTo>
                  <a:lnTo>
                    <a:pt x="868" y="118"/>
                  </a:lnTo>
                  <a:lnTo>
                    <a:pt x="854" y="110"/>
                  </a:lnTo>
                  <a:lnTo>
                    <a:pt x="854" y="110"/>
                  </a:lnTo>
                  <a:lnTo>
                    <a:pt x="817" y="96"/>
                  </a:lnTo>
                  <a:lnTo>
                    <a:pt x="817" y="96"/>
                  </a:lnTo>
                  <a:lnTo>
                    <a:pt x="803" y="91"/>
                  </a:lnTo>
                  <a:lnTo>
                    <a:pt x="788" y="88"/>
                  </a:lnTo>
                  <a:lnTo>
                    <a:pt x="759" y="84"/>
                  </a:lnTo>
                  <a:lnTo>
                    <a:pt x="759" y="84"/>
                  </a:lnTo>
                  <a:lnTo>
                    <a:pt x="737" y="84"/>
                  </a:lnTo>
                  <a:lnTo>
                    <a:pt x="713" y="84"/>
                  </a:lnTo>
                  <a:lnTo>
                    <a:pt x="691" y="86"/>
                  </a:lnTo>
                  <a:lnTo>
                    <a:pt x="668" y="89"/>
                  </a:lnTo>
                  <a:lnTo>
                    <a:pt x="668" y="89"/>
                  </a:lnTo>
                  <a:lnTo>
                    <a:pt x="651" y="92"/>
                  </a:lnTo>
                  <a:lnTo>
                    <a:pt x="635" y="97"/>
                  </a:lnTo>
                  <a:lnTo>
                    <a:pt x="635" y="97"/>
                  </a:lnTo>
                  <a:lnTo>
                    <a:pt x="612" y="107"/>
                  </a:lnTo>
                  <a:lnTo>
                    <a:pt x="591" y="118"/>
                  </a:lnTo>
                  <a:lnTo>
                    <a:pt x="571" y="132"/>
                  </a:lnTo>
                  <a:lnTo>
                    <a:pt x="550" y="147"/>
                  </a:lnTo>
                  <a:lnTo>
                    <a:pt x="550" y="147"/>
                  </a:lnTo>
                  <a:lnTo>
                    <a:pt x="534" y="161"/>
                  </a:lnTo>
                  <a:lnTo>
                    <a:pt x="534" y="161"/>
                  </a:lnTo>
                  <a:lnTo>
                    <a:pt x="528" y="169"/>
                  </a:lnTo>
                  <a:lnTo>
                    <a:pt x="528" y="169"/>
                  </a:lnTo>
                  <a:lnTo>
                    <a:pt x="510" y="187"/>
                  </a:lnTo>
                  <a:lnTo>
                    <a:pt x="492" y="204"/>
                  </a:lnTo>
                  <a:lnTo>
                    <a:pt x="472" y="219"/>
                  </a:lnTo>
                  <a:lnTo>
                    <a:pt x="451" y="232"/>
                  </a:lnTo>
                  <a:lnTo>
                    <a:pt x="451" y="232"/>
                  </a:lnTo>
                  <a:lnTo>
                    <a:pt x="428" y="244"/>
                  </a:lnTo>
                  <a:lnTo>
                    <a:pt x="406" y="256"/>
                  </a:lnTo>
                  <a:lnTo>
                    <a:pt x="406" y="256"/>
                  </a:lnTo>
                  <a:lnTo>
                    <a:pt x="379" y="265"/>
                  </a:lnTo>
                  <a:lnTo>
                    <a:pt x="352" y="273"/>
                  </a:lnTo>
                  <a:lnTo>
                    <a:pt x="352" y="273"/>
                  </a:lnTo>
                  <a:lnTo>
                    <a:pt x="339" y="275"/>
                  </a:lnTo>
                  <a:lnTo>
                    <a:pt x="326" y="276"/>
                  </a:lnTo>
                  <a:lnTo>
                    <a:pt x="302" y="278"/>
                  </a:lnTo>
                  <a:lnTo>
                    <a:pt x="302" y="278"/>
                  </a:lnTo>
                  <a:lnTo>
                    <a:pt x="275" y="278"/>
                  </a:lnTo>
                  <a:lnTo>
                    <a:pt x="275" y="278"/>
                  </a:lnTo>
                  <a:lnTo>
                    <a:pt x="275" y="278"/>
                  </a:lnTo>
                  <a:lnTo>
                    <a:pt x="275" y="278"/>
                  </a:lnTo>
                  <a:close/>
                </a:path>
              </a:pathLst>
            </a:custGeom>
            <a:grpFill/>
            <a:ln w="9525">
              <a:solidFill>
                <a:srgbClr val="4D9ED7"/>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맑은 고딕" panose="020B0503020000020004" pitchFamily="34" charset="-127"/>
                <a:ea typeface="맑은 고딕" panose="020B0503020000020004" pitchFamily="34" charset="-127"/>
                <a:cs typeface="+mn-cs"/>
              </a:endParaRPr>
            </a:p>
          </p:txBody>
        </p:sp>
        <p:sp>
          <p:nvSpPr>
            <p:cNvPr id="124" name="Freeform 7"/>
            <p:cNvSpPr>
              <a:spLocks/>
            </p:cNvSpPr>
            <p:nvPr/>
          </p:nvSpPr>
          <p:spPr bwMode="auto">
            <a:xfrm>
              <a:off x="6098112" y="2773748"/>
              <a:ext cx="324113" cy="92742"/>
            </a:xfrm>
            <a:custGeom>
              <a:avLst/>
              <a:gdLst>
                <a:gd name="T0" fmla="*/ 144 w 1003"/>
                <a:gd name="T1" fmla="*/ 285 h 287"/>
                <a:gd name="T2" fmla="*/ 111 w 1003"/>
                <a:gd name="T3" fmla="*/ 279 h 287"/>
                <a:gd name="T4" fmla="*/ 43 w 1003"/>
                <a:gd name="T5" fmla="*/ 245 h 287"/>
                <a:gd name="T6" fmla="*/ 11 w 1003"/>
                <a:gd name="T7" fmla="*/ 213 h 287"/>
                <a:gd name="T8" fmla="*/ 0 w 1003"/>
                <a:gd name="T9" fmla="*/ 191 h 287"/>
                <a:gd name="T10" fmla="*/ 0 w 1003"/>
                <a:gd name="T11" fmla="*/ 175 h 287"/>
                <a:gd name="T12" fmla="*/ 16 w 1003"/>
                <a:gd name="T13" fmla="*/ 154 h 287"/>
                <a:gd name="T14" fmla="*/ 27 w 1003"/>
                <a:gd name="T15" fmla="*/ 148 h 287"/>
                <a:gd name="T16" fmla="*/ 69 w 1003"/>
                <a:gd name="T17" fmla="*/ 167 h 287"/>
                <a:gd name="T18" fmla="*/ 107 w 1003"/>
                <a:gd name="T19" fmla="*/ 192 h 287"/>
                <a:gd name="T20" fmla="*/ 138 w 1003"/>
                <a:gd name="T21" fmla="*/ 204 h 287"/>
                <a:gd name="T22" fmla="*/ 183 w 1003"/>
                <a:gd name="T23" fmla="*/ 207 h 287"/>
                <a:gd name="T24" fmla="*/ 232 w 1003"/>
                <a:gd name="T25" fmla="*/ 197 h 287"/>
                <a:gd name="T26" fmla="*/ 267 w 1003"/>
                <a:gd name="T27" fmla="*/ 176 h 287"/>
                <a:gd name="T28" fmla="*/ 310 w 1003"/>
                <a:gd name="T29" fmla="*/ 138 h 287"/>
                <a:gd name="T30" fmla="*/ 389 w 1003"/>
                <a:gd name="T31" fmla="*/ 76 h 287"/>
                <a:gd name="T32" fmla="*/ 430 w 1003"/>
                <a:gd name="T33" fmla="*/ 55 h 287"/>
                <a:gd name="T34" fmla="*/ 496 w 1003"/>
                <a:gd name="T35" fmla="*/ 29 h 287"/>
                <a:gd name="T36" fmla="*/ 573 w 1003"/>
                <a:gd name="T37" fmla="*/ 8 h 287"/>
                <a:gd name="T38" fmla="*/ 597 w 1003"/>
                <a:gd name="T39" fmla="*/ 5 h 287"/>
                <a:gd name="T40" fmla="*/ 637 w 1003"/>
                <a:gd name="T41" fmla="*/ 0 h 287"/>
                <a:gd name="T42" fmla="*/ 696 w 1003"/>
                <a:gd name="T43" fmla="*/ 7 h 287"/>
                <a:gd name="T44" fmla="*/ 733 w 1003"/>
                <a:gd name="T45" fmla="*/ 12 h 287"/>
                <a:gd name="T46" fmla="*/ 763 w 1003"/>
                <a:gd name="T47" fmla="*/ 20 h 287"/>
                <a:gd name="T48" fmla="*/ 819 w 1003"/>
                <a:gd name="T49" fmla="*/ 37 h 287"/>
                <a:gd name="T50" fmla="*/ 880 w 1003"/>
                <a:gd name="T51" fmla="*/ 68 h 287"/>
                <a:gd name="T52" fmla="*/ 932 w 1003"/>
                <a:gd name="T53" fmla="*/ 103 h 287"/>
                <a:gd name="T54" fmla="*/ 993 w 1003"/>
                <a:gd name="T55" fmla="*/ 162 h 287"/>
                <a:gd name="T56" fmla="*/ 1001 w 1003"/>
                <a:gd name="T57" fmla="*/ 178 h 287"/>
                <a:gd name="T58" fmla="*/ 998 w 1003"/>
                <a:gd name="T59" fmla="*/ 215 h 287"/>
                <a:gd name="T60" fmla="*/ 985 w 1003"/>
                <a:gd name="T61" fmla="*/ 228 h 287"/>
                <a:gd name="T62" fmla="*/ 969 w 1003"/>
                <a:gd name="T63" fmla="*/ 229 h 287"/>
                <a:gd name="T64" fmla="*/ 944 w 1003"/>
                <a:gd name="T65" fmla="*/ 215 h 287"/>
                <a:gd name="T66" fmla="*/ 913 w 1003"/>
                <a:gd name="T67" fmla="*/ 188 h 287"/>
                <a:gd name="T68" fmla="*/ 828 w 1003"/>
                <a:gd name="T69" fmla="*/ 125 h 287"/>
                <a:gd name="T70" fmla="*/ 787 w 1003"/>
                <a:gd name="T71" fmla="*/ 104 h 287"/>
                <a:gd name="T72" fmla="*/ 720 w 1003"/>
                <a:gd name="T73" fmla="*/ 87 h 287"/>
                <a:gd name="T74" fmla="*/ 697 w 1003"/>
                <a:gd name="T75" fmla="*/ 82 h 287"/>
                <a:gd name="T76" fmla="*/ 657 w 1003"/>
                <a:gd name="T77" fmla="*/ 79 h 287"/>
                <a:gd name="T78" fmla="*/ 569 w 1003"/>
                <a:gd name="T79" fmla="*/ 88 h 287"/>
                <a:gd name="T80" fmla="*/ 517 w 1003"/>
                <a:gd name="T81" fmla="*/ 103 h 287"/>
                <a:gd name="T82" fmla="*/ 437 w 1003"/>
                <a:gd name="T83" fmla="*/ 141 h 287"/>
                <a:gd name="T84" fmla="*/ 386 w 1003"/>
                <a:gd name="T85" fmla="*/ 178 h 287"/>
                <a:gd name="T86" fmla="*/ 322 w 1003"/>
                <a:gd name="T87" fmla="*/ 234 h 287"/>
                <a:gd name="T88" fmla="*/ 291 w 1003"/>
                <a:gd name="T89" fmla="*/ 258 h 287"/>
                <a:gd name="T90" fmla="*/ 256 w 1003"/>
                <a:gd name="T91" fmla="*/ 274 h 287"/>
                <a:gd name="T92" fmla="*/ 210 w 1003"/>
                <a:gd name="T93" fmla="*/ 285 h 287"/>
                <a:gd name="T94" fmla="*/ 176 w 1003"/>
                <a:gd name="T95" fmla="*/ 285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03" h="287">
                  <a:moveTo>
                    <a:pt x="176" y="287"/>
                  </a:moveTo>
                  <a:lnTo>
                    <a:pt x="176" y="287"/>
                  </a:lnTo>
                  <a:lnTo>
                    <a:pt x="144" y="285"/>
                  </a:lnTo>
                  <a:lnTo>
                    <a:pt x="144" y="285"/>
                  </a:lnTo>
                  <a:lnTo>
                    <a:pt x="136" y="284"/>
                  </a:lnTo>
                  <a:lnTo>
                    <a:pt x="136" y="284"/>
                  </a:lnTo>
                  <a:lnTo>
                    <a:pt x="111" y="279"/>
                  </a:lnTo>
                  <a:lnTo>
                    <a:pt x="111" y="279"/>
                  </a:lnTo>
                  <a:lnTo>
                    <a:pt x="91" y="272"/>
                  </a:lnTo>
                  <a:lnTo>
                    <a:pt x="75" y="266"/>
                  </a:lnTo>
                  <a:lnTo>
                    <a:pt x="58" y="256"/>
                  </a:lnTo>
                  <a:lnTo>
                    <a:pt x="43" y="245"/>
                  </a:lnTo>
                  <a:lnTo>
                    <a:pt x="43" y="245"/>
                  </a:lnTo>
                  <a:lnTo>
                    <a:pt x="32" y="236"/>
                  </a:lnTo>
                  <a:lnTo>
                    <a:pt x="21" y="226"/>
                  </a:lnTo>
                  <a:lnTo>
                    <a:pt x="11" y="213"/>
                  </a:lnTo>
                  <a:lnTo>
                    <a:pt x="3" y="202"/>
                  </a:lnTo>
                  <a:lnTo>
                    <a:pt x="3" y="202"/>
                  </a:lnTo>
                  <a:lnTo>
                    <a:pt x="0" y="196"/>
                  </a:lnTo>
                  <a:lnTo>
                    <a:pt x="0" y="191"/>
                  </a:lnTo>
                  <a:lnTo>
                    <a:pt x="0" y="191"/>
                  </a:lnTo>
                  <a:lnTo>
                    <a:pt x="0" y="186"/>
                  </a:lnTo>
                  <a:lnTo>
                    <a:pt x="0" y="186"/>
                  </a:lnTo>
                  <a:lnTo>
                    <a:pt x="0" y="175"/>
                  </a:lnTo>
                  <a:lnTo>
                    <a:pt x="3" y="167"/>
                  </a:lnTo>
                  <a:lnTo>
                    <a:pt x="8" y="160"/>
                  </a:lnTo>
                  <a:lnTo>
                    <a:pt x="16" y="154"/>
                  </a:lnTo>
                  <a:lnTo>
                    <a:pt x="16" y="154"/>
                  </a:lnTo>
                  <a:lnTo>
                    <a:pt x="21" y="151"/>
                  </a:lnTo>
                  <a:lnTo>
                    <a:pt x="21" y="151"/>
                  </a:lnTo>
                  <a:lnTo>
                    <a:pt x="24" y="148"/>
                  </a:lnTo>
                  <a:lnTo>
                    <a:pt x="27" y="148"/>
                  </a:lnTo>
                  <a:lnTo>
                    <a:pt x="35" y="149"/>
                  </a:lnTo>
                  <a:lnTo>
                    <a:pt x="35" y="149"/>
                  </a:lnTo>
                  <a:lnTo>
                    <a:pt x="51" y="157"/>
                  </a:lnTo>
                  <a:lnTo>
                    <a:pt x="69" y="167"/>
                  </a:lnTo>
                  <a:lnTo>
                    <a:pt x="69" y="167"/>
                  </a:lnTo>
                  <a:lnTo>
                    <a:pt x="88" y="181"/>
                  </a:lnTo>
                  <a:lnTo>
                    <a:pt x="88" y="181"/>
                  </a:lnTo>
                  <a:lnTo>
                    <a:pt x="107" y="192"/>
                  </a:lnTo>
                  <a:lnTo>
                    <a:pt x="128" y="202"/>
                  </a:lnTo>
                  <a:lnTo>
                    <a:pt x="128" y="202"/>
                  </a:lnTo>
                  <a:lnTo>
                    <a:pt x="138" y="204"/>
                  </a:lnTo>
                  <a:lnTo>
                    <a:pt x="138" y="204"/>
                  </a:lnTo>
                  <a:lnTo>
                    <a:pt x="154" y="205"/>
                  </a:lnTo>
                  <a:lnTo>
                    <a:pt x="154" y="205"/>
                  </a:lnTo>
                  <a:lnTo>
                    <a:pt x="168" y="207"/>
                  </a:lnTo>
                  <a:lnTo>
                    <a:pt x="183" y="207"/>
                  </a:lnTo>
                  <a:lnTo>
                    <a:pt x="211" y="204"/>
                  </a:lnTo>
                  <a:lnTo>
                    <a:pt x="211" y="204"/>
                  </a:lnTo>
                  <a:lnTo>
                    <a:pt x="221" y="200"/>
                  </a:lnTo>
                  <a:lnTo>
                    <a:pt x="232" y="197"/>
                  </a:lnTo>
                  <a:lnTo>
                    <a:pt x="242" y="192"/>
                  </a:lnTo>
                  <a:lnTo>
                    <a:pt x="251" y="188"/>
                  </a:lnTo>
                  <a:lnTo>
                    <a:pt x="251" y="188"/>
                  </a:lnTo>
                  <a:lnTo>
                    <a:pt x="267" y="176"/>
                  </a:lnTo>
                  <a:lnTo>
                    <a:pt x="282" y="165"/>
                  </a:lnTo>
                  <a:lnTo>
                    <a:pt x="298" y="152"/>
                  </a:lnTo>
                  <a:lnTo>
                    <a:pt x="310" y="138"/>
                  </a:lnTo>
                  <a:lnTo>
                    <a:pt x="310" y="138"/>
                  </a:lnTo>
                  <a:lnTo>
                    <a:pt x="328" y="120"/>
                  </a:lnTo>
                  <a:lnTo>
                    <a:pt x="347" y="104"/>
                  </a:lnTo>
                  <a:lnTo>
                    <a:pt x="368" y="88"/>
                  </a:lnTo>
                  <a:lnTo>
                    <a:pt x="389" y="76"/>
                  </a:lnTo>
                  <a:lnTo>
                    <a:pt x="389" y="76"/>
                  </a:lnTo>
                  <a:lnTo>
                    <a:pt x="410" y="64"/>
                  </a:lnTo>
                  <a:lnTo>
                    <a:pt x="430" y="55"/>
                  </a:lnTo>
                  <a:lnTo>
                    <a:pt x="430" y="55"/>
                  </a:lnTo>
                  <a:lnTo>
                    <a:pt x="470" y="37"/>
                  </a:lnTo>
                  <a:lnTo>
                    <a:pt x="470" y="37"/>
                  </a:lnTo>
                  <a:lnTo>
                    <a:pt x="496" y="29"/>
                  </a:lnTo>
                  <a:lnTo>
                    <a:pt x="496" y="29"/>
                  </a:lnTo>
                  <a:lnTo>
                    <a:pt x="534" y="16"/>
                  </a:lnTo>
                  <a:lnTo>
                    <a:pt x="534" y="16"/>
                  </a:lnTo>
                  <a:lnTo>
                    <a:pt x="553" y="12"/>
                  </a:lnTo>
                  <a:lnTo>
                    <a:pt x="573" y="8"/>
                  </a:lnTo>
                  <a:lnTo>
                    <a:pt x="573" y="8"/>
                  </a:lnTo>
                  <a:lnTo>
                    <a:pt x="585" y="7"/>
                  </a:lnTo>
                  <a:lnTo>
                    <a:pt x="597" y="5"/>
                  </a:lnTo>
                  <a:lnTo>
                    <a:pt x="597" y="5"/>
                  </a:lnTo>
                  <a:lnTo>
                    <a:pt x="609" y="4"/>
                  </a:lnTo>
                  <a:lnTo>
                    <a:pt x="609" y="4"/>
                  </a:lnTo>
                  <a:lnTo>
                    <a:pt x="637" y="0"/>
                  </a:lnTo>
                  <a:lnTo>
                    <a:pt x="637" y="0"/>
                  </a:lnTo>
                  <a:lnTo>
                    <a:pt x="654" y="0"/>
                  </a:lnTo>
                  <a:lnTo>
                    <a:pt x="672" y="2"/>
                  </a:lnTo>
                  <a:lnTo>
                    <a:pt x="672" y="2"/>
                  </a:lnTo>
                  <a:lnTo>
                    <a:pt x="696" y="7"/>
                  </a:lnTo>
                  <a:lnTo>
                    <a:pt x="696" y="7"/>
                  </a:lnTo>
                  <a:lnTo>
                    <a:pt x="717" y="10"/>
                  </a:lnTo>
                  <a:lnTo>
                    <a:pt x="717" y="10"/>
                  </a:lnTo>
                  <a:lnTo>
                    <a:pt x="733" y="12"/>
                  </a:lnTo>
                  <a:lnTo>
                    <a:pt x="733" y="12"/>
                  </a:lnTo>
                  <a:lnTo>
                    <a:pt x="742" y="15"/>
                  </a:lnTo>
                  <a:lnTo>
                    <a:pt x="742" y="15"/>
                  </a:lnTo>
                  <a:lnTo>
                    <a:pt x="763" y="20"/>
                  </a:lnTo>
                  <a:lnTo>
                    <a:pt x="785" y="26"/>
                  </a:lnTo>
                  <a:lnTo>
                    <a:pt x="785" y="26"/>
                  </a:lnTo>
                  <a:lnTo>
                    <a:pt x="801" y="31"/>
                  </a:lnTo>
                  <a:lnTo>
                    <a:pt x="819" y="37"/>
                  </a:lnTo>
                  <a:lnTo>
                    <a:pt x="819" y="37"/>
                  </a:lnTo>
                  <a:lnTo>
                    <a:pt x="840" y="47"/>
                  </a:lnTo>
                  <a:lnTo>
                    <a:pt x="860" y="56"/>
                  </a:lnTo>
                  <a:lnTo>
                    <a:pt x="880" y="68"/>
                  </a:lnTo>
                  <a:lnTo>
                    <a:pt x="899" y="80"/>
                  </a:lnTo>
                  <a:lnTo>
                    <a:pt x="899" y="80"/>
                  </a:lnTo>
                  <a:lnTo>
                    <a:pt x="932" y="103"/>
                  </a:lnTo>
                  <a:lnTo>
                    <a:pt x="932" y="103"/>
                  </a:lnTo>
                  <a:lnTo>
                    <a:pt x="953" y="120"/>
                  </a:lnTo>
                  <a:lnTo>
                    <a:pt x="953" y="120"/>
                  </a:lnTo>
                  <a:lnTo>
                    <a:pt x="974" y="141"/>
                  </a:lnTo>
                  <a:lnTo>
                    <a:pt x="993" y="162"/>
                  </a:lnTo>
                  <a:lnTo>
                    <a:pt x="993" y="162"/>
                  </a:lnTo>
                  <a:lnTo>
                    <a:pt x="998" y="168"/>
                  </a:lnTo>
                  <a:lnTo>
                    <a:pt x="1001" y="178"/>
                  </a:lnTo>
                  <a:lnTo>
                    <a:pt x="1001" y="178"/>
                  </a:lnTo>
                  <a:lnTo>
                    <a:pt x="1003" y="194"/>
                  </a:lnTo>
                  <a:lnTo>
                    <a:pt x="1000" y="210"/>
                  </a:lnTo>
                  <a:lnTo>
                    <a:pt x="1000" y="210"/>
                  </a:lnTo>
                  <a:lnTo>
                    <a:pt x="998" y="215"/>
                  </a:lnTo>
                  <a:lnTo>
                    <a:pt x="995" y="218"/>
                  </a:lnTo>
                  <a:lnTo>
                    <a:pt x="995" y="218"/>
                  </a:lnTo>
                  <a:lnTo>
                    <a:pt x="985" y="228"/>
                  </a:lnTo>
                  <a:lnTo>
                    <a:pt x="985" y="228"/>
                  </a:lnTo>
                  <a:lnTo>
                    <a:pt x="982" y="229"/>
                  </a:lnTo>
                  <a:lnTo>
                    <a:pt x="977" y="231"/>
                  </a:lnTo>
                  <a:lnTo>
                    <a:pt x="974" y="231"/>
                  </a:lnTo>
                  <a:lnTo>
                    <a:pt x="969" y="229"/>
                  </a:lnTo>
                  <a:lnTo>
                    <a:pt x="969" y="229"/>
                  </a:lnTo>
                  <a:lnTo>
                    <a:pt x="963" y="226"/>
                  </a:lnTo>
                  <a:lnTo>
                    <a:pt x="963" y="226"/>
                  </a:lnTo>
                  <a:lnTo>
                    <a:pt x="944" y="215"/>
                  </a:lnTo>
                  <a:lnTo>
                    <a:pt x="928" y="200"/>
                  </a:lnTo>
                  <a:lnTo>
                    <a:pt x="928" y="200"/>
                  </a:lnTo>
                  <a:lnTo>
                    <a:pt x="913" y="188"/>
                  </a:lnTo>
                  <a:lnTo>
                    <a:pt x="913" y="188"/>
                  </a:lnTo>
                  <a:lnTo>
                    <a:pt x="892" y="170"/>
                  </a:lnTo>
                  <a:lnTo>
                    <a:pt x="872" y="154"/>
                  </a:lnTo>
                  <a:lnTo>
                    <a:pt x="851" y="140"/>
                  </a:lnTo>
                  <a:lnTo>
                    <a:pt x="828" y="125"/>
                  </a:lnTo>
                  <a:lnTo>
                    <a:pt x="828" y="125"/>
                  </a:lnTo>
                  <a:lnTo>
                    <a:pt x="808" y="116"/>
                  </a:lnTo>
                  <a:lnTo>
                    <a:pt x="787" y="104"/>
                  </a:lnTo>
                  <a:lnTo>
                    <a:pt x="787" y="104"/>
                  </a:lnTo>
                  <a:lnTo>
                    <a:pt x="772" y="100"/>
                  </a:lnTo>
                  <a:lnTo>
                    <a:pt x="760" y="96"/>
                  </a:lnTo>
                  <a:lnTo>
                    <a:pt x="760" y="96"/>
                  </a:lnTo>
                  <a:lnTo>
                    <a:pt x="720" y="87"/>
                  </a:lnTo>
                  <a:lnTo>
                    <a:pt x="720" y="87"/>
                  </a:lnTo>
                  <a:lnTo>
                    <a:pt x="709" y="85"/>
                  </a:lnTo>
                  <a:lnTo>
                    <a:pt x="709" y="85"/>
                  </a:lnTo>
                  <a:lnTo>
                    <a:pt x="697" y="82"/>
                  </a:lnTo>
                  <a:lnTo>
                    <a:pt x="697" y="82"/>
                  </a:lnTo>
                  <a:lnTo>
                    <a:pt x="677" y="79"/>
                  </a:lnTo>
                  <a:lnTo>
                    <a:pt x="657" y="79"/>
                  </a:lnTo>
                  <a:lnTo>
                    <a:pt x="657" y="79"/>
                  </a:lnTo>
                  <a:lnTo>
                    <a:pt x="638" y="79"/>
                  </a:lnTo>
                  <a:lnTo>
                    <a:pt x="617" y="80"/>
                  </a:lnTo>
                  <a:lnTo>
                    <a:pt x="617" y="80"/>
                  </a:lnTo>
                  <a:lnTo>
                    <a:pt x="569" y="88"/>
                  </a:lnTo>
                  <a:lnTo>
                    <a:pt x="569" y="88"/>
                  </a:lnTo>
                  <a:lnTo>
                    <a:pt x="539" y="96"/>
                  </a:lnTo>
                  <a:lnTo>
                    <a:pt x="539" y="96"/>
                  </a:lnTo>
                  <a:lnTo>
                    <a:pt x="517" y="103"/>
                  </a:lnTo>
                  <a:lnTo>
                    <a:pt x="496" y="111"/>
                  </a:lnTo>
                  <a:lnTo>
                    <a:pt x="496" y="111"/>
                  </a:lnTo>
                  <a:lnTo>
                    <a:pt x="466" y="125"/>
                  </a:lnTo>
                  <a:lnTo>
                    <a:pt x="437" y="141"/>
                  </a:lnTo>
                  <a:lnTo>
                    <a:pt x="437" y="141"/>
                  </a:lnTo>
                  <a:lnTo>
                    <a:pt x="419" y="152"/>
                  </a:lnTo>
                  <a:lnTo>
                    <a:pt x="402" y="165"/>
                  </a:lnTo>
                  <a:lnTo>
                    <a:pt x="386" y="178"/>
                  </a:lnTo>
                  <a:lnTo>
                    <a:pt x="370" y="192"/>
                  </a:lnTo>
                  <a:lnTo>
                    <a:pt x="370" y="192"/>
                  </a:lnTo>
                  <a:lnTo>
                    <a:pt x="347" y="213"/>
                  </a:lnTo>
                  <a:lnTo>
                    <a:pt x="322" y="234"/>
                  </a:lnTo>
                  <a:lnTo>
                    <a:pt x="322" y="234"/>
                  </a:lnTo>
                  <a:lnTo>
                    <a:pt x="301" y="252"/>
                  </a:lnTo>
                  <a:lnTo>
                    <a:pt x="301" y="252"/>
                  </a:lnTo>
                  <a:lnTo>
                    <a:pt x="291" y="258"/>
                  </a:lnTo>
                  <a:lnTo>
                    <a:pt x="280" y="264"/>
                  </a:lnTo>
                  <a:lnTo>
                    <a:pt x="269" y="269"/>
                  </a:lnTo>
                  <a:lnTo>
                    <a:pt x="256" y="274"/>
                  </a:lnTo>
                  <a:lnTo>
                    <a:pt x="256" y="274"/>
                  </a:lnTo>
                  <a:lnTo>
                    <a:pt x="237" y="279"/>
                  </a:lnTo>
                  <a:lnTo>
                    <a:pt x="218" y="284"/>
                  </a:lnTo>
                  <a:lnTo>
                    <a:pt x="218" y="284"/>
                  </a:lnTo>
                  <a:lnTo>
                    <a:pt x="210" y="285"/>
                  </a:lnTo>
                  <a:lnTo>
                    <a:pt x="200" y="285"/>
                  </a:lnTo>
                  <a:lnTo>
                    <a:pt x="200" y="285"/>
                  </a:lnTo>
                  <a:lnTo>
                    <a:pt x="176" y="285"/>
                  </a:lnTo>
                  <a:lnTo>
                    <a:pt x="176" y="285"/>
                  </a:lnTo>
                  <a:lnTo>
                    <a:pt x="176" y="287"/>
                  </a:lnTo>
                  <a:lnTo>
                    <a:pt x="176" y="287"/>
                  </a:lnTo>
                  <a:close/>
                </a:path>
              </a:pathLst>
            </a:custGeom>
            <a:grpFill/>
            <a:ln w="9525">
              <a:solidFill>
                <a:srgbClr val="4D9ED7"/>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맑은 고딕" panose="020B0503020000020004" pitchFamily="34" charset="-127"/>
                <a:ea typeface="맑은 고딕" panose="020B0503020000020004" pitchFamily="34" charset="-127"/>
                <a:cs typeface="+mn-cs"/>
              </a:endParaRPr>
            </a:p>
          </p:txBody>
        </p:sp>
        <p:sp>
          <p:nvSpPr>
            <p:cNvPr id="125" name="Freeform 8"/>
            <p:cNvSpPr>
              <a:spLocks/>
            </p:cNvSpPr>
            <p:nvPr/>
          </p:nvSpPr>
          <p:spPr bwMode="auto">
            <a:xfrm>
              <a:off x="6039300" y="2886202"/>
              <a:ext cx="321851" cy="89188"/>
            </a:xfrm>
            <a:custGeom>
              <a:avLst/>
              <a:gdLst>
                <a:gd name="T0" fmla="*/ 315 w 996"/>
                <a:gd name="T1" fmla="*/ 276 h 276"/>
                <a:gd name="T2" fmla="*/ 281 w 996"/>
                <a:gd name="T3" fmla="*/ 273 h 276"/>
                <a:gd name="T4" fmla="*/ 275 w 996"/>
                <a:gd name="T5" fmla="*/ 273 h 276"/>
                <a:gd name="T6" fmla="*/ 200 w 996"/>
                <a:gd name="T7" fmla="*/ 254 h 276"/>
                <a:gd name="T8" fmla="*/ 158 w 996"/>
                <a:gd name="T9" fmla="*/ 236 h 276"/>
                <a:gd name="T10" fmla="*/ 118 w 996"/>
                <a:gd name="T11" fmla="*/ 216 h 276"/>
                <a:gd name="T12" fmla="*/ 82 w 996"/>
                <a:gd name="T13" fmla="*/ 190 h 276"/>
                <a:gd name="T14" fmla="*/ 22 w 996"/>
                <a:gd name="T15" fmla="*/ 140 h 276"/>
                <a:gd name="T16" fmla="*/ 5 w 996"/>
                <a:gd name="T17" fmla="*/ 115 h 276"/>
                <a:gd name="T18" fmla="*/ 0 w 996"/>
                <a:gd name="T19" fmla="*/ 72 h 276"/>
                <a:gd name="T20" fmla="*/ 3 w 996"/>
                <a:gd name="T21" fmla="*/ 65 h 276"/>
                <a:gd name="T22" fmla="*/ 10 w 996"/>
                <a:gd name="T23" fmla="*/ 64 h 276"/>
                <a:gd name="T24" fmla="*/ 43 w 996"/>
                <a:gd name="T25" fmla="*/ 64 h 276"/>
                <a:gd name="T26" fmla="*/ 61 w 996"/>
                <a:gd name="T27" fmla="*/ 78 h 276"/>
                <a:gd name="T28" fmla="*/ 82 w 996"/>
                <a:gd name="T29" fmla="*/ 99 h 276"/>
                <a:gd name="T30" fmla="*/ 142 w 996"/>
                <a:gd name="T31" fmla="*/ 145 h 276"/>
                <a:gd name="T32" fmla="*/ 192 w 996"/>
                <a:gd name="T33" fmla="*/ 171 h 276"/>
                <a:gd name="T34" fmla="*/ 243 w 996"/>
                <a:gd name="T35" fmla="*/ 190 h 276"/>
                <a:gd name="T36" fmla="*/ 291 w 996"/>
                <a:gd name="T37" fmla="*/ 201 h 276"/>
                <a:gd name="T38" fmla="*/ 331 w 996"/>
                <a:gd name="T39" fmla="*/ 206 h 276"/>
                <a:gd name="T40" fmla="*/ 360 w 996"/>
                <a:gd name="T41" fmla="*/ 208 h 276"/>
                <a:gd name="T42" fmla="*/ 389 w 996"/>
                <a:gd name="T43" fmla="*/ 204 h 276"/>
                <a:gd name="T44" fmla="*/ 432 w 996"/>
                <a:gd name="T45" fmla="*/ 200 h 276"/>
                <a:gd name="T46" fmla="*/ 462 w 996"/>
                <a:gd name="T47" fmla="*/ 192 h 276"/>
                <a:gd name="T48" fmla="*/ 504 w 996"/>
                <a:gd name="T49" fmla="*/ 176 h 276"/>
                <a:gd name="T50" fmla="*/ 553 w 996"/>
                <a:gd name="T51" fmla="*/ 153 h 276"/>
                <a:gd name="T52" fmla="*/ 611 w 996"/>
                <a:gd name="T53" fmla="*/ 113 h 276"/>
                <a:gd name="T54" fmla="*/ 657 w 996"/>
                <a:gd name="T55" fmla="*/ 67 h 276"/>
                <a:gd name="T56" fmla="*/ 694 w 996"/>
                <a:gd name="T57" fmla="*/ 38 h 276"/>
                <a:gd name="T58" fmla="*/ 735 w 996"/>
                <a:gd name="T59" fmla="*/ 19 h 276"/>
                <a:gd name="T60" fmla="*/ 788 w 996"/>
                <a:gd name="T61" fmla="*/ 3 h 276"/>
                <a:gd name="T62" fmla="*/ 822 w 996"/>
                <a:gd name="T63" fmla="*/ 0 h 276"/>
                <a:gd name="T64" fmla="*/ 860 w 996"/>
                <a:gd name="T65" fmla="*/ 4 h 276"/>
                <a:gd name="T66" fmla="*/ 876 w 996"/>
                <a:gd name="T67" fmla="*/ 8 h 276"/>
                <a:gd name="T68" fmla="*/ 927 w 996"/>
                <a:gd name="T69" fmla="*/ 25 h 276"/>
                <a:gd name="T70" fmla="*/ 961 w 996"/>
                <a:gd name="T71" fmla="*/ 44 h 276"/>
                <a:gd name="T72" fmla="*/ 990 w 996"/>
                <a:gd name="T73" fmla="*/ 72 h 276"/>
                <a:gd name="T74" fmla="*/ 994 w 996"/>
                <a:gd name="T75" fmla="*/ 80 h 276"/>
                <a:gd name="T76" fmla="*/ 996 w 996"/>
                <a:gd name="T77" fmla="*/ 108 h 276"/>
                <a:gd name="T78" fmla="*/ 994 w 996"/>
                <a:gd name="T79" fmla="*/ 116 h 276"/>
                <a:gd name="T80" fmla="*/ 986 w 996"/>
                <a:gd name="T81" fmla="*/ 126 h 276"/>
                <a:gd name="T82" fmla="*/ 966 w 996"/>
                <a:gd name="T83" fmla="*/ 132 h 276"/>
                <a:gd name="T84" fmla="*/ 948 w 996"/>
                <a:gd name="T85" fmla="*/ 126 h 276"/>
                <a:gd name="T86" fmla="*/ 915 w 996"/>
                <a:gd name="T87" fmla="*/ 105 h 276"/>
                <a:gd name="T88" fmla="*/ 891 w 996"/>
                <a:gd name="T89" fmla="*/ 91 h 276"/>
                <a:gd name="T90" fmla="*/ 847 w 996"/>
                <a:gd name="T91" fmla="*/ 76 h 276"/>
                <a:gd name="T92" fmla="*/ 815 w 996"/>
                <a:gd name="T93" fmla="*/ 75 h 276"/>
                <a:gd name="T94" fmla="*/ 777 w 996"/>
                <a:gd name="T95" fmla="*/ 84 h 276"/>
                <a:gd name="T96" fmla="*/ 748 w 996"/>
                <a:gd name="T97" fmla="*/ 97 h 276"/>
                <a:gd name="T98" fmla="*/ 721 w 996"/>
                <a:gd name="T99" fmla="*/ 120 h 276"/>
                <a:gd name="T100" fmla="*/ 678 w 996"/>
                <a:gd name="T101" fmla="*/ 160 h 276"/>
                <a:gd name="T102" fmla="*/ 619 w 996"/>
                <a:gd name="T103" fmla="*/ 206 h 276"/>
                <a:gd name="T104" fmla="*/ 572 w 996"/>
                <a:gd name="T105" fmla="*/ 233 h 276"/>
                <a:gd name="T106" fmla="*/ 520 w 996"/>
                <a:gd name="T107" fmla="*/ 256 h 276"/>
                <a:gd name="T108" fmla="*/ 481 w 996"/>
                <a:gd name="T109" fmla="*/ 268 h 276"/>
                <a:gd name="T110" fmla="*/ 432 w 996"/>
                <a:gd name="T111" fmla="*/ 276 h 276"/>
                <a:gd name="T112" fmla="*/ 393 w 996"/>
                <a:gd name="T113" fmla="*/ 276 h 276"/>
                <a:gd name="T114" fmla="*/ 365 w 996"/>
                <a:gd name="T115"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96" h="276">
                  <a:moveTo>
                    <a:pt x="365" y="276"/>
                  </a:moveTo>
                  <a:lnTo>
                    <a:pt x="365" y="276"/>
                  </a:lnTo>
                  <a:lnTo>
                    <a:pt x="315" y="276"/>
                  </a:lnTo>
                  <a:lnTo>
                    <a:pt x="315" y="276"/>
                  </a:lnTo>
                  <a:lnTo>
                    <a:pt x="299" y="276"/>
                  </a:lnTo>
                  <a:lnTo>
                    <a:pt x="281" y="273"/>
                  </a:lnTo>
                  <a:lnTo>
                    <a:pt x="281" y="273"/>
                  </a:lnTo>
                  <a:lnTo>
                    <a:pt x="275" y="273"/>
                  </a:lnTo>
                  <a:lnTo>
                    <a:pt x="275" y="273"/>
                  </a:lnTo>
                  <a:lnTo>
                    <a:pt x="256" y="270"/>
                  </a:lnTo>
                  <a:lnTo>
                    <a:pt x="237" y="267"/>
                  </a:lnTo>
                  <a:lnTo>
                    <a:pt x="200" y="254"/>
                  </a:lnTo>
                  <a:lnTo>
                    <a:pt x="200" y="254"/>
                  </a:lnTo>
                  <a:lnTo>
                    <a:pt x="179" y="246"/>
                  </a:lnTo>
                  <a:lnTo>
                    <a:pt x="158" y="236"/>
                  </a:lnTo>
                  <a:lnTo>
                    <a:pt x="137" y="227"/>
                  </a:lnTo>
                  <a:lnTo>
                    <a:pt x="118" y="216"/>
                  </a:lnTo>
                  <a:lnTo>
                    <a:pt x="118" y="216"/>
                  </a:lnTo>
                  <a:lnTo>
                    <a:pt x="99" y="203"/>
                  </a:lnTo>
                  <a:lnTo>
                    <a:pt x="82" y="190"/>
                  </a:lnTo>
                  <a:lnTo>
                    <a:pt x="82" y="190"/>
                  </a:lnTo>
                  <a:lnTo>
                    <a:pt x="35" y="153"/>
                  </a:lnTo>
                  <a:lnTo>
                    <a:pt x="35" y="153"/>
                  </a:lnTo>
                  <a:lnTo>
                    <a:pt x="22" y="140"/>
                  </a:lnTo>
                  <a:lnTo>
                    <a:pt x="11" y="128"/>
                  </a:lnTo>
                  <a:lnTo>
                    <a:pt x="11" y="128"/>
                  </a:lnTo>
                  <a:lnTo>
                    <a:pt x="5" y="115"/>
                  </a:lnTo>
                  <a:lnTo>
                    <a:pt x="0" y="100"/>
                  </a:lnTo>
                  <a:lnTo>
                    <a:pt x="0" y="86"/>
                  </a:lnTo>
                  <a:lnTo>
                    <a:pt x="0" y="72"/>
                  </a:lnTo>
                  <a:lnTo>
                    <a:pt x="0" y="72"/>
                  </a:lnTo>
                  <a:lnTo>
                    <a:pt x="2" y="68"/>
                  </a:lnTo>
                  <a:lnTo>
                    <a:pt x="3" y="65"/>
                  </a:lnTo>
                  <a:lnTo>
                    <a:pt x="6" y="64"/>
                  </a:lnTo>
                  <a:lnTo>
                    <a:pt x="10" y="64"/>
                  </a:lnTo>
                  <a:lnTo>
                    <a:pt x="10" y="64"/>
                  </a:lnTo>
                  <a:lnTo>
                    <a:pt x="26" y="62"/>
                  </a:lnTo>
                  <a:lnTo>
                    <a:pt x="43" y="64"/>
                  </a:lnTo>
                  <a:lnTo>
                    <a:pt x="43" y="64"/>
                  </a:lnTo>
                  <a:lnTo>
                    <a:pt x="50" y="67"/>
                  </a:lnTo>
                  <a:lnTo>
                    <a:pt x="50" y="67"/>
                  </a:lnTo>
                  <a:lnTo>
                    <a:pt x="61" y="78"/>
                  </a:lnTo>
                  <a:lnTo>
                    <a:pt x="61" y="78"/>
                  </a:lnTo>
                  <a:lnTo>
                    <a:pt x="82" y="99"/>
                  </a:lnTo>
                  <a:lnTo>
                    <a:pt x="82" y="99"/>
                  </a:lnTo>
                  <a:lnTo>
                    <a:pt x="101" y="115"/>
                  </a:lnTo>
                  <a:lnTo>
                    <a:pt x="122" y="131"/>
                  </a:lnTo>
                  <a:lnTo>
                    <a:pt x="142" y="145"/>
                  </a:lnTo>
                  <a:lnTo>
                    <a:pt x="165" y="158"/>
                  </a:lnTo>
                  <a:lnTo>
                    <a:pt x="165" y="158"/>
                  </a:lnTo>
                  <a:lnTo>
                    <a:pt x="192" y="171"/>
                  </a:lnTo>
                  <a:lnTo>
                    <a:pt x="219" y="182"/>
                  </a:lnTo>
                  <a:lnTo>
                    <a:pt x="219" y="182"/>
                  </a:lnTo>
                  <a:lnTo>
                    <a:pt x="243" y="190"/>
                  </a:lnTo>
                  <a:lnTo>
                    <a:pt x="269" y="196"/>
                  </a:lnTo>
                  <a:lnTo>
                    <a:pt x="269" y="196"/>
                  </a:lnTo>
                  <a:lnTo>
                    <a:pt x="291" y="201"/>
                  </a:lnTo>
                  <a:lnTo>
                    <a:pt x="312" y="203"/>
                  </a:lnTo>
                  <a:lnTo>
                    <a:pt x="312" y="203"/>
                  </a:lnTo>
                  <a:lnTo>
                    <a:pt x="331" y="206"/>
                  </a:lnTo>
                  <a:lnTo>
                    <a:pt x="331" y="206"/>
                  </a:lnTo>
                  <a:lnTo>
                    <a:pt x="345" y="208"/>
                  </a:lnTo>
                  <a:lnTo>
                    <a:pt x="360" y="208"/>
                  </a:lnTo>
                  <a:lnTo>
                    <a:pt x="374" y="206"/>
                  </a:lnTo>
                  <a:lnTo>
                    <a:pt x="389" y="204"/>
                  </a:lnTo>
                  <a:lnTo>
                    <a:pt x="389" y="204"/>
                  </a:lnTo>
                  <a:lnTo>
                    <a:pt x="414" y="201"/>
                  </a:lnTo>
                  <a:lnTo>
                    <a:pt x="414" y="201"/>
                  </a:lnTo>
                  <a:lnTo>
                    <a:pt x="432" y="200"/>
                  </a:lnTo>
                  <a:lnTo>
                    <a:pt x="432" y="200"/>
                  </a:lnTo>
                  <a:lnTo>
                    <a:pt x="462" y="192"/>
                  </a:lnTo>
                  <a:lnTo>
                    <a:pt x="462" y="192"/>
                  </a:lnTo>
                  <a:lnTo>
                    <a:pt x="483" y="184"/>
                  </a:lnTo>
                  <a:lnTo>
                    <a:pt x="504" y="176"/>
                  </a:lnTo>
                  <a:lnTo>
                    <a:pt x="504" y="176"/>
                  </a:lnTo>
                  <a:lnTo>
                    <a:pt x="529" y="166"/>
                  </a:lnTo>
                  <a:lnTo>
                    <a:pt x="553" y="153"/>
                  </a:lnTo>
                  <a:lnTo>
                    <a:pt x="553" y="153"/>
                  </a:lnTo>
                  <a:lnTo>
                    <a:pt x="574" y="142"/>
                  </a:lnTo>
                  <a:lnTo>
                    <a:pt x="593" y="128"/>
                  </a:lnTo>
                  <a:lnTo>
                    <a:pt x="611" y="113"/>
                  </a:lnTo>
                  <a:lnTo>
                    <a:pt x="628" y="97"/>
                  </a:lnTo>
                  <a:lnTo>
                    <a:pt x="628" y="97"/>
                  </a:lnTo>
                  <a:lnTo>
                    <a:pt x="657" y="67"/>
                  </a:lnTo>
                  <a:lnTo>
                    <a:pt x="657" y="67"/>
                  </a:lnTo>
                  <a:lnTo>
                    <a:pt x="675" y="52"/>
                  </a:lnTo>
                  <a:lnTo>
                    <a:pt x="694" y="38"/>
                  </a:lnTo>
                  <a:lnTo>
                    <a:pt x="715" y="27"/>
                  </a:lnTo>
                  <a:lnTo>
                    <a:pt x="735" y="19"/>
                  </a:lnTo>
                  <a:lnTo>
                    <a:pt x="735" y="19"/>
                  </a:lnTo>
                  <a:lnTo>
                    <a:pt x="761" y="9"/>
                  </a:lnTo>
                  <a:lnTo>
                    <a:pt x="788" y="3"/>
                  </a:lnTo>
                  <a:lnTo>
                    <a:pt x="788" y="3"/>
                  </a:lnTo>
                  <a:lnTo>
                    <a:pt x="801" y="1"/>
                  </a:lnTo>
                  <a:lnTo>
                    <a:pt x="801" y="1"/>
                  </a:lnTo>
                  <a:lnTo>
                    <a:pt x="822" y="0"/>
                  </a:lnTo>
                  <a:lnTo>
                    <a:pt x="844" y="1"/>
                  </a:lnTo>
                  <a:lnTo>
                    <a:pt x="844" y="1"/>
                  </a:lnTo>
                  <a:lnTo>
                    <a:pt x="860" y="4"/>
                  </a:lnTo>
                  <a:lnTo>
                    <a:pt x="860" y="4"/>
                  </a:lnTo>
                  <a:lnTo>
                    <a:pt x="876" y="8"/>
                  </a:lnTo>
                  <a:lnTo>
                    <a:pt x="876" y="8"/>
                  </a:lnTo>
                  <a:lnTo>
                    <a:pt x="902" y="16"/>
                  </a:lnTo>
                  <a:lnTo>
                    <a:pt x="902" y="16"/>
                  </a:lnTo>
                  <a:lnTo>
                    <a:pt x="927" y="25"/>
                  </a:lnTo>
                  <a:lnTo>
                    <a:pt x="950" y="38"/>
                  </a:lnTo>
                  <a:lnTo>
                    <a:pt x="950" y="38"/>
                  </a:lnTo>
                  <a:lnTo>
                    <a:pt x="961" y="44"/>
                  </a:lnTo>
                  <a:lnTo>
                    <a:pt x="970" y="52"/>
                  </a:lnTo>
                  <a:lnTo>
                    <a:pt x="990" y="72"/>
                  </a:lnTo>
                  <a:lnTo>
                    <a:pt x="990" y="72"/>
                  </a:lnTo>
                  <a:lnTo>
                    <a:pt x="993" y="75"/>
                  </a:lnTo>
                  <a:lnTo>
                    <a:pt x="994" y="80"/>
                  </a:lnTo>
                  <a:lnTo>
                    <a:pt x="994" y="80"/>
                  </a:lnTo>
                  <a:lnTo>
                    <a:pt x="996" y="94"/>
                  </a:lnTo>
                  <a:lnTo>
                    <a:pt x="996" y="100"/>
                  </a:lnTo>
                  <a:lnTo>
                    <a:pt x="996" y="108"/>
                  </a:lnTo>
                  <a:lnTo>
                    <a:pt x="996" y="108"/>
                  </a:lnTo>
                  <a:lnTo>
                    <a:pt x="994" y="116"/>
                  </a:lnTo>
                  <a:lnTo>
                    <a:pt x="994" y="116"/>
                  </a:lnTo>
                  <a:lnTo>
                    <a:pt x="991" y="123"/>
                  </a:lnTo>
                  <a:lnTo>
                    <a:pt x="986" y="126"/>
                  </a:lnTo>
                  <a:lnTo>
                    <a:pt x="986" y="126"/>
                  </a:lnTo>
                  <a:lnTo>
                    <a:pt x="980" y="131"/>
                  </a:lnTo>
                  <a:lnTo>
                    <a:pt x="974" y="132"/>
                  </a:lnTo>
                  <a:lnTo>
                    <a:pt x="966" y="132"/>
                  </a:lnTo>
                  <a:lnTo>
                    <a:pt x="958" y="131"/>
                  </a:lnTo>
                  <a:lnTo>
                    <a:pt x="958" y="131"/>
                  </a:lnTo>
                  <a:lnTo>
                    <a:pt x="948" y="126"/>
                  </a:lnTo>
                  <a:lnTo>
                    <a:pt x="937" y="121"/>
                  </a:lnTo>
                  <a:lnTo>
                    <a:pt x="937" y="121"/>
                  </a:lnTo>
                  <a:lnTo>
                    <a:pt x="915" y="105"/>
                  </a:lnTo>
                  <a:lnTo>
                    <a:pt x="915" y="105"/>
                  </a:lnTo>
                  <a:lnTo>
                    <a:pt x="903" y="97"/>
                  </a:lnTo>
                  <a:lnTo>
                    <a:pt x="891" y="91"/>
                  </a:lnTo>
                  <a:lnTo>
                    <a:pt x="865" y="81"/>
                  </a:lnTo>
                  <a:lnTo>
                    <a:pt x="865" y="81"/>
                  </a:lnTo>
                  <a:lnTo>
                    <a:pt x="847" y="76"/>
                  </a:lnTo>
                  <a:lnTo>
                    <a:pt x="828" y="75"/>
                  </a:lnTo>
                  <a:lnTo>
                    <a:pt x="828" y="75"/>
                  </a:lnTo>
                  <a:lnTo>
                    <a:pt x="815" y="75"/>
                  </a:lnTo>
                  <a:lnTo>
                    <a:pt x="801" y="78"/>
                  </a:lnTo>
                  <a:lnTo>
                    <a:pt x="801" y="78"/>
                  </a:lnTo>
                  <a:lnTo>
                    <a:pt x="777" y="84"/>
                  </a:lnTo>
                  <a:lnTo>
                    <a:pt x="755" y="94"/>
                  </a:lnTo>
                  <a:lnTo>
                    <a:pt x="755" y="94"/>
                  </a:lnTo>
                  <a:lnTo>
                    <a:pt x="748" y="97"/>
                  </a:lnTo>
                  <a:lnTo>
                    <a:pt x="742" y="100"/>
                  </a:lnTo>
                  <a:lnTo>
                    <a:pt x="742" y="100"/>
                  </a:lnTo>
                  <a:lnTo>
                    <a:pt x="721" y="120"/>
                  </a:lnTo>
                  <a:lnTo>
                    <a:pt x="721" y="120"/>
                  </a:lnTo>
                  <a:lnTo>
                    <a:pt x="699" y="140"/>
                  </a:lnTo>
                  <a:lnTo>
                    <a:pt x="678" y="160"/>
                  </a:lnTo>
                  <a:lnTo>
                    <a:pt x="633" y="196"/>
                  </a:lnTo>
                  <a:lnTo>
                    <a:pt x="633" y="196"/>
                  </a:lnTo>
                  <a:lnTo>
                    <a:pt x="619" y="206"/>
                  </a:lnTo>
                  <a:lnTo>
                    <a:pt x="603" y="216"/>
                  </a:lnTo>
                  <a:lnTo>
                    <a:pt x="588" y="225"/>
                  </a:lnTo>
                  <a:lnTo>
                    <a:pt x="572" y="233"/>
                  </a:lnTo>
                  <a:lnTo>
                    <a:pt x="572" y="233"/>
                  </a:lnTo>
                  <a:lnTo>
                    <a:pt x="545" y="244"/>
                  </a:lnTo>
                  <a:lnTo>
                    <a:pt x="520" y="256"/>
                  </a:lnTo>
                  <a:lnTo>
                    <a:pt x="520" y="256"/>
                  </a:lnTo>
                  <a:lnTo>
                    <a:pt x="494" y="265"/>
                  </a:lnTo>
                  <a:lnTo>
                    <a:pt x="481" y="268"/>
                  </a:lnTo>
                  <a:lnTo>
                    <a:pt x="468" y="272"/>
                  </a:lnTo>
                  <a:lnTo>
                    <a:pt x="468" y="272"/>
                  </a:lnTo>
                  <a:lnTo>
                    <a:pt x="432" y="276"/>
                  </a:lnTo>
                  <a:lnTo>
                    <a:pt x="412" y="276"/>
                  </a:lnTo>
                  <a:lnTo>
                    <a:pt x="393" y="276"/>
                  </a:lnTo>
                  <a:lnTo>
                    <a:pt x="393" y="276"/>
                  </a:lnTo>
                  <a:lnTo>
                    <a:pt x="365" y="276"/>
                  </a:lnTo>
                  <a:lnTo>
                    <a:pt x="365" y="276"/>
                  </a:lnTo>
                  <a:lnTo>
                    <a:pt x="365" y="276"/>
                  </a:lnTo>
                  <a:lnTo>
                    <a:pt x="365" y="276"/>
                  </a:lnTo>
                  <a:close/>
                </a:path>
              </a:pathLst>
            </a:custGeom>
            <a:grpFill/>
            <a:ln w="9525">
              <a:solidFill>
                <a:srgbClr val="4D9ED7"/>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맑은 고딕" panose="020B0503020000020004" pitchFamily="34" charset="-127"/>
                <a:ea typeface="맑은 고딕" panose="020B0503020000020004" pitchFamily="34" charset="-127"/>
                <a:cs typeface="+mn-cs"/>
              </a:endParaRPr>
            </a:p>
          </p:txBody>
        </p:sp>
      </p:grpSp>
      <p:pic>
        <p:nvPicPr>
          <p:cNvPr id="136" name="Picture 17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70312" y="3592279"/>
            <a:ext cx="713294" cy="762066"/>
          </a:xfrm>
          <a:prstGeom prst="rect">
            <a:avLst/>
          </a:prstGeom>
        </p:spPr>
      </p:pic>
      <p:sp>
        <p:nvSpPr>
          <p:cNvPr id="137" name="Rectangle 177"/>
          <p:cNvSpPr/>
          <p:nvPr/>
        </p:nvSpPr>
        <p:spPr>
          <a:xfrm>
            <a:off x="4777344" y="4361247"/>
            <a:ext cx="699230" cy="244682"/>
          </a:xfrm>
          <a:prstGeom prst="rect">
            <a:avLst/>
          </a:prstGeom>
        </p:spPr>
        <p:txBody>
          <a:bodyPr wrap="none">
            <a:spAutoFit/>
          </a:bodyPr>
          <a:lstStyle/>
          <a:p>
            <a:pPr marL="0" marR="0" lvl="0" indent="0" algn="l" defTabSz="913748" rtl="0" eaLnBrk="1" fontAlgn="base" latinLnBrk="1"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맑은 고딕" panose="020B0503020000020004" pitchFamily="34" charset="-127"/>
                <a:ea typeface="맑은 고딕" panose="020B0503020000020004" pitchFamily="34" charset="-127"/>
                <a:cs typeface="Segoe UI" pitchFamily="34" charset="0"/>
              </a:rPr>
              <a:t>IoT Hub</a:t>
            </a:r>
          </a:p>
        </p:txBody>
      </p:sp>
      <p:sp>
        <p:nvSpPr>
          <p:cNvPr id="150" name="제목 149"/>
          <p:cNvSpPr>
            <a:spLocks noGrp="1"/>
          </p:cNvSpPr>
          <p:nvPr>
            <p:ph type="title" idx="4294967295"/>
          </p:nvPr>
        </p:nvSpPr>
        <p:spPr>
          <a:xfrm>
            <a:off x="372304" y="530868"/>
            <a:ext cx="9537700" cy="381000"/>
          </a:xfrm>
        </p:spPr>
        <p:txBody>
          <a:bodyPr>
            <a:normAutofit fontScale="90000"/>
          </a:bodyPr>
          <a:lstStyle/>
          <a:p>
            <a:r>
              <a:rPr lang="en-US" altLang="ko-KR" dirty="0"/>
              <a:t>IoT </a:t>
            </a:r>
            <a:r>
              <a:rPr lang="ko-KR" altLang="en-US" dirty="0"/>
              <a:t>아키텍처</a:t>
            </a:r>
          </a:p>
        </p:txBody>
      </p:sp>
      <p:sp>
        <p:nvSpPr>
          <p:cNvPr id="217" name="TextBox 216"/>
          <p:cNvSpPr txBox="1"/>
          <p:nvPr/>
        </p:nvSpPr>
        <p:spPr>
          <a:xfrm>
            <a:off x="133350" y="4944418"/>
            <a:ext cx="1789556" cy="439012"/>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078" b="0" i="0" u="none" strike="noStrike" kern="1200" cap="none" spc="0" normalizeH="0" baseline="0" noProof="0" err="1">
                <a:ln>
                  <a:noFill/>
                </a:ln>
                <a:solidFill>
                  <a:srgbClr val="ED7D31"/>
                </a:solidFill>
                <a:effectLst/>
                <a:uLnTx/>
                <a:uFillTx/>
                <a:latin typeface="맑은 고딕" panose="020B0503020000020004" pitchFamily="34" charset="-127"/>
                <a:ea typeface="맑은 고딕" panose="020B0503020000020004" pitchFamily="34" charset="-127"/>
                <a:cs typeface="+mn-cs"/>
              </a:rPr>
              <a:t>CoAP</a:t>
            </a:r>
            <a:r>
              <a:rPr kumimoji="0" lang="en-US" sz="1078" b="0" i="0" u="none" strike="noStrike" kern="1200" cap="none" spc="0" normalizeH="0" baseline="0" noProof="0">
                <a:ln>
                  <a:noFill/>
                </a:ln>
                <a:solidFill>
                  <a:srgbClr val="ED7D31"/>
                </a:solidFill>
                <a:effectLst/>
                <a:uLnTx/>
                <a:uFillTx/>
                <a:latin typeface="맑은 고딕" panose="020B0503020000020004" pitchFamily="34" charset="-127"/>
                <a:ea typeface="맑은 고딕" panose="020B0503020000020004" pitchFamily="34" charset="-127"/>
                <a:cs typeface="+mn-cs"/>
              </a:rPr>
              <a:t>, AllJoyn, OPC</a:t>
            </a:r>
          </a:p>
        </p:txBody>
      </p:sp>
      <p:sp>
        <p:nvSpPr>
          <p:cNvPr id="214" name="TextBox 213"/>
          <p:cNvSpPr txBox="1"/>
          <p:nvPr/>
        </p:nvSpPr>
        <p:spPr>
          <a:xfrm>
            <a:off x="1282505" y="2388916"/>
            <a:ext cx="1978422" cy="665145"/>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078" b="0" i="0" u="none" strike="noStrike" kern="1200" cap="none" spc="0" normalizeH="0" baseline="0" noProof="0">
                <a:ln>
                  <a:noFill/>
                </a:ln>
                <a:solidFill>
                  <a:srgbClr val="ED7D31"/>
                </a:solidFill>
                <a:effectLst/>
                <a:uLnTx/>
                <a:uFillTx/>
                <a:latin typeface="맑은 고딕" panose="020B0503020000020004" pitchFamily="34" charset="-127"/>
                <a:ea typeface="맑은 고딕" panose="020B0503020000020004" pitchFamily="34" charset="-127"/>
                <a:cs typeface="+mn-cs"/>
              </a:rPr>
              <a:t>MQTT, </a:t>
            </a:r>
            <a:r>
              <a:rPr kumimoji="0" lang="ko-KR" altLang="en-US" sz="1078" b="0" i="0" u="none" strike="noStrike" kern="1200" cap="none" spc="0" normalizeH="0" baseline="0" noProof="0">
                <a:ln>
                  <a:noFill/>
                </a:ln>
                <a:solidFill>
                  <a:srgbClr val="ED7D31"/>
                </a:solidFill>
                <a:effectLst/>
                <a:uLnTx/>
                <a:uFillTx/>
                <a:latin typeface="맑은 고딕" panose="020B0503020000020004" pitchFamily="34" charset="-127"/>
                <a:ea typeface="맑은 고딕" panose="020B0503020000020004" pitchFamily="34" charset="-127"/>
                <a:cs typeface="+mn-cs"/>
              </a:rPr>
              <a:t>웹 소켓 또는</a:t>
            </a:r>
            <a:endParaRPr kumimoji="0" lang="en-US" altLang="ko-KR" sz="1078" b="0" i="0" u="none" strike="noStrike" kern="1200" cap="none" spc="0" normalizeH="0" baseline="0" noProof="0">
              <a:ln>
                <a:noFill/>
              </a:ln>
              <a:solidFill>
                <a:srgbClr val="ED7D31"/>
              </a:solidFill>
              <a:effectLst/>
              <a:uLnTx/>
              <a:uFillTx/>
              <a:latin typeface="맑은 고딕" panose="020B0503020000020004" pitchFamily="34" charset="-127"/>
              <a:ea typeface="맑은 고딕" panose="020B0503020000020004" pitchFamily="34" charset="-127"/>
              <a:cs typeface="+mn-cs"/>
            </a:endParaRPr>
          </a:p>
          <a:p>
            <a:pPr marL="0" marR="0" lvl="0" indent="0" algn="ctr" defTabSz="914367" rtl="0" eaLnBrk="1" fontAlgn="auto" latinLnBrk="0" hangingPunct="1">
              <a:lnSpc>
                <a:spcPct val="90000"/>
              </a:lnSpc>
              <a:spcBef>
                <a:spcPts val="0"/>
              </a:spcBef>
              <a:spcAft>
                <a:spcPts val="588"/>
              </a:spcAft>
              <a:buClrTx/>
              <a:buSzTx/>
              <a:buFontTx/>
              <a:buNone/>
              <a:tabLst/>
              <a:defRPr/>
            </a:pPr>
            <a:r>
              <a:rPr kumimoji="0" lang="ko-KR" altLang="en-US" sz="1078" b="0" i="0" u="none" strike="noStrike" kern="1200" cap="none" spc="0" normalizeH="0" baseline="0" noProof="0">
                <a:ln>
                  <a:noFill/>
                </a:ln>
                <a:solidFill>
                  <a:srgbClr val="ED7D31"/>
                </a:solidFill>
                <a:effectLst/>
                <a:uLnTx/>
                <a:uFillTx/>
                <a:latin typeface="맑은 고딕" panose="020B0503020000020004" pitchFamily="34" charset="-127"/>
                <a:ea typeface="맑은 고딕" panose="020B0503020000020004" pitchFamily="34" charset="-127"/>
                <a:cs typeface="+mn-cs"/>
              </a:rPr>
              <a:t>사용자 프로토콜</a:t>
            </a:r>
            <a:endParaRPr kumimoji="0" lang="en-US" sz="1078" b="0" i="0" u="none" strike="noStrike" kern="1200" cap="none" spc="0" normalizeH="0" baseline="0" noProof="0">
              <a:ln>
                <a:noFill/>
              </a:ln>
              <a:solidFill>
                <a:srgbClr val="ED7D31"/>
              </a:solidFill>
              <a:effectLst/>
              <a:uLnTx/>
              <a:uFillTx/>
              <a:latin typeface="맑은 고딕" panose="020B0503020000020004" pitchFamily="34" charset="-127"/>
              <a:ea typeface="맑은 고딕" panose="020B0503020000020004" pitchFamily="34" charset="-127"/>
              <a:cs typeface="+mn-cs"/>
            </a:endParaRPr>
          </a:p>
        </p:txBody>
      </p:sp>
      <p:sp>
        <p:nvSpPr>
          <p:cNvPr id="216" name="TextBox 215"/>
          <p:cNvSpPr txBox="1"/>
          <p:nvPr/>
        </p:nvSpPr>
        <p:spPr>
          <a:xfrm>
            <a:off x="2730252" y="4197140"/>
            <a:ext cx="1700303" cy="588201"/>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078" b="0" i="0" u="none" strike="noStrike" kern="1200" cap="none" spc="0" normalizeH="0" baseline="0" noProof="0" dirty="0">
                <a:ln>
                  <a:noFill/>
                </a:ln>
                <a:solidFill>
                  <a:srgbClr val="ED7D31"/>
                </a:solidFill>
                <a:effectLst/>
                <a:uLnTx/>
                <a:uFillTx/>
                <a:latin typeface="맑은 고딕" panose="020B0503020000020004" pitchFamily="34" charset="-127"/>
                <a:ea typeface="맑은 고딕" panose="020B0503020000020004" pitchFamily="34" charset="-127"/>
                <a:cs typeface="+mn-cs"/>
              </a:rPr>
              <a:t>AMQP</a:t>
            </a:r>
            <a:br>
              <a:rPr kumimoji="0" lang="en-US" sz="1078" b="0" i="0" u="none" strike="noStrike" kern="1200" cap="none" spc="0" normalizeH="0" baseline="0" noProof="0" dirty="0">
                <a:ln>
                  <a:noFill/>
                </a:ln>
                <a:solidFill>
                  <a:srgbClr val="ED7D31"/>
                </a:solidFill>
                <a:effectLst/>
                <a:uLnTx/>
                <a:uFillTx/>
                <a:latin typeface="맑은 고딕" panose="020B0503020000020004" pitchFamily="34" charset="-127"/>
                <a:ea typeface="맑은 고딕" panose="020B0503020000020004" pitchFamily="34" charset="-127"/>
                <a:cs typeface="+mn-cs"/>
              </a:rPr>
            </a:br>
            <a:r>
              <a:rPr kumimoji="0" lang="en-US" sz="1078" b="0" i="0" u="none" strike="noStrike" kern="1200" cap="none" spc="0" normalizeH="0" baseline="0" noProof="0" dirty="0">
                <a:ln>
                  <a:noFill/>
                </a:ln>
                <a:solidFill>
                  <a:srgbClr val="ED7D31"/>
                </a:solidFill>
                <a:effectLst/>
                <a:uLnTx/>
                <a:uFillTx/>
                <a:latin typeface="맑은 고딕" panose="020B0503020000020004" pitchFamily="34" charset="-127"/>
                <a:ea typeface="맑은 고딕" panose="020B0503020000020004" pitchFamily="34" charset="-127"/>
                <a:cs typeface="+mn-cs"/>
              </a:rPr>
              <a:t>HTTPS, MQTT,</a:t>
            </a:r>
            <a:r>
              <a:rPr kumimoji="0" lang="en-US" sz="1078" b="0" i="0" u="none" strike="noStrike" kern="0" cap="none" spc="0" normalizeH="0" baseline="0" noProof="0" dirty="0">
                <a:ln>
                  <a:noFill/>
                </a:ln>
                <a:solidFill>
                  <a:srgbClr val="ED7D31"/>
                </a:solidFill>
                <a:effectLst/>
                <a:uLnTx/>
                <a:uFillTx/>
                <a:latin typeface="맑은 고딕" panose="020B0503020000020004" pitchFamily="34" charset="-127"/>
                <a:ea typeface="맑은 고딕" panose="020B0503020000020004" pitchFamily="34" charset="-127"/>
              </a:rPr>
              <a:t> OPC</a:t>
            </a:r>
            <a:endParaRPr kumimoji="0" lang="en-US" sz="1078" b="0" i="0" u="none" strike="noStrike" kern="1200" cap="none" spc="0" normalizeH="0" baseline="0" noProof="0" dirty="0">
              <a:ln>
                <a:noFill/>
              </a:ln>
              <a:solidFill>
                <a:srgbClr val="ED7D31"/>
              </a:solidFill>
              <a:effectLst/>
              <a:uLnTx/>
              <a:uFillTx/>
              <a:latin typeface="맑은 고딕" panose="020B0503020000020004" pitchFamily="34" charset="-127"/>
              <a:ea typeface="맑은 고딕" panose="020B0503020000020004" pitchFamily="34" charset="-127"/>
              <a:cs typeface="+mn-cs"/>
            </a:endParaRPr>
          </a:p>
        </p:txBody>
      </p:sp>
      <p:sp>
        <p:nvSpPr>
          <p:cNvPr id="186" name="TextBox 185"/>
          <p:cNvSpPr txBox="1"/>
          <p:nvPr/>
        </p:nvSpPr>
        <p:spPr>
          <a:xfrm>
            <a:off x="133350" y="3959081"/>
            <a:ext cx="1789556" cy="439012"/>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029" b="0" i="0" u="none" strike="noStrike" kern="1200" cap="none" spc="0" normalizeH="0" baseline="0" noProof="0" err="1">
                <a:ln>
                  <a:noFill/>
                </a:ln>
                <a:solidFill>
                  <a:srgbClr val="ED7D31"/>
                </a:solidFill>
                <a:effectLst/>
                <a:uLnTx/>
                <a:uFillTx/>
                <a:latin typeface="맑은 고딕" panose="020B0503020000020004" pitchFamily="34" charset="-127"/>
                <a:ea typeface="맑은 고딕" panose="020B0503020000020004" pitchFamily="34" charset="-127"/>
                <a:cs typeface="+mn-cs"/>
              </a:rPr>
              <a:t>CoAP</a:t>
            </a:r>
            <a:r>
              <a:rPr kumimoji="0" lang="en-US" sz="1029" b="0" i="0" u="none" strike="noStrike" kern="1200" cap="none" spc="0" normalizeH="0" baseline="0" noProof="0">
                <a:ln>
                  <a:noFill/>
                </a:ln>
                <a:solidFill>
                  <a:srgbClr val="ED7D31"/>
                </a:solidFill>
                <a:effectLst/>
                <a:uLnTx/>
                <a:uFillTx/>
                <a:latin typeface="맑은 고딕" panose="020B0503020000020004" pitchFamily="34" charset="-127"/>
                <a:ea typeface="맑은 고딕" panose="020B0503020000020004" pitchFamily="34" charset="-127"/>
                <a:cs typeface="+mn-cs"/>
              </a:rPr>
              <a:t>, AllJoyn, OPC</a:t>
            </a:r>
          </a:p>
        </p:txBody>
      </p:sp>
      <p:sp>
        <p:nvSpPr>
          <p:cNvPr id="187" name="Rectangle 11"/>
          <p:cNvSpPr/>
          <p:nvPr/>
        </p:nvSpPr>
        <p:spPr bwMode="auto">
          <a:xfrm>
            <a:off x="2147011" y="4688688"/>
            <a:ext cx="1819647" cy="1216145"/>
          </a:xfrm>
          <a:prstGeom prst="rect">
            <a:avLst/>
          </a:prstGeom>
          <a:noFill/>
          <a:ln w="19050">
            <a:solidFill>
              <a:srgbClr val="92D050"/>
            </a:solidFill>
            <a:prstDash val="lg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맑은 고딕" panose="020B0503020000020004" pitchFamily="34" charset="-127"/>
              <a:ea typeface="맑은 고딕" panose="020B0503020000020004" pitchFamily="34" charset="-127"/>
              <a:cs typeface="+mn-cs"/>
            </a:endParaRPr>
          </a:p>
        </p:txBody>
      </p:sp>
      <p:cxnSp>
        <p:nvCxnSpPr>
          <p:cNvPr id="188" name="Straight Arrow Connector 12"/>
          <p:cNvCxnSpPr/>
          <p:nvPr/>
        </p:nvCxnSpPr>
        <p:spPr>
          <a:xfrm>
            <a:off x="2733707" y="5195163"/>
            <a:ext cx="462593"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1" name="Rectangle 15"/>
          <p:cNvSpPr/>
          <p:nvPr/>
        </p:nvSpPr>
        <p:spPr bwMode="auto">
          <a:xfrm>
            <a:off x="694291" y="2719605"/>
            <a:ext cx="839124" cy="356391"/>
          </a:xfrm>
          <a:prstGeom prst="rect">
            <a:avLst/>
          </a:prstGeom>
          <a:no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176" b="1" i="0" u="none" strike="noStrike" kern="1200" cap="none" spc="0" normalizeH="0" baseline="0" noProof="0">
                <a:ln>
                  <a:noFill/>
                </a:ln>
                <a:solidFill>
                  <a:prstClr val="black">
                    <a:lumMod val="65000"/>
                    <a:lumOff val="35000"/>
                  </a:prstClr>
                </a:solidFill>
                <a:effectLst/>
                <a:uLnTx/>
                <a:uFillTx/>
                <a:latin typeface="맑은 고딕" panose="020B0503020000020004" pitchFamily="34" charset="-127"/>
                <a:ea typeface="맑은 고딕" panose="020B0503020000020004" pitchFamily="34" charset="-127"/>
                <a:cs typeface="+mn-cs"/>
              </a:rPr>
              <a:t>Device</a:t>
            </a:r>
          </a:p>
        </p:txBody>
      </p:sp>
      <p:sp>
        <p:nvSpPr>
          <p:cNvPr id="192" name="Rectangle 16"/>
          <p:cNvSpPr/>
          <p:nvPr/>
        </p:nvSpPr>
        <p:spPr bwMode="auto">
          <a:xfrm>
            <a:off x="684967" y="3371019"/>
            <a:ext cx="839124" cy="356391"/>
          </a:xfrm>
          <a:prstGeom prst="rect">
            <a:avLst/>
          </a:prstGeom>
          <a:no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176" b="1" i="0" u="none" strike="noStrike" kern="1200" cap="none" spc="0" normalizeH="0" baseline="0" noProof="0">
                <a:ln>
                  <a:noFill/>
                </a:ln>
                <a:solidFill>
                  <a:prstClr val="black">
                    <a:lumMod val="65000"/>
                    <a:lumOff val="35000"/>
                  </a:prstClr>
                </a:solidFill>
                <a:effectLst/>
                <a:uLnTx/>
                <a:uFillTx/>
                <a:latin typeface="맑은 고딕" panose="020B0503020000020004" pitchFamily="34" charset="-127"/>
                <a:ea typeface="맑은 고딕" panose="020B0503020000020004" pitchFamily="34" charset="-127"/>
                <a:cs typeface="+mn-cs"/>
              </a:rPr>
              <a:t>Device</a:t>
            </a:r>
          </a:p>
        </p:txBody>
      </p:sp>
      <p:sp>
        <p:nvSpPr>
          <p:cNvPr id="193" name="Rectangle 17"/>
          <p:cNvSpPr/>
          <p:nvPr/>
        </p:nvSpPr>
        <p:spPr bwMode="auto">
          <a:xfrm>
            <a:off x="694291" y="3727056"/>
            <a:ext cx="839124" cy="356391"/>
          </a:xfrm>
          <a:prstGeom prst="rect">
            <a:avLst/>
          </a:prstGeom>
          <a:no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176" b="1" i="0" u="none" strike="noStrike" kern="1200" cap="none" spc="0" normalizeH="0" baseline="0" noProof="0">
                <a:ln>
                  <a:noFill/>
                </a:ln>
                <a:solidFill>
                  <a:prstClr val="black">
                    <a:lumMod val="65000"/>
                    <a:lumOff val="35000"/>
                  </a:prstClr>
                </a:solidFill>
                <a:effectLst/>
                <a:uLnTx/>
                <a:uFillTx/>
                <a:latin typeface="맑은 고딕" panose="020B0503020000020004" pitchFamily="34" charset="-127"/>
                <a:ea typeface="맑은 고딕" panose="020B0503020000020004" pitchFamily="34" charset="-127"/>
                <a:cs typeface="+mn-cs"/>
              </a:rPr>
              <a:t>Device</a:t>
            </a:r>
          </a:p>
        </p:txBody>
      </p:sp>
      <p:sp>
        <p:nvSpPr>
          <p:cNvPr id="194" name="Rectangle 18"/>
          <p:cNvSpPr/>
          <p:nvPr/>
        </p:nvSpPr>
        <p:spPr bwMode="auto">
          <a:xfrm>
            <a:off x="694291" y="4744242"/>
            <a:ext cx="839124" cy="356391"/>
          </a:xfrm>
          <a:prstGeom prst="rect">
            <a:avLst/>
          </a:prstGeom>
          <a:no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176" b="1" i="0" u="none" strike="noStrike" kern="1200" cap="none" spc="0" normalizeH="0" baseline="0" noProof="0">
                <a:ln>
                  <a:noFill/>
                </a:ln>
                <a:solidFill>
                  <a:prstClr val="black">
                    <a:lumMod val="65000"/>
                    <a:lumOff val="35000"/>
                  </a:prstClr>
                </a:solidFill>
                <a:effectLst/>
                <a:uLnTx/>
                <a:uFillTx/>
                <a:latin typeface="맑은 고딕" panose="020B0503020000020004" pitchFamily="34" charset="-127"/>
                <a:ea typeface="맑은 고딕" panose="020B0503020000020004" pitchFamily="34" charset="-127"/>
                <a:cs typeface="+mn-cs"/>
              </a:rPr>
              <a:t>Device</a:t>
            </a:r>
          </a:p>
        </p:txBody>
      </p:sp>
      <p:sp>
        <p:nvSpPr>
          <p:cNvPr id="195" name="Rectangle 19"/>
          <p:cNvSpPr/>
          <p:nvPr/>
        </p:nvSpPr>
        <p:spPr bwMode="auto">
          <a:xfrm>
            <a:off x="684967" y="4369104"/>
            <a:ext cx="839124" cy="356391"/>
          </a:xfrm>
          <a:prstGeom prst="rect">
            <a:avLst/>
          </a:prstGeom>
          <a:no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176" b="1" i="0" u="none" strike="noStrike" kern="1200" cap="none" spc="0" normalizeH="0" baseline="0" noProof="0">
                <a:ln>
                  <a:noFill/>
                </a:ln>
                <a:solidFill>
                  <a:prstClr val="black">
                    <a:lumMod val="65000"/>
                    <a:lumOff val="35000"/>
                  </a:prstClr>
                </a:solidFill>
                <a:effectLst/>
                <a:uLnTx/>
                <a:uFillTx/>
                <a:latin typeface="맑은 고딕" panose="020B0503020000020004" pitchFamily="34" charset="-127"/>
                <a:ea typeface="맑은 고딕" panose="020B0503020000020004" pitchFamily="34" charset="-127"/>
                <a:cs typeface="+mn-cs"/>
              </a:rPr>
              <a:t>Device</a:t>
            </a:r>
          </a:p>
        </p:txBody>
      </p:sp>
      <p:sp>
        <p:nvSpPr>
          <p:cNvPr id="196" name="Rectangle 20"/>
          <p:cNvSpPr/>
          <p:nvPr/>
        </p:nvSpPr>
        <p:spPr bwMode="auto">
          <a:xfrm>
            <a:off x="694291" y="5249968"/>
            <a:ext cx="839124" cy="356391"/>
          </a:xfrm>
          <a:prstGeom prst="rect">
            <a:avLst/>
          </a:prstGeom>
          <a:no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176" b="1" i="0" u="none" strike="noStrike" kern="1200" cap="none" spc="0" normalizeH="0" baseline="0" noProof="0">
                <a:ln>
                  <a:noFill/>
                </a:ln>
                <a:solidFill>
                  <a:prstClr val="black">
                    <a:lumMod val="65000"/>
                    <a:lumOff val="35000"/>
                  </a:prstClr>
                </a:solidFill>
                <a:effectLst/>
                <a:uLnTx/>
                <a:uFillTx/>
                <a:latin typeface="맑은 고딕" panose="020B0503020000020004" pitchFamily="34" charset="-127"/>
                <a:ea typeface="맑은 고딕" panose="020B0503020000020004" pitchFamily="34" charset="-127"/>
                <a:cs typeface="+mn-cs"/>
              </a:rPr>
              <a:t>Device</a:t>
            </a:r>
          </a:p>
        </p:txBody>
      </p:sp>
      <p:sp>
        <p:nvSpPr>
          <p:cNvPr id="197" name="Rectangle 21"/>
          <p:cNvSpPr/>
          <p:nvPr/>
        </p:nvSpPr>
        <p:spPr bwMode="auto">
          <a:xfrm>
            <a:off x="2002683" y="3887877"/>
            <a:ext cx="885951" cy="672319"/>
          </a:xfrm>
          <a:prstGeom prst="rect">
            <a:avLst/>
          </a:prstGeom>
          <a:solidFill>
            <a:srgbClr val="B4009E"/>
          </a:solidFill>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ko-KR" altLang="en-US" sz="1176" b="0" i="0" u="none" strike="noStrike" kern="1200" cap="none" spc="0" normalizeH="0" baseline="0" noProof="0">
                <a:ln>
                  <a:noFill/>
                </a:ln>
                <a:gradFill>
                  <a:gsLst>
                    <a:gs pos="0">
                      <a:srgbClr val="FFFFFF"/>
                    </a:gs>
                    <a:gs pos="100000">
                      <a:srgbClr val="FFFFFF"/>
                    </a:gs>
                  </a:gsLst>
                  <a:lin ang="5400000" scaled="0"/>
                </a:gradFill>
                <a:effectLst/>
                <a:uLnTx/>
                <a:uFillTx/>
                <a:latin typeface="맑은 고딕" panose="020B0503020000020004" pitchFamily="34" charset="-127"/>
                <a:ea typeface="맑은 고딕" panose="020B0503020000020004" pitchFamily="34" charset="-127"/>
                <a:cs typeface="+mn-cs"/>
              </a:rPr>
              <a:t>현장</a:t>
            </a:r>
            <a:endParaRPr kumimoji="0" lang="en-US" altLang="ko-KR" sz="1176" b="0" i="0" u="none" strike="noStrike" kern="1200" cap="none" spc="0" normalizeH="0" baseline="0" noProof="0">
              <a:ln>
                <a:noFill/>
              </a:ln>
              <a:gradFill>
                <a:gsLst>
                  <a:gs pos="0">
                    <a:srgbClr val="FFFFFF"/>
                  </a:gs>
                  <a:gs pos="100000">
                    <a:srgbClr val="FFFFFF"/>
                  </a:gs>
                </a:gsLst>
                <a:lin ang="5400000" scaled="0"/>
              </a:gradFill>
              <a:effectLst/>
              <a:uLnTx/>
              <a:uFillTx/>
              <a:latin typeface="맑은 고딕" panose="020B0503020000020004" pitchFamily="34" charset="-127"/>
              <a:ea typeface="맑은 고딕" panose="020B0503020000020004" pitchFamily="34" charset="-127"/>
              <a:cs typeface="+mn-cs"/>
            </a:endParaRPr>
          </a:p>
          <a:p>
            <a:pPr marL="0" marR="0" lvl="0" indent="0" algn="ctr" defTabSz="914102" rtl="0" eaLnBrk="1" fontAlgn="base" latinLnBrk="0" hangingPunct="1">
              <a:lnSpc>
                <a:spcPct val="100000"/>
              </a:lnSpc>
              <a:spcBef>
                <a:spcPct val="0"/>
              </a:spcBef>
              <a:spcAft>
                <a:spcPct val="0"/>
              </a:spcAft>
              <a:buClrTx/>
              <a:buSzTx/>
              <a:buFontTx/>
              <a:buNone/>
              <a:tabLst/>
              <a:defRPr/>
            </a:pPr>
            <a:r>
              <a:rPr kumimoji="0" lang="ko-KR" altLang="en-US" sz="1176" b="0" i="0" u="none" strike="noStrike" kern="1200" cap="none" spc="0" normalizeH="0" baseline="0" noProof="0" err="1">
                <a:ln>
                  <a:noFill/>
                </a:ln>
                <a:gradFill>
                  <a:gsLst>
                    <a:gs pos="0">
                      <a:srgbClr val="FFFFFF"/>
                    </a:gs>
                    <a:gs pos="100000">
                      <a:srgbClr val="FFFFFF"/>
                    </a:gs>
                  </a:gsLst>
                  <a:lin ang="5400000" scaled="0"/>
                </a:gradFill>
                <a:effectLst/>
                <a:uLnTx/>
                <a:uFillTx/>
                <a:latin typeface="맑은 고딕" panose="020B0503020000020004" pitchFamily="34" charset="-127"/>
                <a:ea typeface="맑은 고딕" panose="020B0503020000020004" pitchFamily="34" charset="-127"/>
                <a:cs typeface="+mn-cs"/>
              </a:rPr>
              <a:t>게이트웨이</a:t>
            </a:r>
            <a:endParaRPr kumimoji="0" lang="en-US" altLang="ko-KR" sz="1176" b="0" i="0" u="none" strike="noStrike" kern="1200" cap="none" spc="0" normalizeH="0" baseline="0" noProof="0">
              <a:ln>
                <a:noFill/>
              </a:ln>
              <a:gradFill>
                <a:gsLst>
                  <a:gs pos="0">
                    <a:srgbClr val="FFFFFF"/>
                  </a:gs>
                  <a:gs pos="100000">
                    <a:srgbClr val="FFFFFF"/>
                  </a:gs>
                </a:gsLst>
                <a:lin ang="5400000" scaled="0"/>
              </a:gradFill>
              <a:effectLst/>
              <a:uLnTx/>
              <a:uFillTx/>
              <a:latin typeface="맑은 고딕" panose="020B0503020000020004" pitchFamily="34" charset="-127"/>
              <a:ea typeface="맑은 고딕" panose="020B0503020000020004" pitchFamily="34" charset="-127"/>
              <a:cs typeface="+mn-cs"/>
            </a:endParaRPr>
          </a:p>
          <a:p>
            <a:pPr marL="0" marR="0" lvl="0" indent="0" algn="ctr" defTabSz="914102" rtl="0" eaLnBrk="1" fontAlgn="base" latinLnBrk="0" hangingPunct="1">
              <a:lnSpc>
                <a:spcPct val="100000"/>
              </a:lnSpc>
              <a:spcBef>
                <a:spcPct val="0"/>
              </a:spcBef>
              <a:spcAft>
                <a:spcPct val="0"/>
              </a:spcAft>
              <a:buClrTx/>
              <a:buSzTx/>
              <a:buFontTx/>
              <a:buNone/>
              <a:tabLst/>
              <a:defRPr/>
            </a:pPr>
            <a:r>
              <a:rPr kumimoji="0" lang="ko-KR" altLang="en-US" sz="1176" b="0" i="0" u="none" strike="noStrike" kern="1200" cap="none" spc="0" normalizeH="0" baseline="0" noProof="0">
                <a:ln>
                  <a:noFill/>
                </a:ln>
                <a:gradFill>
                  <a:gsLst>
                    <a:gs pos="0">
                      <a:srgbClr val="FFFFFF"/>
                    </a:gs>
                    <a:gs pos="100000">
                      <a:srgbClr val="FFFFFF"/>
                    </a:gs>
                  </a:gsLst>
                  <a:lin ang="5400000" scaled="0"/>
                </a:gradFill>
                <a:effectLst/>
                <a:uLnTx/>
                <a:uFillTx/>
                <a:latin typeface="맑은 고딕" panose="020B0503020000020004" pitchFamily="34" charset="-127"/>
                <a:ea typeface="맑은 고딕" panose="020B0503020000020004" pitchFamily="34" charset="-127"/>
                <a:cs typeface="+mn-cs"/>
              </a:rPr>
              <a:t>디바이스</a:t>
            </a:r>
            <a:endParaRPr kumimoji="0" lang="en-US" altLang="ko-KR" sz="1176" b="0" i="0" u="none" strike="noStrike" kern="1200" cap="none" spc="0" normalizeH="0" baseline="0" noProof="0">
              <a:ln>
                <a:noFill/>
              </a:ln>
              <a:gradFill>
                <a:gsLst>
                  <a:gs pos="0">
                    <a:srgbClr val="FFFFFF"/>
                  </a:gs>
                  <a:gs pos="100000">
                    <a:srgbClr val="FFFFFF"/>
                  </a:gs>
                </a:gsLst>
                <a:lin ang="5400000" scaled="0"/>
              </a:gradFill>
              <a:effectLst/>
              <a:uLnTx/>
              <a:uFillTx/>
              <a:latin typeface="맑은 고딕" panose="020B0503020000020004" pitchFamily="34" charset="-127"/>
              <a:ea typeface="맑은 고딕" panose="020B0503020000020004" pitchFamily="34" charset="-127"/>
              <a:cs typeface="+mn-cs"/>
            </a:endParaRPr>
          </a:p>
        </p:txBody>
      </p:sp>
      <p:sp>
        <p:nvSpPr>
          <p:cNvPr id="198" name="Rectangle 22"/>
          <p:cNvSpPr/>
          <p:nvPr/>
        </p:nvSpPr>
        <p:spPr bwMode="auto">
          <a:xfrm>
            <a:off x="2005309" y="4859004"/>
            <a:ext cx="885951" cy="672319"/>
          </a:xfrm>
          <a:prstGeom prst="rect">
            <a:avLst/>
          </a:prstGeom>
          <a:solidFill>
            <a:srgbClr val="B4009E"/>
          </a:solidFill>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ko-KR" altLang="en-US" sz="1176" b="0" i="0" u="none" strike="noStrike" kern="1200" cap="none" spc="0" normalizeH="0" baseline="0" noProof="0">
                <a:ln>
                  <a:noFill/>
                </a:ln>
                <a:gradFill>
                  <a:gsLst>
                    <a:gs pos="0">
                      <a:srgbClr val="FFFFFF"/>
                    </a:gs>
                    <a:gs pos="100000">
                      <a:srgbClr val="FFFFFF"/>
                    </a:gs>
                  </a:gsLst>
                  <a:lin ang="5400000" scaled="0"/>
                </a:gradFill>
                <a:effectLst/>
                <a:uLnTx/>
                <a:uFillTx/>
                <a:latin typeface="맑은 고딕" panose="020B0503020000020004" pitchFamily="34" charset="-127"/>
                <a:ea typeface="맑은 고딕" panose="020B0503020000020004" pitchFamily="34" charset="-127"/>
                <a:cs typeface="+mn-cs"/>
              </a:rPr>
              <a:t>현장 </a:t>
            </a:r>
            <a:r>
              <a:rPr kumimoji="0" lang="ko-KR" altLang="en-US" sz="1176" b="0" i="0" u="none" strike="noStrike" kern="1200" cap="none" spc="0" normalizeH="0" baseline="0" noProof="0" err="1">
                <a:ln>
                  <a:noFill/>
                </a:ln>
                <a:gradFill>
                  <a:gsLst>
                    <a:gs pos="0">
                      <a:srgbClr val="FFFFFF"/>
                    </a:gs>
                    <a:gs pos="100000">
                      <a:srgbClr val="FFFFFF"/>
                    </a:gs>
                  </a:gsLst>
                  <a:lin ang="5400000" scaled="0"/>
                </a:gradFill>
                <a:effectLst/>
                <a:uLnTx/>
                <a:uFillTx/>
                <a:latin typeface="맑은 고딕" panose="020B0503020000020004" pitchFamily="34" charset="-127"/>
                <a:ea typeface="맑은 고딕" panose="020B0503020000020004" pitchFamily="34" charset="-127"/>
                <a:cs typeface="+mn-cs"/>
              </a:rPr>
              <a:t>게이트웨이</a:t>
            </a:r>
            <a:endParaRPr kumimoji="0" lang="en-US" altLang="ko-KR" sz="1176" b="0" i="0" u="none" strike="noStrike" kern="1200" cap="none" spc="0" normalizeH="0" baseline="0" noProof="0">
              <a:ln>
                <a:noFill/>
              </a:ln>
              <a:gradFill>
                <a:gsLst>
                  <a:gs pos="0">
                    <a:srgbClr val="FFFFFF"/>
                  </a:gs>
                  <a:gs pos="100000">
                    <a:srgbClr val="FFFFFF"/>
                  </a:gs>
                </a:gsLst>
                <a:lin ang="5400000" scaled="0"/>
              </a:gradFill>
              <a:effectLst/>
              <a:uLnTx/>
              <a:uFillTx/>
              <a:latin typeface="맑은 고딕" panose="020B0503020000020004" pitchFamily="34" charset="-127"/>
              <a:ea typeface="맑은 고딕" panose="020B0503020000020004" pitchFamily="34" charset="-127"/>
              <a:cs typeface="+mn-cs"/>
            </a:endParaRPr>
          </a:p>
          <a:p>
            <a:pPr marL="0" marR="0" lvl="0" indent="0" algn="ctr" defTabSz="914102" rtl="0" eaLnBrk="1" fontAlgn="base" latinLnBrk="0" hangingPunct="1">
              <a:lnSpc>
                <a:spcPct val="100000"/>
              </a:lnSpc>
              <a:spcBef>
                <a:spcPct val="0"/>
              </a:spcBef>
              <a:spcAft>
                <a:spcPct val="0"/>
              </a:spcAft>
              <a:buClrTx/>
              <a:buSzTx/>
              <a:buFontTx/>
              <a:buNone/>
              <a:tabLst/>
              <a:defRPr/>
            </a:pPr>
            <a:r>
              <a:rPr kumimoji="0" lang="ko-KR" altLang="en-US" sz="1176" b="0" i="0" u="none" strike="noStrike" kern="1200" cap="none" spc="0" normalizeH="0" baseline="0" noProof="0">
                <a:ln>
                  <a:noFill/>
                </a:ln>
                <a:gradFill>
                  <a:gsLst>
                    <a:gs pos="0">
                      <a:srgbClr val="FFFFFF"/>
                    </a:gs>
                    <a:gs pos="100000">
                      <a:srgbClr val="FFFFFF"/>
                    </a:gs>
                  </a:gsLst>
                  <a:lin ang="5400000" scaled="0"/>
                </a:gradFill>
                <a:effectLst/>
                <a:uLnTx/>
                <a:uFillTx/>
                <a:latin typeface="맑은 고딕" panose="020B0503020000020004" pitchFamily="34" charset="-127"/>
                <a:ea typeface="맑은 고딕" panose="020B0503020000020004" pitchFamily="34" charset="-127"/>
                <a:cs typeface="+mn-cs"/>
              </a:rPr>
              <a:t>디바이스</a:t>
            </a:r>
            <a:endParaRPr kumimoji="0" lang="en-US" sz="1176" b="0" i="0" u="none" strike="noStrike" kern="1200" cap="none" spc="0" normalizeH="0" baseline="0" noProof="0">
              <a:ln>
                <a:noFill/>
              </a:ln>
              <a:gradFill>
                <a:gsLst>
                  <a:gs pos="0">
                    <a:srgbClr val="FFFFFF"/>
                  </a:gs>
                  <a:gs pos="100000">
                    <a:srgbClr val="FFFFFF"/>
                  </a:gs>
                </a:gsLst>
                <a:lin ang="5400000" scaled="0"/>
              </a:gradFill>
              <a:effectLst/>
              <a:uLnTx/>
              <a:uFillTx/>
              <a:latin typeface="맑은 고딕" panose="020B0503020000020004" pitchFamily="34" charset="-127"/>
              <a:ea typeface="맑은 고딕" panose="020B0503020000020004" pitchFamily="34" charset="-127"/>
              <a:cs typeface="+mn-cs"/>
            </a:endParaRPr>
          </a:p>
        </p:txBody>
      </p:sp>
      <p:sp>
        <p:nvSpPr>
          <p:cNvPr id="199" name="Rectangle 23"/>
          <p:cNvSpPr/>
          <p:nvPr/>
        </p:nvSpPr>
        <p:spPr bwMode="auto">
          <a:xfrm>
            <a:off x="3203680" y="2486256"/>
            <a:ext cx="923740" cy="887097"/>
          </a:xfrm>
          <a:prstGeom prst="rect">
            <a:avLst/>
          </a:prstGeom>
          <a:solidFill>
            <a:srgbClr val="107C1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ko-KR" altLang="en-US" sz="1176" b="0" i="0" u="none" strike="noStrike" kern="1200" cap="none" spc="0" normalizeH="0" baseline="0" noProof="0">
                <a:ln>
                  <a:noFill/>
                </a:ln>
                <a:gradFill>
                  <a:gsLst>
                    <a:gs pos="0">
                      <a:srgbClr val="FFFFFF"/>
                    </a:gs>
                    <a:gs pos="100000">
                      <a:srgbClr val="FFFFFF"/>
                    </a:gs>
                  </a:gsLst>
                  <a:lin ang="5400000" scaled="0"/>
                </a:gradFill>
                <a:effectLst/>
                <a:uLnTx/>
                <a:uFillTx/>
                <a:latin typeface="맑은 고딕" panose="020B0503020000020004" pitchFamily="34" charset="-127"/>
                <a:ea typeface="맑은 고딕" panose="020B0503020000020004" pitchFamily="34" charset="-127"/>
                <a:cs typeface="+mn-cs"/>
              </a:rPr>
              <a:t>사용자 </a:t>
            </a:r>
            <a:endParaRPr kumimoji="0" lang="en-US" altLang="ko-KR" sz="1176" b="0" i="0" u="none" strike="noStrike" kern="1200" cap="none" spc="0" normalizeH="0" baseline="0" noProof="0">
              <a:ln>
                <a:noFill/>
              </a:ln>
              <a:gradFill>
                <a:gsLst>
                  <a:gs pos="0">
                    <a:srgbClr val="FFFFFF"/>
                  </a:gs>
                  <a:gs pos="100000">
                    <a:srgbClr val="FFFFFF"/>
                  </a:gs>
                </a:gsLst>
                <a:lin ang="5400000" scaled="0"/>
              </a:gradFill>
              <a:effectLst/>
              <a:uLnTx/>
              <a:uFillTx/>
              <a:latin typeface="맑은 고딕" panose="020B0503020000020004" pitchFamily="34" charset="-127"/>
              <a:ea typeface="맑은 고딕" panose="020B0503020000020004" pitchFamily="34" charset="-127"/>
              <a:cs typeface="+mn-cs"/>
            </a:endParaRPr>
          </a:p>
          <a:p>
            <a:pPr marL="0" marR="0" lvl="0" indent="0" algn="ctr" defTabSz="914102" rtl="0" eaLnBrk="1" fontAlgn="base" latinLnBrk="0" hangingPunct="1">
              <a:lnSpc>
                <a:spcPct val="100000"/>
              </a:lnSpc>
              <a:spcBef>
                <a:spcPct val="0"/>
              </a:spcBef>
              <a:spcAft>
                <a:spcPct val="0"/>
              </a:spcAft>
              <a:buClrTx/>
              <a:buSzTx/>
              <a:buFontTx/>
              <a:buNone/>
              <a:tabLst/>
              <a:defRPr/>
            </a:pPr>
            <a:r>
              <a:rPr kumimoji="0" lang="ko-KR" altLang="en-US" sz="1176" b="0" i="0" u="none" strike="noStrike" kern="1200" cap="none" spc="0" normalizeH="0" baseline="0" noProof="0" err="1">
                <a:ln>
                  <a:noFill/>
                </a:ln>
                <a:gradFill>
                  <a:gsLst>
                    <a:gs pos="0">
                      <a:srgbClr val="FFFFFF"/>
                    </a:gs>
                    <a:gs pos="100000">
                      <a:srgbClr val="FFFFFF"/>
                    </a:gs>
                  </a:gsLst>
                  <a:lin ang="5400000" scaled="0"/>
                </a:gradFill>
                <a:effectLst/>
                <a:uLnTx/>
                <a:uFillTx/>
                <a:latin typeface="맑은 고딕" panose="020B0503020000020004" pitchFamily="34" charset="-127"/>
                <a:ea typeface="맑은 고딕" panose="020B0503020000020004" pitchFamily="34" charset="-127"/>
                <a:cs typeface="+mn-cs"/>
              </a:rPr>
              <a:t>게이트웨이</a:t>
            </a:r>
            <a:br>
              <a:rPr kumimoji="0" lang="en-US" sz="1176" b="0" i="0" u="none" strike="noStrike" kern="1200" cap="none" spc="0" normalizeH="0" baseline="0" noProof="0">
                <a:ln>
                  <a:noFill/>
                </a:ln>
                <a:gradFill>
                  <a:gsLst>
                    <a:gs pos="0">
                      <a:srgbClr val="FFFFFF"/>
                    </a:gs>
                    <a:gs pos="100000">
                      <a:srgbClr val="FFFFFF"/>
                    </a:gs>
                  </a:gsLst>
                  <a:lin ang="5400000" scaled="0"/>
                </a:gradFill>
                <a:effectLst/>
                <a:uLnTx/>
                <a:uFillTx/>
                <a:latin typeface="맑은 고딕" panose="020B0503020000020004" pitchFamily="34" charset="-127"/>
                <a:ea typeface="맑은 고딕" panose="020B0503020000020004" pitchFamily="34" charset="-127"/>
                <a:cs typeface="+mn-cs"/>
              </a:rPr>
            </a:br>
            <a:r>
              <a:rPr kumimoji="0" lang="en-US" sz="1176" b="0" i="0" u="none" strike="noStrike" kern="1200" cap="none" spc="0" normalizeH="0" baseline="0" noProof="0">
                <a:ln>
                  <a:noFill/>
                </a:ln>
                <a:gradFill>
                  <a:gsLst>
                    <a:gs pos="0">
                      <a:srgbClr val="FFFFFF"/>
                    </a:gs>
                    <a:gs pos="100000">
                      <a:srgbClr val="FFFFFF"/>
                    </a:gs>
                  </a:gsLst>
                  <a:lin ang="5400000" scaled="0"/>
                </a:gradFill>
                <a:effectLst/>
                <a:uLnTx/>
                <a:uFillTx/>
                <a:latin typeface="맑은 고딕" panose="020B0503020000020004" pitchFamily="34" charset="-127"/>
                <a:ea typeface="맑은 고딕" panose="020B0503020000020004" pitchFamily="34" charset="-127"/>
                <a:cs typeface="+mn-cs"/>
              </a:rPr>
              <a:t>(</a:t>
            </a:r>
            <a:r>
              <a:rPr kumimoji="0" lang="ko-KR" altLang="en-US" sz="1176" b="0" i="0" u="none" strike="noStrike" kern="1200" cap="none" spc="0" normalizeH="0" baseline="0" noProof="0" err="1">
                <a:ln>
                  <a:noFill/>
                </a:ln>
                <a:gradFill>
                  <a:gsLst>
                    <a:gs pos="0">
                      <a:srgbClr val="FFFFFF"/>
                    </a:gs>
                    <a:gs pos="100000">
                      <a:srgbClr val="FFFFFF"/>
                    </a:gs>
                  </a:gsLst>
                  <a:lin ang="5400000" scaled="0"/>
                </a:gradFill>
                <a:effectLst/>
                <a:uLnTx/>
                <a:uFillTx/>
                <a:latin typeface="맑은 고딕" panose="020B0503020000020004" pitchFamily="34" charset="-127"/>
                <a:ea typeface="맑은 고딕" panose="020B0503020000020004" pitchFamily="34" charset="-127"/>
                <a:cs typeface="+mn-cs"/>
              </a:rPr>
              <a:t>클라우드</a:t>
            </a:r>
            <a:r>
              <a:rPr kumimoji="0" lang="ko-KR" altLang="en-US" sz="1176" b="0" i="0" u="none" strike="noStrike" kern="1200" cap="none" spc="0" normalizeH="0" baseline="0" noProof="0">
                <a:ln>
                  <a:noFill/>
                </a:ln>
                <a:gradFill>
                  <a:gsLst>
                    <a:gs pos="0">
                      <a:srgbClr val="FFFFFF"/>
                    </a:gs>
                    <a:gs pos="100000">
                      <a:srgbClr val="FFFFFF"/>
                    </a:gs>
                  </a:gsLst>
                  <a:lin ang="5400000" scaled="0"/>
                </a:gradFill>
                <a:effectLst/>
                <a:uLnTx/>
                <a:uFillTx/>
                <a:latin typeface="맑은 고딕" panose="020B0503020000020004" pitchFamily="34" charset="-127"/>
                <a:ea typeface="맑은 고딕" panose="020B0503020000020004" pitchFamily="34" charset="-127"/>
                <a:cs typeface="+mn-cs"/>
              </a:rPr>
              <a:t> </a:t>
            </a:r>
            <a:endParaRPr kumimoji="0" lang="en-US" altLang="ko-KR" sz="1176" b="0" i="0" u="none" strike="noStrike" kern="1200" cap="none" spc="0" normalizeH="0" baseline="0" noProof="0">
              <a:ln>
                <a:noFill/>
              </a:ln>
              <a:gradFill>
                <a:gsLst>
                  <a:gs pos="0">
                    <a:srgbClr val="FFFFFF"/>
                  </a:gs>
                  <a:gs pos="100000">
                    <a:srgbClr val="FFFFFF"/>
                  </a:gs>
                </a:gsLst>
                <a:lin ang="5400000" scaled="0"/>
              </a:gradFill>
              <a:effectLst/>
              <a:uLnTx/>
              <a:uFillTx/>
              <a:latin typeface="맑은 고딕" panose="020B0503020000020004" pitchFamily="34" charset="-127"/>
              <a:ea typeface="맑은 고딕" panose="020B0503020000020004" pitchFamily="34" charset="-127"/>
              <a:cs typeface="+mn-cs"/>
            </a:endParaRPr>
          </a:p>
          <a:p>
            <a:pPr marL="0" marR="0" lvl="0" indent="0" algn="ctr" defTabSz="914102" rtl="0" eaLnBrk="1" fontAlgn="base" latinLnBrk="0" hangingPunct="1">
              <a:lnSpc>
                <a:spcPct val="100000"/>
              </a:lnSpc>
              <a:spcBef>
                <a:spcPct val="0"/>
              </a:spcBef>
              <a:spcAft>
                <a:spcPct val="0"/>
              </a:spcAft>
              <a:buClrTx/>
              <a:buSzTx/>
              <a:buFontTx/>
              <a:buNone/>
              <a:tabLst/>
              <a:defRPr/>
            </a:pPr>
            <a:r>
              <a:rPr kumimoji="0" lang="ko-KR" altLang="en-US" sz="1176" b="0" i="0" u="none" strike="noStrike" kern="1200" cap="none" spc="0" normalizeH="0" baseline="0" noProof="0">
                <a:ln>
                  <a:noFill/>
                </a:ln>
                <a:gradFill>
                  <a:gsLst>
                    <a:gs pos="0">
                      <a:srgbClr val="FFFFFF"/>
                    </a:gs>
                    <a:gs pos="100000">
                      <a:srgbClr val="FFFFFF"/>
                    </a:gs>
                  </a:gsLst>
                  <a:lin ang="5400000" scaled="0"/>
                </a:gradFill>
                <a:effectLst/>
                <a:uLnTx/>
                <a:uFillTx/>
                <a:latin typeface="맑은 고딕" panose="020B0503020000020004" pitchFamily="34" charset="-127"/>
                <a:ea typeface="맑은 고딕" panose="020B0503020000020004" pitchFamily="34" charset="-127"/>
                <a:cs typeface="+mn-cs"/>
              </a:rPr>
              <a:t>서비스</a:t>
            </a:r>
            <a:r>
              <a:rPr kumimoji="0" lang="en-US" sz="1176" b="0" i="0" u="none" strike="noStrike" kern="1200" cap="none" spc="0" normalizeH="0" baseline="0" noProof="0">
                <a:ln>
                  <a:noFill/>
                </a:ln>
                <a:gradFill>
                  <a:gsLst>
                    <a:gs pos="0">
                      <a:srgbClr val="FFFFFF"/>
                    </a:gs>
                    <a:gs pos="100000">
                      <a:srgbClr val="FFFFFF"/>
                    </a:gs>
                  </a:gsLst>
                  <a:lin ang="5400000" scaled="0"/>
                </a:gradFill>
                <a:effectLst/>
                <a:uLnTx/>
                <a:uFillTx/>
                <a:latin typeface="맑은 고딕" panose="020B0503020000020004" pitchFamily="34" charset="-127"/>
                <a:ea typeface="맑은 고딕" panose="020B0503020000020004" pitchFamily="34" charset="-127"/>
                <a:cs typeface="+mn-cs"/>
              </a:rPr>
              <a:t>, VM)</a:t>
            </a:r>
          </a:p>
        </p:txBody>
      </p:sp>
      <p:sp>
        <p:nvSpPr>
          <p:cNvPr id="200" name="Rectangle 24"/>
          <p:cNvSpPr/>
          <p:nvPr/>
        </p:nvSpPr>
        <p:spPr bwMode="auto">
          <a:xfrm>
            <a:off x="3284286" y="4793629"/>
            <a:ext cx="923740" cy="887097"/>
          </a:xfrm>
          <a:prstGeom prst="rect">
            <a:avLst/>
          </a:prstGeom>
          <a:solidFill>
            <a:srgbClr val="107C1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ko-KR" altLang="en-US" sz="1176" b="0" i="0" u="none" strike="noStrike" kern="1200" cap="none" spc="0" normalizeH="0" baseline="0" noProof="0">
                <a:ln>
                  <a:noFill/>
                </a:ln>
                <a:gradFill>
                  <a:gsLst>
                    <a:gs pos="0">
                      <a:srgbClr val="FFFFFF"/>
                    </a:gs>
                    <a:gs pos="100000">
                      <a:srgbClr val="FFFFFF"/>
                    </a:gs>
                  </a:gsLst>
                  <a:lin ang="5400000" scaled="0"/>
                </a:gradFill>
                <a:effectLst/>
                <a:uLnTx/>
                <a:uFillTx/>
                <a:latin typeface="맑은 고딕" panose="020B0503020000020004" pitchFamily="34" charset="-127"/>
                <a:ea typeface="맑은 고딕" panose="020B0503020000020004" pitchFamily="34" charset="-127"/>
                <a:cs typeface="+mn-cs"/>
              </a:rPr>
              <a:t>사용자 </a:t>
            </a:r>
            <a:r>
              <a:rPr kumimoji="0" lang="ko-KR" altLang="en-US" sz="1176" b="0" i="0" u="none" strike="noStrike" kern="1200" cap="none" spc="0" normalizeH="0" baseline="0" noProof="0" err="1">
                <a:ln>
                  <a:noFill/>
                </a:ln>
                <a:gradFill>
                  <a:gsLst>
                    <a:gs pos="0">
                      <a:srgbClr val="FFFFFF"/>
                    </a:gs>
                    <a:gs pos="100000">
                      <a:srgbClr val="FFFFFF"/>
                    </a:gs>
                  </a:gsLst>
                  <a:lin ang="5400000" scaled="0"/>
                </a:gradFill>
                <a:effectLst/>
                <a:uLnTx/>
                <a:uFillTx/>
                <a:latin typeface="맑은 고딕" panose="020B0503020000020004" pitchFamily="34" charset="-127"/>
                <a:ea typeface="맑은 고딕" panose="020B0503020000020004" pitchFamily="34" charset="-127"/>
                <a:cs typeface="+mn-cs"/>
              </a:rPr>
              <a:t>게이트웨이</a:t>
            </a:r>
            <a:endParaRPr kumimoji="0" lang="en-US" altLang="ko-KR" sz="1176" b="0" i="0" u="none" strike="noStrike" kern="1200" cap="none" spc="0" normalizeH="0" baseline="0" noProof="0">
              <a:ln>
                <a:noFill/>
              </a:ln>
              <a:gradFill>
                <a:gsLst>
                  <a:gs pos="0">
                    <a:srgbClr val="FFFFFF"/>
                  </a:gs>
                  <a:gs pos="100000">
                    <a:srgbClr val="FFFFFF"/>
                  </a:gs>
                </a:gsLst>
                <a:lin ang="5400000" scaled="0"/>
              </a:gradFill>
              <a:effectLst/>
              <a:uLnTx/>
              <a:uFillTx/>
              <a:latin typeface="맑은 고딕" panose="020B0503020000020004" pitchFamily="34" charset="-127"/>
              <a:ea typeface="맑은 고딕" panose="020B0503020000020004" pitchFamily="34" charset="-127"/>
              <a:cs typeface="+mn-cs"/>
            </a:endParaRPr>
          </a:p>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altLang="ko-KR" sz="1176" b="0" i="0" u="none" strike="noStrike" kern="1200" cap="none" spc="0" normalizeH="0" baseline="0" noProof="0">
                <a:ln>
                  <a:noFill/>
                </a:ln>
                <a:gradFill>
                  <a:gsLst>
                    <a:gs pos="0">
                      <a:srgbClr val="FFFFFF"/>
                    </a:gs>
                    <a:gs pos="100000">
                      <a:srgbClr val="FFFFFF"/>
                    </a:gs>
                  </a:gsLst>
                  <a:lin ang="5400000" scaled="0"/>
                </a:gradFill>
                <a:effectLst/>
                <a:uLnTx/>
                <a:uFillTx/>
                <a:latin typeface="맑은 고딕" panose="020B0503020000020004" pitchFamily="34" charset="-127"/>
                <a:ea typeface="맑은 고딕" panose="020B0503020000020004" pitchFamily="34" charset="-127"/>
                <a:cs typeface="+mn-cs"/>
              </a:rPr>
              <a:t>(</a:t>
            </a:r>
            <a:r>
              <a:rPr kumimoji="0" lang="ko-KR" altLang="en-US" sz="1176" b="0" i="0" u="none" strike="noStrike" kern="1200" cap="none" spc="0" normalizeH="0" baseline="0" noProof="0" err="1">
                <a:ln>
                  <a:noFill/>
                </a:ln>
                <a:gradFill>
                  <a:gsLst>
                    <a:gs pos="0">
                      <a:srgbClr val="FFFFFF"/>
                    </a:gs>
                    <a:gs pos="100000">
                      <a:srgbClr val="FFFFFF"/>
                    </a:gs>
                  </a:gsLst>
                  <a:lin ang="5400000" scaled="0"/>
                </a:gradFill>
                <a:effectLst/>
                <a:uLnTx/>
                <a:uFillTx/>
                <a:latin typeface="맑은 고딕" panose="020B0503020000020004" pitchFamily="34" charset="-127"/>
                <a:ea typeface="맑은 고딕" panose="020B0503020000020004" pitchFamily="34" charset="-127"/>
                <a:cs typeface="+mn-cs"/>
              </a:rPr>
              <a:t>클라우드</a:t>
            </a:r>
            <a:r>
              <a:rPr kumimoji="0" lang="ko-KR" altLang="en-US" sz="1176" b="0" i="0" u="none" strike="noStrike" kern="1200" cap="none" spc="0" normalizeH="0" baseline="0" noProof="0">
                <a:ln>
                  <a:noFill/>
                </a:ln>
                <a:gradFill>
                  <a:gsLst>
                    <a:gs pos="0">
                      <a:srgbClr val="FFFFFF"/>
                    </a:gs>
                    <a:gs pos="100000">
                      <a:srgbClr val="FFFFFF"/>
                    </a:gs>
                  </a:gsLst>
                  <a:lin ang="5400000" scaled="0"/>
                </a:gradFill>
                <a:effectLst/>
                <a:uLnTx/>
                <a:uFillTx/>
                <a:latin typeface="맑은 고딕" panose="020B0503020000020004" pitchFamily="34" charset="-127"/>
                <a:ea typeface="맑은 고딕" panose="020B0503020000020004" pitchFamily="34" charset="-127"/>
                <a:cs typeface="+mn-cs"/>
              </a:rPr>
              <a:t> </a:t>
            </a:r>
            <a:endParaRPr kumimoji="0" lang="en-US" altLang="ko-KR" sz="1176" b="0" i="0" u="none" strike="noStrike" kern="1200" cap="none" spc="0" normalizeH="0" baseline="0" noProof="0">
              <a:ln>
                <a:noFill/>
              </a:ln>
              <a:gradFill>
                <a:gsLst>
                  <a:gs pos="0">
                    <a:srgbClr val="FFFFFF"/>
                  </a:gs>
                  <a:gs pos="100000">
                    <a:srgbClr val="FFFFFF"/>
                  </a:gs>
                </a:gsLst>
                <a:lin ang="5400000" scaled="0"/>
              </a:gradFill>
              <a:effectLst/>
              <a:uLnTx/>
              <a:uFillTx/>
              <a:latin typeface="맑은 고딕" panose="020B0503020000020004" pitchFamily="34" charset="-127"/>
              <a:ea typeface="맑은 고딕" panose="020B0503020000020004" pitchFamily="34" charset="-127"/>
              <a:cs typeface="+mn-cs"/>
            </a:endParaRPr>
          </a:p>
          <a:p>
            <a:pPr marL="0" marR="0" lvl="0" indent="0" algn="ctr" defTabSz="914102" rtl="0" eaLnBrk="1" fontAlgn="base" latinLnBrk="0" hangingPunct="1">
              <a:lnSpc>
                <a:spcPct val="100000"/>
              </a:lnSpc>
              <a:spcBef>
                <a:spcPct val="0"/>
              </a:spcBef>
              <a:spcAft>
                <a:spcPct val="0"/>
              </a:spcAft>
              <a:buClrTx/>
              <a:buSzTx/>
              <a:buFontTx/>
              <a:buNone/>
              <a:tabLst/>
              <a:defRPr/>
            </a:pPr>
            <a:r>
              <a:rPr kumimoji="0" lang="ko-KR" altLang="en-US" sz="1176" b="0" i="0" u="none" strike="noStrike" kern="1200" cap="none" spc="0" normalizeH="0" baseline="0" noProof="0">
                <a:ln>
                  <a:noFill/>
                </a:ln>
                <a:gradFill>
                  <a:gsLst>
                    <a:gs pos="0">
                      <a:srgbClr val="FFFFFF"/>
                    </a:gs>
                    <a:gs pos="100000">
                      <a:srgbClr val="FFFFFF"/>
                    </a:gs>
                  </a:gsLst>
                  <a:lin ang="5400000" scaled="0"/>
                </a:gradFill>
                <a:effectLst/>
                <a:uLnTx/>
                <a:uFillTx/>
                <a:latin typeface="맑은 고딕" panose="020B0503020000020004" pitchFamily="34" charset="-127"/>
                <a:ea typeface="맑은 고딕" panose="020B0503020000020004" pitchFamily="34" charset="-127"/>
                <a:cs typeface="+mn-cs"/>
              </a:rPr>
              <a:t>서비스</a:t>
            </a:r>
            <a:r>
              <a:rPr kumimoji="0" lang="en-US" altLang="ko-KR" sz="1176" b="0" i="0" u="none" strike="noStrike" kern="1200" cap="none" spc="0" normalizeH="0" baseline="0" noProof="0">
                <a:ln>
                  <a:noFill/>
                </a:ln>
                <a:gradFill>
                  <a:gsLst>
                    <a:gs pos="0">
                      <a:srgbClr val="FFFFFF"/>
                    </a:gs>
                    <a:gs pos="100000">
                      <a:srgbClr val="FFFFFF"/>
                    </a:gs>
                  </a:gsLst>
                  <a:lin ang="5400000" scaled="0"/>
                </a:gradFill>
                <a:effectLst/>
                <a:uLnTx/>
                <a:uFillTx/>
                <a:latin typeface="맑은 고딕" panose="020B0503020000020004" pitchFamily="34" charset="-127"/>
                <a:ea typeface="맑은 고딕" panose="020B0503020000020004" pitchFamily="34" charset="-127"/>
                <a:cs typeface="+mn-cs"/>
              </a:rPr>
              <a:t>, VM)</a:t>
            </a:r>
          </a:p>
        </p:txBody>
      </p:sp>
      <p:sp>
        <p:nvSpPr>
          <p:cNvPr id="206" name="Right Bracket 30"/>
          <p:cNvSpPr/>
          <p:nvPr/>
        </p:nvSpPr>
        <p:spPr>
          <a:xfrm>
            <a:off x="1521353" y="3897987"/>
            <a:ext cx="99972" cy="522914"/>
          </a:xfrm>
          <a:prstGeom prst="rightBracket">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맑은 고딕" panose="020B0503020000020004" pitchFamily="34" charset="-127"/>
              <a:ea typeface="맑은 고딕" panose="020B0503020000020004" pitchFamily="34" charset="-127"/>
              <a:cs typeface="+mn-cs"/>
            </a:endParaRPr>
          </a:p>
        </p:txBody>
      </p:sp>
      <p:sp>
        <p:nvSpPr>
          <p:cNvPr id="207" name="Right Bracket 31"/>
          <p:cNvSpPr/>
          <p:nvPr/>
        </p:nvSpPr>
        <p:spPr>
          <a:xfrm>
            <a:off x="1558046" y="4891715"/>
            <a:ext cx="99972" cy="522914"/>
          </a:xfrm>
          <a:prstGeom prst="rightBracket">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맑은 고딕" panose="020B0503020000020004" pitchFamily="34" charset="-127"/>
              <a:ea typeface="맑은 고딕" panose="020B0503020000020004" pitchFamily="34" charset="-127"/>
              <a:cs typeface="+mn-cs"/>
            </a:endParaRPr>
          </a:p>
        </p:txBody>
      </p:sp>
      <p:cxnSp>
        <p:nvCxnSpPr>
          <p:cNvPr id="208" name="Straight Arrow Connector 32"/>
          <p:cNvCxnSpPr>
            <a:endCxn id="197" idx="1"/>
          </p:cNvCxnSpPr>
          <p:nvPr/>
        </p:nvCxnSpPr>
        <p:spPr>
          <a:xfrm>
            <a:off x="1642242" y="4222142"/>
            <a:ext cx="360441" cy="189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9" name="Straight Arrow Connector 33"/>
          <p:cNvCxnSpPr>
            <a:endCxn id="198" idx="1"/>
          </p:cNvCxnSpPr>
          <p:nvPr/>
        </p:nvCxnSpPr>
        <p:spPr>
          <a:xfrm>
            <a:off x="1675895" y="5195163"/>
            <a:ext cx="329414" cy="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0" name="Freeform 101"/>
          <p:cNvSpPr>
            <a:spLocks noChangeAspect="1"/>
          </p:cNvSpPr>
          <p:nvPr/>
        </p:nvSpPr>
        <p:spPr bwMode="black">
          <a:xfrm rot="10800000" flipH="1">
            <a:off x="1397979" y="4335481"/>
            <a:ext cx="100510" cy="150763"/>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solidFill>
            <a:schemeClr val="tx1"/>
          </a:solidFill>
          <a:ln>
            <a:noFill/>
          </a:ln>
          <a:extLst/>
        </p:spPr>
        <p:txBody>
          <a:bodyPr vert="horz" wrap="square" lIns="91444" tIns="45722" rIns="91444" bIns="45722"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맑은 고딕" panose="020B0503020000020004" pitchFamily="34" charset="-127"/>
              <a:ea typeface="맑은 고딕" panose="020B0503020000020004" pitchFamily="34" charset="-127"/>
              <a:cs typeface="+mn-cs"/>
            </a:endParaRPr>
          </a:p>
        </p:txBody>
      </p:sp>
      <p:sp>
        <p:nvSpPr>
          <p:cNvPr id="211" name="Freeform 101"/>
          <p:cNvSpPr>
            <a:spLocks noChangeAspect="1"/>
          </p:cNvSpPr>
          <p:nvPr/>
        </p:nvSpPr>
        <p:spPr bwMode="black">
          <a:xfrm rot="10800000" flipH="1">
            <a:off x="1418480" y="4825658"/>
            <a:ext cx="100510" cy="150763"/>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solidFill>
            <a:schemeClr val="tx1"/>
          </a:solidFill>
          <a:ln>
            <a:noFill/>
          </a:ln>
          <a:extLst/>
        </p:spPr>
        <p:txBody>
          <a:bodyPr vert="horz" wrap="square" lIns="91444" tIns="45722" rIns="91444" bIns="45722"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맑은 고딕" panose="020B0503020000020004" pitchFamily="34" charset="-127"/>
              <a:ea typeface="맑은 고딕" panose="020B0503020000020004" pitchFamily="34" charset="-127"/>
              <a:cs typeface="+mn-cs"/>
            </a:endParaRPr>
          </a:p>
        </p:txBody>
      </p:sp>
      <p:sp>
        <p:nvSpPr>
          <p:cNvPr id="212" name="Freeform 101"/>
          <p:cNvSpPr>
            <a:spLocks noChangeAspect="1"/>
          </p:cNvSpPr>
          <p:nvPr/>
        </p:nvSpPr>
        <p:spPr bwMode="black">
          <a:xfrm rot="10800000" flipH="1">
            <a:off x="1398596" y="3821892"/>
            <a:ext cx="100510" cy="150763"/>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solidFill>
            <a:schemeClr val="tx1"/>
          </a:solidFill>
          <a:ln>
            <a:noFill/>
          </a:ln>
          <a:extLst/>
        </p:spPr>
        <p:txBody>
          <a:bodyPr vert="horz" wrap="square" lIns="91444" tIns="45722" rIns="91444" bIns="45722"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맑은 고딕" panose="020B0503020000020004" pitchFamily="34" charset="-127"/>
              <a:ea typeface="맑은 고딕" panose="020B0503020000020004" pitchFamily="34" charset="-127"/>
              <a:cs typeface="+mn-cs"/>
            </a:endParaRPr>
          </a:p>
        </p:txBody>
      </p:sp>
      <p:sp>
        <p:nvSpPr>
          <p:cNvPr id="213" name="Freeform 101"/>
          <p:cNvSpPr>
            <a:spLocks noChangeAspect="1"/>
          </p:cNvSpPr>
          <p:nvPr/>
        </p:nvSpPr>
        <p:spPr bwMode="black">
          <a:xfrm rot="10800000" flipH="1">
            <a:off x="1430022" y="5339247"/>
            <a:ext cx="100510" cy="150763"/>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solidFill>
            <a:schemeClr val="tx1"/>
          </a:solidFill>
          <a:ln>
            <a:noFill/>
          </a:ln>
          <a:extLst/>
        </p:spPr>
        <p:txBody>
          <a:bodyPr vert="horz" wrap="square" lIns="91444" tIns="45722" rIns="91444" bIns="45722"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맑은 고딕" panose="020B0503020000020004" pitchFamily="34" charset="-127"/>
              <a:ea typeface="맑은 고딕" panose="020B0503020000020004" pitchFamily="34" charset="-127"/>
              <a:cs typeface="+mn-cs"/>
            </a:endParaRPr>
          </a:p>
        </p:txBody>
      </p:sp>
      <p:sp>
        <p:nvSpPr>
          <p:cNvPr id="215" name="TextBox 214"/>
          <p:cNvSpPr txBox="1"/>
          <p:nvPr/>
        </p:nvSpPr>
        <p:spPr>
          <a:xfrm>
            <a:off x="1456348" y="3259149"/>
            <a:ext cx="1488854" cy="737472"/>
          </a:xfrm>
          <a:prstGeom prst="rect">
            <a:avLst/>
          </a:prstGeom>
          <a:noFill/>
        </p:spPr>
        <p:txBody>
          <a:bodyPr wrap="square" lIns="179285" tIns="143428" rIns="179285" bIns="143428" rtlCol="0">
            <a:spAutoFit/>
          </a:bodyPr>
          <a:lstStyle/>
          <a:p>
            <a:pPr marL="0" marR="0" lvl="0" indent="0" algn="ctr" defTabSz="914367" eaLnBrk="1" fontAlgn="auto" latinLnBrk="0" hangingPunct="1">
              <a:lnSpc>
                <a:spcPct val="90000"/>
              </a:lnSpc>
              <a:spcBef>
                <a:spcPts val="0"/>
              </a:spcBef>
              <a:spcAft>
                <a:spcPts val="588"/>
              </a:spcAft>
              <a:buClrTx/>
              <a:buSzTx/>
              <a:buFontTx/>
              <a:buNone/>
              <a:tabLst/>
              <a:defRPr/>
            </a:pPr>
            <a:r>
              <a:rPr kumimoji="0" lang="en-US" sz="1078" b="0" i="0" u="none" strike="noStrike" kern="0" cap="none" spc="0" normalizeH="0" baseline="0" noProof="0" dirty="0">
                <a:ln>
                  <a:noFill/>
                </a:ln>
                <a:solidFill>
                  <a:srgbClr val="ED7D31"/>
                </a:solidFill>
                <a:effectLst/>
                <a:uLnTx/>
                <a:uFillTx/>
                <a:latin typeface="맑은 고딕" panose="020B0503020000020004" pitchFamily="34" charset="-127"/>
                <a:ea typeface="맑은 고딕" panose="020B0503020000020004" pitchFamily="34" charset="-127"/>
              </a:rPr>
              <a:t>AMQP</a:t>
            </a:r>
            <a:br>
              <a:rPr kumimoji="0" lang="en-US" sz="1078" b="0" i="0" u="none" strike="noStrike" kern="0" cap="none" spc="0" normalizeH="0" baseline="0" noProof="0" dirty="0">
                <a:ln>
                  <a:noFill/>
                </a:ln>
                <a:solidFill>
                  <a:srgbClr val="ED7D31"/>
                </a:solidFill>
                <a:effectLst/>
                <a:uLnTx/>
                <a:uFillTx/>
                <a:latin typeface="맑은 고딕" panose="020B0503020000020004" pitchFamily="34" charset="-127"/>
                <a:ea typeface="맑은 고딕" panose="020B0503020000020004" pitchFamily="34" charset="-127"/>
              </a:rPr>
            </a:br>
            <a:r>
              <a:rPr kumimoji="0" lang="en-US" sz="1078" b="0" i="0" u="none" strike="noStrike" kern="0" cap="none" spc="0" normalizeH="0" baseline="0" noProof="0" dirty="0">
                <a:ln>
                  <a:noFill/>
                </a:ln>
                <a:solidFill>
                  <a:srgbClr val="ED7D31"/>
                </a:solidFill>
                <a:effectLst/>
                <a:uLnTx/>
                <a:uFillTx/>
                <a:latin typeface="맑은 고딕" panose="020B0503020000020004" pitchFamily="34" charset="-127"/>
                <a:ea typeface="맑은 고딕" panose="020B0503020000020004" pitchFamily="34" charset="-127"/>
              </a:rPr>
              <a:t>HTTPS, MQTT, OPC</a:t>
            </a:r>
          </a:p>
        </p:txBody>
      </p:sp>
      <p:sp>
        <p:nvSpPr>
          <p:cNvPr id="218" name="TextBox 217"/>
          <p:cNvSpPr txBox="1"/>
          <p:nvPr/>
        </p:nvSpPr>
        <p:spPr>
          <a:xfrm>
            <a:off x="1965090" y="5386634"/>
            <a:ext cx="2178369" cy="663797"/>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078" b="0" i="0" u="none" strike="noStrike" kern="1200" cap="none" spc="0" normalizeH="0" baseline="0" noProof="0" dirty="0">
                <a:ln>
                  <a:noFill/>
                </a:ln>
                <a:solidFill>
                  <a:srgbClr val="ED7D31"/>
                </a:solidFill>
                <a:effectLst/>
                <a:uLnTx/>
                <a:uFillTx/>
                <a:latin typeface="맑은 고딕" panose="020B0503020000020004" pitchFamily="34" charset="-127"/>
                <a:ea typeface="맑은 고딕" panose="020B0503020000020004" pitchFamily="34" charset="-127"/>
                <a:cs typeface="+mn-cs"/>
              </a:rPr>
              <a:t>VPN</a:t>
            </a:r>
          </a:p>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078" b="0" i="0" u="none" strike="noStrike" kern="1200" cap="none" spc="0" normalizeH="0" baseline="0" noProof="0" dirty="0">
                <a:ln>
                  <a:noFill/>
                </a:ln>
                <a:solidFill>
                  <a:srgbClr val="ED7D31"/>
                </a:solidFill>
                <a:effectLst/>
                <a:uLnTx/>
                <a:uFillTx/>
                <a:latin typeface="맑은 고딕" panose="020B0503020000020004" pitchFamily="34" charset="-127"/>
                <a:ea typeface="맑은 고딕" panose="020B0503020000020004" pitchFamily="34" charset="-127"/>
                <a:cs typeface="+mn-cs"/>
              </a:rPr>
              <a:t>LWM2M, HTTP, </a:t>
            </a:r>
            <a:r>
              <a:rPr kumimoji="0" lang="en-US" sz="1078" b="0" i="0" u="none" strike="noStrike" kern="1200" cap="none" spc="0" normalizeH="0" baseline="0" noProof="0" dirty="0" err="1">
                <a:ln>
                  <a:noFill/>
                </a:ln>
                <a:solidFill>
                  <a:srgbClr val="ED7D31"/>
                </a:solidFill>
                <a:effectLst/>
                <a:uLnTx/>
                <a:uFillTx/>
                <a:latin typeface="맑은 고딕" panose="020B0503020000020004" pitchFamily="34" charset="-127"/>
                <a:ea typeface="맑은 고딕" panose="020B0503020000020004" pitchFamily="34" charset="-127"/>
                <a:cs typeface="+mn-cs"/>
              </a:rPr>
              <a:t>CoAP</a:t>
            </a:r>
            <a:endParaRPr kumimoji="0" lang="en-US" sz="1078" b="0" i="0" u="none" strike="noStrike" kern="1200" cap="none" spc="0" normalizeH="0" baseline="0" noProof="0" dirty="0">
              <a:ln>
                <a:noFill/>
              </a:ln>
              <a:solidFill>
                <a:srgbClr val="ED7D31"/>
              </a:solidFill>
              <a:effectLst/>
              <a:uLnTx/>
              <a:uFillTx/>
              <a:latin typeface="맑은 고딕" panose="020B0503020000020004" pitchFamily="34" charset="-127"/>
              <a:ea typeface="맑은 고딕" panose="020B0503020000020004" pitchFamily="34" charset="-127"/>
              <a:cs typeface="+mn-cs"/>
            </a:endParaRPr>
          </a:p>
        </p:txBody>
      </p:sp>
      <p:sp>
        <p:nvSpPr>
          <p:cNvPr id="16" name="Frame 5"/>
          <p:cNvSpPr>
            <a:spLocks noChangeAspect="1"/>
          </p:cNvSpPr>
          <p:nvPr/>
        </p:nvSpPr>
        <p:spPr bwMode="auto">
          <a:xfrm>
            <a:off x="542005" y="27756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marL="0" marR="0" lvl="0" indent="0" algn="ctr" defTabSz="1074896" rtl="0" eaLnBrk="1" fontAlgn="base" latinLnBrk="1" hangingPunct="1">
              <a:lnSpc>
                <a:spcPct val="100000"/>
              </a:lnSpc>
              <a:spcBef>
                <a:spcPct val="0"/>
              </a:spcBef>
              <a:spcAft>
                <a:spcPct val="0"/>
              </a:spcAft>
              <a:buClrTx/>
              <a:buSzTx/>
              <a:buFontTx/>
              <a:buNone/>
              <a:tabLst/>
              <a:defRPr/>
            </a:pPr>
            <a:endParaRPr kumimoji="0" lang="en-US" sz="2353" b="0" i="0" u="none" strike="noStrike" kern="0" cap="none" spc="-59" normalizeH="0" baseline="0" noProof="0">
              <a:ln>
                <a:noFill/>
              </a:ln>
              <a:solidFill>
                <a:prstClr val="black"/>
              </a:solidFill>
              <a:effectLst/>
              <a:uLnTx/>
              <a:uFillTx/>
              <a:latin typeface="맑은 고딕" panose="020B0503020000020004" pitchFamily="34" charset="-127"/>
              <a:ea typeface="맑은 고딕" panose="020B0503020000020004" pitchFamily="34" charset="-127"/>
              <a:cs typeface="Segoe UI" pitchFamily="34" charset="0"/>
            </a:endParaRPr>
          </a:p>
        </p:txBody>
      </p:sp>
      <p:sp>
        <p:nvSpPr>
          <p:cNvPr id="20" name="Frame 5"/>
          <p:cNvSpPr>
            <a:spLocks noChangeAspect="1"/>
          </p:cNvSpPr>
          <p:nvPr/>
        </p:nvSpPr>
        <p:spPr bwMode="auto">
          <a:xfrm>
            <a:off x="551790" y="341975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marL="0" marR="0" lvl="0" indent="0" algn="ctr" defTabSz="1074896" rtl="0" eaLnBrk="1" fontAlgn="base" latinLnBrk="1" hangingPunct="1">
              <a:lnSpc>
                <a:spcPct val="100000"/>
              </a:lnSpc>
              <a:spcBef>
                <a:spcPct val="0"/>
              </a:spcBef>
              <a:spcAft>
                <a:spcPct val="0"/>
              </a:spcAft>
              <a:buClrTx/>
              <a:buSzTx/>
              <a:buFontTx/>
              <a:buNone/>
              <a:tabLst/>
              <a:defRPr/>
            </a:pPr>
            <a:endParaRPr kumimoji="0" lang="en-US" sz="2353" b="0" i="0" u="none" strike="noStrike" kern="0" cap="none" spc="-59" normalizeH="0" baseline="0" noProof="0">
              <a:ln>
                <a:noFill/>
              </a:ln>
              <a:solidFill>
                <a:prstClr val="black"/>
              </a:solidFill>
              <a:effectLst/>
              <a:uLnTx/>
              <a:uFillTx/>
              <a:latin typeface="맑은 고딕" panose="020B0503020000020004" pitchFamily="34" charset="-127"/>
              <a:ea typeface="맑은 고딕" panose="020B0503020000020004" pitchFamily="34" charset="-127"/>
              <a:cs typeface="Segoe UI" pitchFamily="34" charset="0"/>
            </a:endParaRPr>
          </a:p>
        </p:txBody>
      </p:sp>
      <p:sp>
        <p:nvSpPr>
          <p:cNvPr id="22" name="Frame 5"/>
          <p:cNvSpPr>
            <a:spLocks noChangeAspect="1"/>
          </p:cNvSpPr>
          <p:nvPr/>
        </p:nvSpPr>
        <p:spPr bwMode="auto">
          <a:xfrm>
            <a:off x="551612" y="378428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marL="0" marR="0" lvl="0" indent="0" algn="ctr" defTabSz="1074896" rtl="0" eaLnBrk="1" fontAlgn="base" latinLnBrk="1" hangingPunct="1">
              <a:lnSpc>
                <a:spcPct val="100000"/>
              </a:lnSpc>
              <a:spcBef>
                <a:spcPct val="0"/>
              </a:spcBef>
              <a:spcAft>
                <a:spcPct val="0"/>
              </a:spcAft>
              <a:buClrTx/>
              <a:buSzTx/>
              <a:buFontTx/>
              <a:buNone/>
              <a:tabLst/>
              <a:defRPr/>
            </a:pPr>
            <a:endParaRPr kumimoji="0" lang="en-US" sz="2353" b="0" i="0" u="none" strike="noStrike" kern="0" cap="none" spc="-59" normalizeH="0" baseline="0" noProof="0">
              <a:ln>
                <a:noFill/>
              </a:ln>
              <a:solidFill>
                <a:prstClr val="black"/>
              </a:solidFill>
              <a:effectLst/>
              <a:uLnTx/>
              <a:uFillTx/>
              <a:latin typeface="맑은 고딕" panose="020B0503020000020004" pitchFamily="34" charset="-127"/>
              <a:ea typeface="맑은 고딕" panose="020B0503020000020004" pitchFamily="34" charset="-127"/>
              <a:cs typeface="Segoe UI" pitchFamily="34" charset="0"/>
            </a:endParaRPr>
          </a:p>
        </p:txBody>
      </p:sp>
      <p:sp>
        <p:nvSpPr>
          <p:cNvPr id="26" name="Frame 5"/>
          <p:cNvSpPr>
            <a:spLocks noChangeAspect="1"/>
          </p:cNvSpPr>
          <p:nvPr/>
        </p:nvSpPr>
        <p:spPr bwMode="auto">
          <a:xfrm>
            <a:off x="542005" y="442243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marL="0" marR="0" lvl="0" indent="0" algn="ctr" defTabSz="1074896" rtl="0" eaLnBrk="1" fontAlgn="base" latinLnBrk="1" hangingPunct="1">
              <a:lnSpc>
                <a:spcPct val="100000"/>
              </a:lnSpc>
              <a:spcBef>
                <a:spcPct val="0"/>
              </a:spcBef>
              <a:spcAft>
                <a:spcPct val="0"/>
              </a:spcAft>
              <a:buClrTx/>
              <a:buSzTx/>
              <a:buFontTx/>
              <a:buNone/>
              <a:tabLst/>
              <a:defRPr/>
            </a:pPr>
            <a:endParaRPr kumimoji="0" lang="en-US" sz="2353" b="0" i="0" u="none" strike="noStrike" kern="0" cap="none" spc="-59" normalizeH="0" baseline="0" noProof="0">
              <a:ln>
                <a:noFill/>
              </a:ln>
              <a:solidFill>
                <a:prstClr val="black"/>
              </a:solidFill>
              <a:effectLst/>
              <a:uLnTx/>
              <a:uFillTx/>
              <a:latin typeface="맑은 고딕" panose="020B0503020000020004" pitchFamily="34" charset="-127"/>
              <a:ea typeface="맑은 고딕" panose="020B0503020000020004" pitchFamily="34" charset="-127"/>
              <a:cs typeface="Segoe UI" pitchFamily="34" charset="0"/>
            </a:endParaRPr>
          </a:p>
        </p:txBody>
      </p:sp>
      <p:sp>
        <p:nvSpPr>
          <p:cNvPr id="28" name="Frame 5"/>
          <p:cNvSpPr>
            <a:spLocks noChangeAspect="1"/>
          </p:cNvSpPr>
          <p:nvPr/>
        </p:nvSpPr>
        <p:spPr bwMode="auto">
          <a:xfrm>
            <a:off x="551535" y="4796320"/>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marL="0" marR="0" lvl="0" indent="0" algn="ctr" defTabSz="1074896" rtl="0" eaLnBrk="1" fontAlgn="base" latinLnBrk="1" hangingPunct="1">
              <a:lnSpc>
                <a:spcPct val="100000"/>
              </a:lnSpc>
              <a:spcBef>
                <a:spcPct val="0"/>
              </a:spcBef>
              <a:spcAft>
                <a:spcPct val="0"/>
              </a:spcAft>
              <a:buClrTx/>
              <a:buSzTx/>
              <a:buFontTx/>
              <a:buNone/>
              <a:tabLst/>
              <a:defRPr/>
            </a:pPr>
            <a:endParaRPr kumimoji="0" lang="en-US" sz="2353" b="0" i="0" u="none" strike="noStrike" kern="0" cap="none" spc="-59" normalizeH="0" baseline="0" noProof="0">
              <a:ln>
                <a:noFill/>
              </a:ln>
              <a:solidFill>
                <a:prstClr val="black"/>
              </a:solidFill>
              <a:effectLst/>
              <a:uLnTx/>
              <a:uFillTx/>
              <a:latin typeface="맑은 고딕" panose="020B0503020000020004" pitchFamily="34" charset="-127"/>
              <a:ea typeface="맑은 고딕" panose="020B0503020000020004" pitchFamily="34" charset="-127"/>
              <a:cs typeface="Segoe UI" pitchFamily="34" charset="0"/>
            </a:endParaRPr>
          </a:p>
        </p:txBody>
      </p:sp>
      <p:sp>
        <p:nvSpPr>
          <p:cNvPr id="30" name="Frame 5"/>
          <p:cNvSpPr>
            <a:spLocks noChangeAspect="1"/>
          </p:cNvSpPr>
          <p:nvPr/>
        </p:nvSpPr>
        <p:spPr bwMode="auto">
          <a:xfrm>
            <a:off x="551535" y="531983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marL="0" marR="0" lvl="0" indent="0" algn="ctr" defTabSz="1074896" rtl="0" eaLnBrk="1" fontAlgn="base" latinLnBrk="1" hangingPunct="1">
              <a:lnSpc>
                <a:spcPct val="100000"/>
              </a:lnSpc>
              <a:spcBef>
                <a:spcPct val="0"/>
              </a:spcBef>
              <a:spcAft>
                <a:spcPct val="0"/>
              </a:spcAft>
              <a:buClrTx/>
              <a:buSzTx/>
              <a:buFontTx/>
              <a:buNone/>
              <a:tabLst/>
              <a:defRPr/>
            </a:pPr>
            <a:endParaRPr kumimoji="0" lang="en-US" sz="2353" b="0" i="0" u="none" strike="noStrike" kern="0" cap="none" spc="-59" normalizeH="0" baseline="0" noProof="0">
              <a:ln>
                <a:noFill/>
              </a:ln>
              <a:solidFill>
                <a:prstClr val="black"/>
              </a:solidFill>
              <a:effectLst/>
              <a:uLnTx/>
              <a:uFillTx/>
              <a:latin typeface="맑은 고딕" panose="020B0503020000020004" pitchFamily="34" charset="-127"/>
              <a:ea typeface="맑은 고딕" panose="020B0503020000020004" pitchFamily="34" charset="-127"/>
              <a:cs typeface="Segoe UI" pitchFamily="34" charset="0"/>
            </a:endParaRPr>
          </a:p>
        </p:txBody>
      </p:sp>
      <p:cxnSp>
        <p:nvCxnSpPr>
          <p:cNvPr id="13" name="직선 화살표 연결선 12"/>
          <p:cNvCxnSpPr>
            <a:endCxn id="199" idx="1"/>
          </p:cNvCxnSpPr>
          <p:nvPr/>
        </p:nvCxnSpPr>
        <p:spPr>
          <a:xfrm>
            <a:off x="1447690" y="2928482"/>
            <a:ext cx="1755990" cy="132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1" name="직선 화살표 연결선 140"/>
          <p:cNvCxnSpPr/>
          <p:nvPr/>
        </p:nvCxnSpPr>
        <p:spPr>
          <a:xfrm flipV="1">
            <a:off x="1447689" y="3534772"/>
            <a:ext cx="3116810" cy="319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2" name="직선 화살표 연결선 141"/>
          <p:cNvCxnSpPr/>
          <p:nvPr/>
        </p:nvCxnSpPr>
        <p:spPr>
          <a:xfrm flipV="1">
            <a:off x="2864108" y="4200263"/>
            <a:ext cx="1699113" cy="245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1" name="Straight Arrow Connector 32"/>
          <p:cNvCxnSpPr/>
          <p:nvPr/>
        </p:nvCxnSpPr>
        <p:spPr>
          <a:xfrm>
            <a:off x="4098893" y="2939170"/>
            <a:ext cx="500564" cy="380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5" name="직선 화살표 연결선 44"/>
          <p:cNvCxnSpPr>
            <a:stCxn id="76" idx="1"/>
            <a:endCxn id="83" idx="3"/>
          </p:cNvCxnSpPr>
          <p:nvPr/>
        </p:nvCxnSpPr>
        <p:spPr>
          <a:xfrm flipH="1">
            <a:off x="7302640" y="4067392"/>
            <a:ext cx="2" cy="353508"/>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63" name="Picture 34"/>
          <p:cNvPicPr>
            <a:picLocks noChangeAspect="1"/>
          </p:cNvPicPr>
          <p:nvPr/>
        </p:nvPicPr>
        <p:blipFill>
          <a:blip r:embed="rId5" cstate="screen">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a:off x="7937604" y="5531323"/>
            <a:ext cx="592254" cy="592254"/>
          </a:xfrm>
          <a:prstGeom prst="rect">
            <a:avLst/>
          </a:prstGeom>
        </p:spPr>
      </p:pic>
      <p:sp>
        <p:nvSpPr>
          <p:cNvPr id="166" name="직사각형 165"/>
          <p:cNvSpPr/>
          <p:nvPr/>
        </p:nvSpPr>
        <p:spPr>
          <a:xfrm>
            <a:off x="6041196" y="4394484"/>
            <a:ext cx="2521784" cy="410323"/>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ko-KR" altLang="en-US" sz="1200" b="1" i="0" u="none" strike="noStrike" kern="0" cap="none" spc="0" normalizeH="0" baseline="0" noProof="0" dirty="0">
                <a:ln>
                  <a:noFill/>
                </a:ln>
                <a:solidFill>
                  <a:prstClr val="white"/>
                </a:solidFill>
                <a:effectLst/>
                <a:uLnTx/>
                <a:uFillTx/>
                <a:latin typeface="맑은 고딕" panose="020F0502020204030204"/>
                <a:ea typeface="맑은 고딕" panose="020B0503020000020004" pitchFamily="50" charset="-127"/>
              </a:rPr>
              <a:t>저상소 및 </a:t>
            </a:r>
            <a:r>
              <a:rPr kumimoji="0" lang="ko-KR" altLang="en-US" sz="1200" b="1" i="0" u="none" strike="noStrike" kern="1200" cap="none" spc="0" normalizeH="0" baseline="0" noProof="0" dirty="0">
                <a:ln>
                  <a:noFill/>
                </a:ln>
                <a:solidFill>
                  <a:prstClr val="white"/>
                </a:solidFill>
                <a:effectLst/>
                <a:uLnTx/>
                <a:uFillTx/>
                <a:latin typeface="맑은 고딕" panose="020F0502020204030204"/>
                <a:ea typeface="맑은 고딕" panose="020B0503020000020004" pitchFamily="50" charset="-127"/>
                <a:cs typeface="+mn-cs"/>
              </a:rPr>
              <a:t>분석</a:t>
            </a:r>
          </a:p>
        </p:txBody>
      </p:sp>
      <p:sp>
        <p:nvSpPr>
          <p:cNvPr id="168" name="직사각형 167"/>
          <p:cNvSpPr/>
          <p:nvPr/>
        </p:nvSpPr>
        <p:spPr>
          <a:xfrm>
            <a:off x="6028145" y="1758581"/>
            <a:ext cx="2548992" cy="418031"/>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ko-KR" altLang="en-US" sz="1200" b="1" i="0" u="none" strike="noStrike" kern="1200" cap="none" spc="0" normalizeH="0" baseline="0" noProof="0">
                <a:ln>
                  <a:noFill/>
                </a:ln>
                <a:solidFill>
                  <a:prstClr val="white"/>
                </a:solidFill>
                <a:effectLst/>
                <a:uLnTx/>
                <a:uFillTx/>
                <a:latin typeface="맑은 고딕" panose="020F0502020204030204"/>
                <a:ea typeface="맑은 고딕" panose="020B0503020000020004" pitchFamily="50" charset="-127"/>
                <a:cs typeface="+mn-cs"/>
              </a:rPr>
              <a:t>데이터 처리 및 저장</a:t>
            </a:r>
            <a:endParaRPr kumimoji="0" lang="ko-KR" altLang="en-US" sz="1600" b="0" i="0" u="none" strike="noStrike" kern="1200" cap="none" spc="0" normalizeH="0" baseline="0" noProof="0">
              <a:ln>
                <a:noFill/>
              </a:ln>
              <a:solidFill>
                <a:prstClr val="white"/>
              </a:solidFill>
              <a:effectLst/>
              <a:uLnTx/>
              <a:uFillTx/>
              <a:latin typeface="맑은 고딕" panose="020F0502020204030204"/>
              <a:ea typeface="맑은 고딕" panose="020B0503020000020004" pitchFamily="50" charset="-127"/>
              <a:cs typeface="+mn-cs"/>
            </a:endParaRPr>
          </a:p>
        </p:txBody>
      </p:sp>
      <p:sp>
        <p:nvSpPr>
          <p:cNvPr id="172" name="직사각형 171"/>
          <p:cNvSpPr/>
          <p:nvPr/>
        </p:nvSpPr>
        <p:spPr>
          <a:xfrm>
            <a:off x="8940547" y="1781099"/>
            <a:ext cx="2198665" cy="411356"/>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ko-KR" altLang="en-US" sz="1200" b="1" i="0" u="none" strike="noStrike" kern="1200" cap="none" spc="0" normalizeH="0" baseline="0" noProof="0">
                <a:ln>
                  <a:noFill/>
                </a:ln>
                <a:solidFill>
                  <a:prstClr val="white"/>
                </a:solidFill>
                <a:effectLst/>
                <a:uLnTx/>
                <a:uFillTx/>
                <a:latin typeface="맑은 고딕" panose="020F0502020204030204"/>
                <a:ea typeface="맑은 고딕" panose="020B0503020000020004" pitchFamily="50" charset="-127"/>
                <a:cs typeface="+mn-cs"/>
              </a:rPr>
              <a:t>프레젠테이션 및 활용 영역</a:t>
            </a:r>
          </a:p>
        </p:txBody>
      </p:sp>
      <p:sp>
        <p:nvSpPr>
          <p:cNvPr id="174" name="직사각형 173"/>
          <p:cNvSpPr/>
          <p:nvPr/>
        </p:nvSpPr>
        <p:spPr>
          <a:xfrm>
            <a:off x="505037" y="1763458"/>
            <a:ext cx="1257315" cy="428998"/>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lIns="0" tIns="0" rIns="0"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ko-KR" altLang="en-US" sz="1200" b="1" i="0" u="none" strike="noStrike" kern="1200" cap="none" spc="0" normalizeH="0" baseline="0" noProof="0">
                <a:ln>
                  <a:noFill/>
                </a:ln>
                <a:solidFill>
                  <a:prstClr val="white"/>
                </a:solidFill>
                <a:effectLst/>
                <a:uLnTx/>
                <a:uFillTx/>
                <a:latin typeface="맑은 고딕" panose="020F0502020204030204"/>
                <a:ea typeface="맑은 고딕" panose="020B0503020000020004" pitchFamily="50" charset="-127"/>
                <a:cs typeface="+mn-cs"/>
              </a:rPr>
              <a:t>디바이스 및 센서</a:t>
            </a:r>
          </a:p>
        </p:txBody>
      </p:sp>
      <p:sp>
        <p:nvSpPr>
          <p:cNvPr id="178" name="직사각형 177"/>
          <p:cNvSpPr/>
          <p:nvPr/>
        </p:nvSpPr>
        <p:spPr>
          <a:xfrm>
            <a:off x="1879315" y="1773129"/>
            <a:ext cx="3761362" cy="428998"/>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lIns="0" tIns="0" rIns="0"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ko-KR" altLang="en-US" sz="1200" b="1" i="0" u="none" strike="noStrike" kern="1200" cap="none" spc="0" normalizeH="0" baseline="0" noProof="0">
                <a:ln>
                  <a:noFill/>
                </a:ln>
                <a:solidFill>
                  <a:prstClr val="white"/>
                </a:solidFill>
                <a:effectLst/>
                <a:uLnTx/>
                <a:uFillTx/>
                <a:latin typeface="맑은 고딕" panose="020F0502020204030204"/>
                <a:ea typeface="맑은 고딕" panose="020B0503020000020004" pitchFamily="50" charset="-127"/>
                <a:cs typeface="+mn-cs"/>
              </a:rPr>
              <a:t>디바이스와 저장소 간의 연결</a:t>
            </a:r>
          </a:p>
        </p:txBody>
      </p:sp>
      <p:grpSp>
        <p:nvGrpSpPr>
          <p:cNvPr id="53" name="그룹 52"/>
          <p:cNvGrpSpPr/>
          <p:nvPr/>
        </p:nvGrpSpPr>
        <p:grpSpPr>
          <a:xfrm>
            <a:off x="10261066" y="841387"/>
            <a:ext cx="1765520" cy="678031"/>
            <a:chOff x="10261066" y="841387"/>
            <a:chExt cx="1765520" cy="678031"/>
          </a:xfrm>
        </p:grpSpPr>
        <p:sp>
          <p:nvSpPr>
            <p:cNvPr id="182" name="직사각형 181"/>
            <p:cNvSpPr/>
            <p:nvPr/>
          </p:nvSpPr>
          <p:spPr>
            <a:xfrm>
              <a:off x="10329037" y="841387"/>
              <a:ext cx="1697549" cy="607559"/>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맑은 고딕" panose="020F0502020204030204"/>
                <a:ea typeface="맑은 고딕" panose="020B0503020000020004" pitchFamily="50" charset="-127"/>
                <a:cs typeface="+mn-cs"/>
              </a:endParaRPr>
            </a:p>
          </p:txBody>
        </p:sp>
        <p:sp>
          <p:nvSpPr>
            <p:cNvPr id="183" name="TextBox 182"/>
            <p:cNvSpPr txBox="1"/>
            <p:nvPr/>
          </p:nvSpPr>
          <p:spPr>
            <a:xfrm>
              <a:off x="10261066" y="1063561"/>
              <a:ext cx="1379566" cy="455857"/>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ko-KR" altLang="en-US" sz="1200" b="0" i="0" u="none" strike="noStrike" kern="1200" cap="none" spc="0" normalizeH="0" baseline="0" noProof="0">
                  <a:ln>
                    <a:noFill/>
                  </a:ln>
                  <a:solidFill>
                    <a:srgbClr val="ED7D31"/>
                  </a:solidFill>
                  <a:effectLst/>
                  <a:uLnTx/>
                  <a:uFillTx/>
                  <a:latin typeface="맑은 고딕" panose="020B0503020000020004" pitchFamily="34" charset="-127"/>
                  <a:ea typeface="맑은 고딕" panose="020B0503020000020004" pitchFamily="34" charset="-127"/>
                  <a:cs typeface="+mn-cs"/>
                </a:rPr>
                <a:t>통신 프로토콜</a:t>
              </a:r>
              <a:endParaRPr kumimoji="0" lang="en-US" sz="1200" b="0" i="0" u="none" strike="noStrike" kern="1200" cap="none" spc="0" normalizeH="0" baseline="0" noProof="0">
                <a:ln>
                  <a:noFill/>
                </a:ln>
                <a:solidFill>
                  <a:srgbClr val="ED7D31"/>
                </a:solidFill>
                <a:effectLst/>
                <a:uLnTx/>
                <a:uFillTx/>
                <a:latin typeface="맑은 고딕" panose="020B0503020000020004" pitchFamily="34" charset="-127"/>
                <a:ea typeface="맑은 고딕" panose="020B0503020000020004" pitchFamily="34" charset="-127"/>
                <a:cs typeface="+mn-cs"/>
              </a:endParaRPr>
            </a:p>
          </p:txBody>
        </p:sp>
        <p:cxnSp>
          <p:nvCxnSpPr>
            <p:cNvPr id="184" name="Straight Arrow Connector 113"/>
            <p:cNvCxnSpPr/>
            <p:nvPr/>
          </p:nvCxnSpPr>
          <p:spPr>
            <a:xfrm>
              <a:off x="10476148" y="1014491"/>
              <a:ext cx="365760" cy="0"/>
            </a:xfrm>
            <a:prstGeom prst="straightConnector1">
              <a:avLst/>
            </a:prstGeom>
            <a:ln w="317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9" name="TextBox 218"/>
            <p:cNvSpPr txBox="1"/>
            <p:nvPr/>
          </p:nvSpPr>
          <p:spPr>
            <a:xfrm>
              <a:off x="10806481" y="870481"/>
              <a:ext cx="1220105" cy="281231"/>
            </a:xfrm>
            <a:prstGeom prst="rect">
              <a:avLst/>
            </a:prstGeom>
            <a:noFill/>
          </p:spPr>
          <p:txBody>
            <a:bodyPr wrap="square" rtlCol="0">
              <a:spAutoFit/>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ko-KR" altLang="en-US" sz="1200" b="0" i="0" u="none" strike="noStrike" kern="1200" cap="none" spc="0" normalizeH="0" baseline="0" noProof="0">
                  <a:ln>
                    <a:noFill/>
                  </a:ln>
                  <a:solidFill>
                    <a:prstClr val="black"/>
                  </a:solidFill>
                  <a:effectLst/>
                  <a:uLnTx/>
                  <a:uFillTx/>
                  <a:latin typeface="맑은 고딕" panose="020F0502020204030204"/>
                  <a:ea typeface="맑은 고딕" panose="020B0503020000020004" pitchFamily="50" charset="-127"/>
                  <a:cs typeface="+mn-cs"/>
                </a:rPr>
                <a:t>데이터의 흐름</a:t>
              </a:r>
            </a:p>
          </p:txBody>
        </p:sp>
      </p:grpSp>
      <p:pic>
        <p:nvPicPr>
          <p:cNvPr id="120" name="Picture 3"/>
          <p:cNvPicPr>
            <a:picLocks noChangeAspect="1"/>
          </p:cNvPicPr>
          <p:nvPr/>
        </p:nvPicPr>
        <p:blipFill>
          <a:blip r:embed="rId6">
            <a:biLevel thresh="25000"/>
            <a:extLst>
              <a:ext uri="{28A0092B-C50C-407E-A947-70E740481C1C}">
                <a14:useLocalDpi xmlns:a14="http://schemas.microsoft.com/office/drawing/2010/main"/>
              </a:ext>
            </a:extLst>
          </a:blip>
          <a:srcRect/>
          <a:stretch>
            <a:fillRect/>
          </a:stretch>
        </p:blipFill>
        <p:spPr bwMode="auto">
          <a:xfrm>
            <a:off x="8095591" y="4486244"/>
            <a:ext cx="290042" cy="305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0036828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16" name="cloud"/>
          <p:cNvSpPr>
            <a:spLocks noChangeAspect="1"/>
          </p:cNvSpPr>
          <p:nvPr/>
        </p:nvSpPr>
        <p:spPr bwMode="black">
          <a:xfrm>
            <a:off x="4031310" y="1378741"/>
            <a:ext cx="7308442" cy="428190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76200">
            <a:solidFill>
              <a:srgbClr val="89CBFF">
                <a:alpha val="40000"/>
              </a:srgbClr>
            </a:solidFill>
          </a:ln>
          <a:extLst/>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marL="0" marR="0" lvl="0" indent="0" algn="ctr" defTabSz="914400" rtl="0" eaLnBrk="1" fontAlgn="auto" latinLnBrk="1" hangingPunct="1">
              <a:lnSpc>
                <a:spcPct val="80000"/>
              </a:lnSpc>
              <a:spcBef>
                <a:spcPts val="0"/>
              </a:spcBef>
              <a:spcAft>
                <a:spcPts val="0"/>
              </a:spcAft>
              <a:buClrTx/>
              <a:buSzTx/>
              <a:buFontTx/>
              <a:buNone/>
              <a:tabLst/>
              <a:defRPr/>
            </a:pPr>
            <a:endParaRPr kumimoji="0" lang="en-US" sz="4400" b="0" i="0" u="none" strike="noStrike" kern="1200" cap="none" spc="-150" normalizeH="0" baseline="0" noProof="0">
              <a:ln>
                <a:noFill/>
              </a:ln>
              <a:solidFill>
                <a:prstClr val="black"/>
              </a:solidFill>
              <a:effectLst/>
              <a:uLnTx/>
              <a:uFillTx/>
              <a:latin typeface="맑은 고딕" panose="020B0503020000020004" pitchFamily="34" charset="-127"/>
              <a:ea typeface="맑은 고딕" panose="020B0503020000020004" pitchFamily="34" charset="-127"/>
              <a:cs typeface="+mn-cs"/>
            </a:endParaRPr>
          </a:p>
        </p:txBody>
      </p:sp>
      <p:sp>
        <p:nvSpPr>
          <p:cNvPr id="151" name="TextBox 150"/>
          <p:cNvSpPr txBox="1"/>
          <p:nvPr/>
        </p:nvSpPr>
        <p:spPr>
          <a:xfrm>
            <a:off x="1624362" y="4881981"/>
            <a:ext cx="1751242" cy="683125"/>
          </a:xfrm>
          <a:prstGeom prst="rect">
            <a:avLst/>
          </a:prstGeom>
          <a:noFill/>
        </p:spPr>
        <p:txBody>
          <a:bodyPr wrap="square" lIns="0" tIns="146262" rIns="182828" bIns="146262" rtlCol="0">
            <a:noAutofit/>
          </a:bodyPr>
          <a:lstStyle/>
          <a:p>
            <a:pPr marL="0" marR="0" lvl="0" indent="0" defTabSz="932384" eaLnBrk="1" fontAlgn="auto" latinLnBrk="0" hangingPunct="1">
              <a:lnSpc>
                <a:spcPct val="90000"/>
              </a:lnSpc>
              <a:spcBef>
                <a:spcPts val="0"/>
              </a:spcBef>
              <a:spcAft>
                <a:spcPts val="600"/>
              </a:spcAft>
              <a:buClrTx/>
              <a:buSzTx/>
              <a:buFontTx/>
              <a:buNone/>
              <a:tabLst/>
              <a:defRPr/>
            </a:pPr>
            <a:r>
              <a:rPr kumimoji="0" lang="en-US" sz="1176" b="0" i="0" u="none" strike="noStrike" kern="0" cap="none" spc="-30" normalizeH="0" baseline="0" noProof="0" dirty="0">
                <a:ln>
                  <a:noFill/>
                </a:ln>
                <a:solidFill>
                  <a:srgbClr val="0078D7"/>
                </a:solidFill>
                <a:effectLst/>
                <a:uLnTx/>
                <a:uFillTx/>
                <a:latin typeface="Segoe UI"/>
                <a:cs typeface="Segoe UI Semilight" panose="020B0402040204020203" pitchFamily="34" charset="0"/>
              </a:rPr>
              <a:t>Sensors on </a:t>
            </a:r>
          </a:p>
          <a:p>
            <a:pPr marL="0" marR="0" lvl="0" indent="0" defTabSz="932384" eaLnBrk="1" fontAlgn="auto" latinLnBrk="0" hangingPunct="1">
              <a:lnSpc>
                <a:spcPct val="90000"/>
              </a:lnSpc>
              <a:spcBef>
                <a:spcPts val="0"/>
              </a:spcBef>
              <a:spcAft>
                <a:spcPts val="600"/>
              </a:spcAft>
              <a:buClrTx/>
              <a:buSzTx/>
              <a:buFontTx/>
              <a:buNone/>
              <a:tabLst/>
              <a:defRPr/>
            </a:pPr>
            <a:r>
              <a:rPr kumimoji="0" lang="en-US" sz="1176" b="0" i="0" u="none" strike="noStrike" kern="0" cap="none" spc="-30" normalizeH="0" baseline="0" noProof="0" dirty="0">
                <a:ln>
                  <a:noFill/>
                </a:ln>
                <a:solidFill>
                  <a:srgbClr val="0078D7"/>
                </a:solidFill>
                <a:effectLst/>
                <a:uLnTx/>
                <a:uFillTx/>
                <a:latin typeface="Segoe UI"/>
                <a:cs typeface="Segoe UI Semilight" panose="020B0402040204020203" pitchFamily="34" charset="0"/>
              </a:rPr>
              <a:t>Windows 10 </a:t>
            </a:r>
            <a:r>
              <a:rPr kumimoji="0" lang="en-US" sz="1176" b="0" i="0" u="none" strike="noStrike" kern="0" cap="none" spc="-30" normalizeH="0" baseline="0" noProof="0" dirty="0" err="1">
                <a:ln>
                  <a:noFill/>
                </a:ln>
                <a:solidFill>
                  <a:srgbClr val="0078D7"/>
                </a:solidFill>
                <a:effectLst/>
                <a:uLnTx/>
                <a:uFillTx/>
                <a:latin typeface="Segoe UI"/>
                <a:cs typeface="Segoe UI Semilight" panose="020B0402040204020203" pitchFamily="34" charset="0"/>
              </a:rPr>
              <a:t>IoT</a:t>
            </a:r>
            <a:r>
              <a:rPr kumimoji="0" lang="en-US" sz="1176" b="0" i="0" u="none" strike="noStrike" kern="0" cap="none" spc="-30" normalizeH="0" baseline="0" noProof="0" dirty="0">
                <a:ln>
                  <a:noFill/>
                </a:ln>
                <a:solidFill>
                  <a:srgbClr val="0078D7"/>
                </a:solidFill>
                <a:effectLst/>
                <a:uLnTx/>
                <a:uFillTx/>
                <a:latin typeface="Segoe UI"/>
                <a:cs typeface="Segoe UI Semilight" panose="020B0402040204020203" pitchFamily="34" charset="0"/>
              </a:rPr>
              <a:t> Core </a:t>
            </a:r>
          </a:p>
        </p:txBody>
      </p:sp>
      <p:pic>
        <p:nvPicPr>
          <p:cNvPr id="168" name="Picture 16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26903" y="4858266"/>
            <a:ext cx="500340" cy="585432"/>
          </a:xfrm>
          <a:prstGeom prst="rect">
            <a:avLst/>
          </a:prstGeom>
        </p:spPr>
      </p:pic>
      <p:cxnSp>
        <p:nvCxnSpPr>
          <p:cNvPr id="14" name="Straight Arrow Connector 13"/>
          <p:cNvCxnSpPr/>
          <p:nvPr/>
        </p:nvCxnSpPr>
        <p:spPr>
          <a:xfrm>
            <a:off x="6730856" y="4561147"/>
            <a:ext cx="1410313" cy="0"/>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45" name="Group 144"/>
          <p:cNvGrpSpPr>
            <a:grpSpLocks noChangeAspect="1"/>
          </p:cNvGrpSpPr>
          <p:nvPr/>
        </p:nvGrpSpPr>
        <p:grpSpPr>
          <a:xfrm>
            <a:off x="8264891" y="4333353"/>
            <a:ext cx="701263" cy="448212"/>
            <a:chOff x="7884058" y="5368509"/>
            <a:chExt cx="324905" cy="207663"/>
          </a:xfrm>
          <a:solidFill>
            <a:schemeClr val="accent1"/>
          </a:solidFill>
        </p:grpSpPr>
        <p:sp>
          <p:nvSpPr>
            <p:cNvPr id="146"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grpFill/>
            <a:ln>
              <a:noFill/>
            </a:ln>
          </p:spPr>
          <p:txBody>
            <a:bodyPr vert="horz" wrap="square" lIns="89630" tIns="44814" rIns="89630" bIns="44814"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ndParaRPr>
            </a:p>
          </p:txBody>
        </p:sp>
        <p:sp>
          <p:nvSpPr>
            <p:cNvPr id="147"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grpFill/>
            <a:ln>
              <a:noFill/>
            </a:ln>
          </p:spPr>
          <p:txBody>
            <a:bodyPr vert="horz" wrap="square" lIns="89630" tIns="44814" rIns="89630" bIns="44814"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ndParaRPr>
            </a:p>
          </p:txBody>
        </p:sp>
        <p:sp>
          <p:nvSpPr>
            <p:cNvPr id="148"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grpFill/>
            <a:ln>
              <a:noFill/>
            </a:ln>
          </p:spPr>
          <p:txBody>
            <a:bodyPr vert="horz" wrap="square" lIns="89630" tIns="44814" rIns="89630" bIns="44814"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ndParaRPr>
            </a:p>
          </p:txBody>
        </p:sp>
        <p:sp>
          <p:nvSpPr>
            <p:cNvPr id="149"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grpFill/>
            <a:ln>
              <a:noFill/>
            </a:ln>
          </p:spPr>
          <p:txBody>
            <a:bodyPr vert="horz" wrap="square" lIns="89630" tIns="44814" rIns="89630" bIns="44814"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ndParaRPr>
            </a:p>
          </p:txBody>
        </p:sp>
        <p:sp>
          <p:nvSpPr>
            <p:cNvPr id="150"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grpFill/>
            <a:ln>
              <a:noFill/>
            </a:ln>
          </p:spPr>
          <p:txBody>
            <a:bodyPr vert="horz" wrap="square" lIns="89630" tIns="44814" rIns="89630" bIns="44814"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ndParaRPr>
            </a:p>
          </p:txBody>
        </p:sp>
      </p:grpSp>
      <p:sp>
        <p:nvSpPr>
          <p:cNvPr id="174" name="Freeform 173"/>
          <p:cNvSpPr>
            <a:spLocks noChangeAspect="1"/>
          </p:cNvSpPr>
          <p:nvPr/>
        </p:nvSpPr>
        <p:spPr bwMode="auto">
          <a:xfrm flipH="1">
            <a:off x="10128899" y="3162637"/>
            <a:ext cx="423542" cy="448212"/>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175" name="Group 174"/>
          <p:cNvGrpSpPr>
            <a:grpSpLocks noChangeAspect="1"/>
          </p:cNvGrpSpPr>
          <p:nvPr/>
        </p:nvGrpSpPr>
        <p:grpSpPr>
          <a:xfrm>
            <a:off x="8391648" y="3148606"/>
            <a:ext cx="365957" cy="448212"/>
            <a:chOff x="-3084513" y="3390510"/>
            <a:chExt cx="2716213" cy="3363913"/>
          </a:xfrm>
          <a:solidFill>
            <a:schemeClr val="accent1"/>
          </a:solidFill>
        </p:grpSpPr>
        <p:sp>
          <p:nvSpPr>
            <p:cNvPr id="176"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77"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sp>
        <p:nvSpPr>
          <p:cNvPr id="179" name="TextBox 178"/>
          <p:cNvSpPr txBox="1"/>
          <p:nvPr/>
        </p:nvSpPr>
        <p:spPr>
          <a:xfrm>
            <a:off x="8032986" y="3547997"/>
            <a:ext cx="1292760" cy="389721"/>
          </a:xfrm>
          <a:prstGeom prst="rect">
            <a:avLst/>
          </a:prstGeom>
          <a:noFill/>
        </p:spPr>
        <p:txBody>
          <a:bodyPr wrap="square" lIns="0" tIns="146262" rIns="182828" bIns="146262" rtlCol="0">
            <a:noAutofit/>
          </a:bodyPr>
          <a:lstStyle/>
          <a:p>
            <a:pPr marL="0" marR="0" lvl="0" indent="0" algn="ctr" defTabSz="932384" eaLnBrk="1" fontAlgn="auto" latinLnBrk="0" hangingPunct="1">
              <a:lnSpc>
                <a:spcPct val="90000"/>
              </a:lnSpc>
              <a:spcBef>
                <a:spcPts val="0"/>
              </a:spcBef>
              <a:spcAft>
                <a:spcPts val="600"/>
              </a:spcAft>
              <a:buClrTx/>
              <a:buSzTx/>
              <a:buFontTx/>
              <a:buNone/>
              <a:tabLst/>
              <a:defRPr/>
            </a:pPr>
            <a:r>
              <a:rPr kumimoji="0" lang="en-US" sz="1176" b="0" i="0" u="none" strike="noStrike" kern="0" cap="none" spc="-30" normalizeH="0" baseline="0" noProof="0" dirty="0">
                <a:ln>
                  <a:noFill/>
                </a:ln>
                <a:solidFill>
                  <a:srgbClr val="0078D7"/>
                </a:solidFill>
                <a:effectLst/>
                <a:uLnTx/>
                <a:uFillTx/>
                <a:latin typeface="Segoe UI"/>
                <a:cs typeface="Segoe UI Semilight" panose="020B0402040204020203" pitchFamily="34" charset="0"/>
              </a:rPr>
              <a:t>SQL Database</a:t>
            </a:r>
          </a:p>
        </p:txBody>
      </p:sp>
      <p:sp>
        <p:nvSpPr>
          <p:cNvPr id="180" name="TextBox 179"/>
          <p:cNvSpPr txBox="1"/>
          <p:nvPr/>
        </p:nvSpPr>
        <p:spPr>
          <a:xfrm>
            <a:off x="9769199" y="3547997"/>
            <a:ext cx="1342976" cy="683125"/>
          </a:xfrm>
          <a:prstGeom prst="rect">
            <a:avLst/>
          </a:prstGeom>
          <a:noFill/>
        </p:spPr>
        <p:txBody>
          <a:bodyPr wrap="square" lIns="0" tIns="146262" rIns="182828" bIns="146262" rtlCol="0">
            <a:noAutofit/>
          </a:bodyPr>
          <a:lstStyle/>
          <a:p>
            <a:pPr marL="0" marR="0" lvl="0" indent="0" algn="ctr" defTabSz="932384" eaLnBrk="1" fontAlgn="auto" latinLnBrk="0" hangingPunct="1">
              <a:lnSpc>
                <a:spcPct val="90000"/>
              </a:lnSpc>
              <a:spcBef>
                <a:spcPts val="0"/>
              </a:spcBef>
              <a:spcAft>
                <a:spcPts val="600"/>
              </a:spcAft>
              <a:buClrTx/>
              <a:buSzTx/>
              <a:buFontTx/>
              <a:buNone/>
              <a:tabLst/>
              <a:defRPr/>
            </a:pPr>
            <a:r>
              <a:rPr kumimoji="0" lang="en-US" sz="1176" b="0" i="0" u="none" strike="noStrike" kern="0" cap="none" spc="-30" normalizeH="0" baseline="0" noProof="0" dirty="0">
                <a:ln>
                  <a:noFill/>
                </a:ln>
                <a:solidFill>
                  <a:srgbClr val="0078D7"/>
                </a:solidFill>
                <a:effectLst/>
                <a:uLnTx/>
                <a:uFillTx/>
                <a:latin typeface="Segoe UI"/>
                <a:cs typeface="Segoe UI Semilight" panose="020B0402040204020203" pitchFamily="34" charset="0"/>
              </a:rPr>
              <a:t>Machine Learning</a:t>
            </a:r>
          </a:p>
        </p:txBody>
      </p:sp>
      <p:cxnSp>
        <p:nvCxnSpPr>
          <p:cNvPr id="181" name="Straight Arrow Connector 180"/>
          <p:cNvCxnSpPr/>
          <p:nvPr/>
        </p:nvCxnSpPr>
        <p:spPr>
          <a:xfrm rot="5400000" flipV="1">
            <a:off x="9452874" y="2971774"/>
            <a:ext cx="0" cy="896425"/>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7" name="TextBox 186"/>
          <p:cNvSpPr txBox="1"/>
          <p:nvPr/>
        </p:nvSpPr>
        <p:spPr>
          <a:xfrm>
            <a:off x="7912304" y="4726390"/>
            <a:ext cx="1505422" cy="389713"/>
          </a:xfrm>
          <a:prstGeom prst="rect">
            <a:avLst/>
          </a:prstGeom>
          <a:noFill/>
        </p:spPr>
        <p:txBody>
          <a:bodyPr wrap="square" lIns="0" tIns="146262" rIns="182828" bIns="146262" rtlCol="0">
            <a:noAutofit/>
          </a:bodyPr>
          <a:lstStyle/>
          <a:p>
            <a:pPr marL="0" marR="0" lvl="0" indent="0" algn="ctr" defTabSz="932384" eaLnBrk="1" fontAlgn="auto" latinLnBrk="0" hangingPunct="1">
              <a:lnSpc>
                <a:spcPct val="90000"/>
              </a:lnSpc>
              <a:spcBef>
                <a:spcPts val="0"/>
              </a:spcBef>
              <a:spcAft>
                <a:spcPts val="600"/>
              </a:spcAft>
              <a:buClrTx/>
              <a:buSzTx/>
              <a:buFontTx/>
              <a:buNone/>
              <a:tabLst/>
              <a:defRPr/>
            </a:pPr>
            <a:r>
              <a:rPr kumimoji="0" lang="en-US" sz="1176" b="0" i="0" u="none" strike="noStrike" kern="0" cap="none" spc="-30" normalizeH="0" baseline="0" noProof="0" dirty="0">
                <a:ln>
                  <a:noFill/>
                </a:ln>
                <a:solidFill>
                  <a:srgbClr val="0078D7"/>
                </a:solidFill>
                <a:effectLst/>
                <a:uLnTx/>
                <a:uFillTx/>
                <a:latin typeface="Segoe UI"/>
                <a:cs typeface="Segoe UI Semilight" panose="020B0402040204020203" pitchFamily="34" charset="0"/>
              </a:rPr>
              <a:t>Power BI</a:t>
            </a:r>
          </a:p>
        </p:txBody>
      </p:sp>
      <p:grpSp>
        <p:nvGrpSpPr>
          <p:cNvPr id="9" name="Group 8"/>
          <p:cNvGrpSpPr/>
          <p:nvPr/>
        </p:nvGrpSpPr>
        <p:grpSpPr>
          <a:xfrm>
            <a:off x="5527185" y="4267107"/>
            <a:ext cx="1773139" cy="1008740"/>
            <a:chOff x="8216216" y="4045897"/>
            <a:chExt cx="1475408" cy="817397"/>
          </a:xfrm>
        </p:grpSpPr>
        <p:grpSp>
          <p:nvGrpSpPr>
            <p:cNvPr id="164" name="Group 163"/>
            <p:cNvGrpSpPr>
              <a:grpSpLocks noChangeAspect="1"/>
            </p:cNvGrpSpPr>
            <p:nvPr/>
          </p:nvGrpSpPr>
          <p:grpSpPr>
            <a:xfrm>
              <a:off x="8494677" y="4045897"/>
              <a:ext cx="583465" cy="448212"/>
              <a:chOff x="1260022" y="5196402"/>
              <a:chExt cx="3273425" cy="2514600"/>
            </a:xfrm>
            <a:solidFill>
              <a:schemeClr val="accent1"/>
            </a:solidFill>
          </p:grpSpPr>
          <p:sp>
            <p:nvSpPr>
              <p:cNvPr id="169" name="Freeform 168"/>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70" name="Freeform 169"/>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71" name="Freeform 170"/>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72" name="Freeform 171"/>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188" name="TextBox 187"/>
            <p:cNvSpPr txBox="1"/>
            <p:nvPr/>
          </p:nvSpPr>
          <p:spPr>
            <a:xfrm>
              <a:off x="8216216" y="4473581"/>
              <a:ext cx="1475408" cy="389713"/>
            </a:xfrm>
            <a:prstGeom prst="rect">
              <a:avLst/>
            </a:prstGeom>
            <a:noFill/>
          </p:spPr>
          <p:txBody>
            <a:bodyPr wrap="square" lIns="0" tIns="146262" rIns="182828" bIns="146262" rtlCol="0">
              <a:noAutofit/>
            </a:bodyPr>
            <a:lstStyle/>
            <a:p>
              <a:pPr marL="0" marR="0" lvl="0" indent="0" algn="ctr" defTabSz="932384" eaLnBrk="1" fontAlgn="auto" latinLnBrk="0" hangingPunct="1">
                <a:lnSpc>
                  <a:spcPct val="90000"/>
                </a:lnSpc>
                <a:spcBef>
                  <a:spcPts val="0"/>
                </a:spcBef>
                <a:spcAft>
                  <a:spcPts val="600"/>
                </a:spcAft>
                <a:buClrTx/>
                <a:buSzTx/>
                <a:buFontTx/>
                <a:buNone/>
                <a:tabLst/>
                <a:defRPr/>
              </a:pPr>
              <a:r>
                <a:rPr kumimoji="0" lang="en-US" sz="1176" b="0" i="0" u="none" strike="noStrike" kern="0" cap="none" spc="-30" normalizeH="0" baseline="0" noProof="0" dirty="0">
                  <a:ln>
                    <a:noFill/>
                  </a:ln>
                  <a:solidFill>
                    <a:srgbClr val="0078D7"/>
                  </a:solidFill>
                  <a:effectLst/>
                  <a:uLnTx/>
                  <a:uFillTx/>
                  <a:latin typeface="Segoe UI"/>
                  <a:cs typeface="Segoe UI Semilight" panose="020B0402040204020203" pitchFamily="34" charset="0"/>
                </a:rPr>
                <a:t>Stream Analytics</a:t>
              </a:r>
            </a:p>
          </p:txBody>
        </p:sp>
      </p:grpSp>
      <p:cxnSp>
        <p:nvCxnSpPr>
          <p:cNvPr id="196" name="Straight Arrow Connector 195"/>
          <p:cNvCxnSpPr>
            <a:cxnSpLocks/>
          </p:cNvCxnSpPr>
          <p:nvPr/>
        </p:nvCxnSpPr>
        <p:spPr>
          <a:xfrm>
            <a:off x="2514721" y="4558240"/>
            <a:ext cx="1203371" cy="0"/>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p:nvPr/>
        </p:nvCxnSpPr>
        <p:spPr>
          <a:xfrm>
            <a:off x="7447862" y="5713007"/>
            <a:ext cx="693307" cy="2708"/>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a:off x="7447862" y="3406581"/>
            <a:ext cx="693307" cy="2708"/>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7446093" y="3406582"/>
            <a:ext cx="0" cy="2296703"/>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a:cxnSpLocks/>
          </p:cNvCxnSpPr>
          <p:nvPr/>
        </p:nvCxnSpPr>
        <p:spPr>
          <a:xfrm>
            <a:off x="4558766" y="4552833"/>
            <a:ext cx="1116937" cy="0"/>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75" name="Picture 176"/>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3841814" y="4237608"/>
            <a:ext cx="603134" cy="644373"/>
          </a:xfrm>
          <a:prstGeom prst="rect">
            <a:avLst/>
          </a:prstGeom>
          <a:solidFill>
            <a:schemeClr val="accent1">
              <a:lumMod val="75000"/>
            </a:schemeClr>
          </a:solidFill>
        </p:spPr>
      </p:pic>
      <p:sp>
        <p:nvSpPr>
          <p:cNvPr id="76" name="Rectangle 75"/>
          <p:cNvSpPr/>
          <p:nvPr/>
        </p:nvSpPr>
        <p:spPr>
          <a:xfrm>
            <a:off x="3688822" y="4912745"/>
            <a:ext cx="943510" cy="263969"/>
          </a:xfrm>
          <a:prstGeom prst="rect">
            <a:avLst/>
          </a:prstGeom>
        </p:spPr>
        <p:txBody>
          <a:bodyPr wrap="square">
            <a:spAutoFit/>
          </a:bodyPr>
          <a:lstStyle/>
          <a:p>
            <a:pPr marL="0" marR="0" lvl="0" indent="0" algn="ctr" defTabSz="914102" eaLnBrk="1" fontAlgn="base" latinLnBrk="0" hangingPunct="1">
              <a:lnSpc>
                <a:spcPct val="100000"/>
              </a:lnSpc>
              <a:spcBef>
                <a:spcPct val="0"/>
              </a:spcBef>
              <a:spcAft>
                <a:spcPct val="0"/>
              </a:spcAft>
              <a:buClrTx/>
              <a:buSzTx/>
              <a:buFontTx/>
              <a:buNone/>
              <a:tabLst/>
              <a:defRPr/>
            </a:pPr>
            <a:r>
              <a:rPr kumimoji="0" lang="en-US" sz="1176" b="0" i="0" u="none" strike="noStrike" kern="0" cap="none" spc="-30" normalizeH="0" baseline="0" noProof="0" dirty="0" err="1">
                <a:ln>
                  <a:noFill/>
                </a:ln>
                <a:solidFill>
                  <a:srgbClr val="0078D7"/>
                </a:solidFill>
                <a:effectLst/>
                <a:uLnTx/>
                <a:uFillTx/>
                <a:latin typeface="Segoe UI"/>
                <a:cs typeface="Segoe UI Semilight" panose="020B0402040204020203" pitchFamily="34" charset="0"/>
              </a:rPr>
              <a:t>IoT</a:t>
            </a:r>
            <a:r>
              <a:rPr kumimoji="0" lang="en-US" sz="1176" b="0" i="0" u="none" strike="noStrike" kern="0" cap="none" spc="-30" normalizeH="0" baseline="0" noProof="0" dirty="0">
                <a:ln>
                  <a:noFill/>
                </a:ln>
                <a:solidFill>
                  <a:srgbClr val="0078D7"/>
                </a:solidFill>
                <a:effectLst/>
                <a:uLnTx/>
                <a:uFillTx/>
                <a:latin typeface="Segoe UI"/>
                <a:cs typeface="Segoe UI Semilight" panose="020B0402040204020203" pitchFamily="34" charset="0"/>
              </a:rPr>
              <a:t> Hubs</a:t>
            </a:r>
          </a:p>
        </p:txBody>
      </p:sp>
      <p:sp>
        <p:nvSpPr>
          <p:cNvPr id="78" name="TextBox 77"/>
          <p:cNvSpPr txBox="1"/>
          <p:nvPr/>
        </p:nvSpPr>
        <p:spPr>
          <a:xfrm>
            <a:off x="7960392" y="5904775"/>
            <a:ext cx="1505422" cy="389713"/>
          </a:xfrm>
          <a:prstGeom prst="rect">
            <a:avLst/>
          </a:prstGeom>
          <a:noFill/>
        </p:spPr>
        <p:txBody>
          <a:bodyPr wrap="square" lIns="0" tIns="146262" rIns="182828" bIns="146262" rtlCol="0">
            <a:noAutofit/>
          </a:bodyPr>
          <a:lstStyle/>
          <a:p>
            <a:pPr marL="0" marR="0" lvl="0" indent="0" algn="ctr" defTabSz="932384" eaLnBrk="1" fontAlgn="auto" latinLnBrk="0" hangingPunct="1">
              <a:lnSpc>
                <a:spcPct val="90000"/>
              </a:lnSpc>
              <a:spcBef>
                <a:spcPts val="0"/>
              </a:spcBef>
              <a:spcAft>
                <a:spcPts val="600"/>
              </a:spcAft>
              <a:buClrTx/>
              <a:buSzTx/>
              <a:buFontTx/>
              <a:buNone/>
              <a:tabLst/>
              <a:defRPr/>
            </a:pPr>
            <a:endParaRPr kumimoji="0" lang="en-US" sz="1176" b="0" i="0" u="none" strike="noStrike" kern="0" cap="none" spc="-30" normalizeH="0" baseline="0" noProof="0" dirty="0">
              <a:ln>
                <a:noFill/>
              </a:ln>
              <a:solidFill>
                <a:srgbClr val="0078D7"/>
              </a:solidFill>
              <a:effectLst/>
              <a:uLnTx/>
              <a:uFillTx/>
              <a:latin typeface="Segoe UI"/>
              <a:cs typeface="Segoe UI Semilight" panose="020B0402040204020203" pitchFamily="34" charset="0"/>
            </a:endParaRPr>
          </a:p>
        </p:txBody>
      </p:sp>
      <p:sp>
        <p:nvSpPr>
          <p:cNvPr id="13" name="Rectangle 12"/>
          <p:cNvSpPr/>
          <p:nvPr/>
        </p:nvSpPr>
        <p:spPr bwMode="auto">
          <a:xfrm>
            <a:off x="0" y="6008592"/>
            <a:ext cx="12192000" cy="84940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chemeClr val="tx1"/>
              </a:solidFill>
              <a:effectLst/>
              <a:uLnTx/>
              <a:uFillTx/>
              <a:ea typeface="Segoe UI" pitchFamily="34" charset="0"/>
              <a:cs typeface="Segoe UI" pitchFamily="34" charset="0"/>
            </a:endParaRPr>
          </a:p>
        </p:txBody>
      </p:sp>
      <p:pic>
        <p:nvPicPr>
          <p:cNvPr id="15" name="Picture 14"/>
          <p:cNvPicPr>
            <a:picLocks noChangeAspect="1"/>
          </p:cNvPicPr>
          <p:nvPr/>
        </p:nvPicPr>
        <p:blipFill>
          <a:blip r:embed="rId5"/>
          <a:stretch>
            <a:fillRect/>
          </a:stretch>
        </p:blipFill>
        <p:spPr>
          <a:xfrm>
            <a:off x="1153858" y="3706982"/>
            <a:ext cx="1306528" cy="1247140"/>
          </a:xfrm>
          <a:prstGeom prst="rect">
            <a:avLst/>
          </a:prstGeom>
        </p:spPr>
      </p:pic>
      <p:sp>
        <p:nvSpPr>
          <p:cNvPr id="82" name="TextBox 81"/>
          <p:cNvSpPr txBox="1"/>
          <p:nvPr/>
        </p:nvSpPr>
        <p:spPr>
          <a:xfrm>
            <a:off x="7642214" y="5976988"/>
            <a:ext cx="2064044" cy="452522"/>
          </a:xfrm>
          <a:prstGeom prst="rect">
            <a:avLst/>
          </a:prstGeom>
          <a:noFill/>
        </p:spPr>
        <p:txBody>
          <a:bodyPr wrap="square" lIns="179285" tIns="143428" rIns="179285" bIns="143428" rtlCol="0">
            <a:spAutoFit/>
          </a:bodyPr>
          <a:lstStyle/>
          <a:p>
            <a:pPr marL="0" marR="0" lvl="0" indent="0" algn="ctr" defTabSz="932384" eaLnBrk="1" fontAlgn="auto" latinLnBrk="0" hangingPunct="1">
              <a:lnSpc>
                <a:spcPct val="90000"/>
              </a:lnSpc>
              <a:spcBef>
                <a:spcPts val="0"/>
              </a:spcBef>
              <a:spcAft>
                <a:spcPts val="600"/>
              </a:spcAft>
              <a:buClrTx/>
              <a:buSzTx/>
              <a:buFontTx/>
              <a:buNone/>
              <a:tabLst/>
              <a:defRPr/>
            </a:pPr>
            <a:r>
              <a:rPr kumimoji="0" lang="en-US" sz="1176" b="0" i="0" u="none" strike="noStrike" kern="0" cap="none" spc="-30" normalizeH="0" baseline="0" noProof="0" dirty="0">
                <a:ln>
                  <a:noFill/>
                </a:ln>
                <a:solidFill>
                  <a:srgbClr val="0078D7"/>
                </a:solidFill>
                <a:effectLst/>
                <a:uLnTx/>
                <a:uFillTx/>
                <a:latin typeface="Segoe UI"/>
                <a:cs typeface="Segoe UI Semilight" panose="020B0402040204020203" pitchFamily="34" charset="0"/>
              </a:rPr>
              <a:t>Blob / Table</a:t>
            </a:r>
          </a:p>
        </p:txBody>
      </p:sp>
      <p:pic>
        <p:nvPicPr>
          <p:cNvPr id="83" name="Picture 82"/>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235302" y="5304154"/>
            <a:ext cx="798262" cy="798262"/>
          </a:xfrm>
          <a:prstGeom prst="rect">
            <a:avLst/>
          </a:prstGeom>
        </p:spPr>
      </p:pic>
      <p:grpSp>
        <p:nvGrpSpPr>
          <p:cNvPr id="18" name="Group 17"/>
          <p:cNvGrpSpPr/>
          <p:nvPr/>
        </p:nvGrpSpPr>
        <p:grpSpPr>
          <a:xfrm>
            <a:off x="8987390" y="1268528"/>
            <a:ext cx="1351891" cy="1368949"/>
            <a:chOff x="5296450" y="255916"/>
            <a:chExt cx="1351891" cy="1368949"/>
          </a:xfrm>
        </p:grpSpPr>
        <p:sp>
          <p:nvSpPr>
            <p:cNvPr id="84" name="Rectangle 83"/>
            <p:cNvSpPr/>
            <p:nvPr/>
          </p:nvSpPr>
          <p:spPr bwMode="auto">
            <a:xfrm>
              <a:off x="5296450" y="255916"/>
              <a:ext cx="1351891" cy="13689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marL="0" marR="0" lvl="0" indent="0" algn="ctr" defTabSz="724873" eaLnBrk="1" fontAlgn="auto" latinLnBrk="0" hangingPunct="1">
                <a:lnSpc>
                  <a:spcPct val="100000"/>
                </a:lnSpc>
                <a:spcBef>
                  <a:spcPct val="0"/>
                </a:spcBef>
                <a:spcAft>
                  <a:spcPct val="3500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Semibold" panose="020B0702040204020203" pitchFamily="34" charset="0"/>
                  <a:cs typeface="Segoe UI Semibold" panose="020B0702040204020203" pitchFamily="34" charset="0"/>
                </a:rPr>
                <a:t>Cortana </a:t>
              </a:r>
            </a:p>
            <a:p>
              <a:pPr marL="0" marR="0" lvl="0" indent="0" algn="ctr" defTabSz="724873" eaLnBrk="1" fontAlgn="auto" latinLnBrk="0" hangingPunct="1">
                <a:lnSpc>
                  <a:spcPct val="100000"/>
                </a:lnSpc>
                <a:spcBef>
                  <a:spcPct val="0"/>
                </a:spcBef>
                <a:spcAft>
                  <a:spcPct val="3500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Semibold" panose="020B0702040204020203" pitchFamily="34" charset="0"/>
                  <a:cs typeface="Segoe UI Semibold" panose="020B0702040204020203" pitchFamily="34" charset="0"/>
                </a:rPr>
                <a:t>Cognitive Services</a:t>
              </a:r>
            </a:p>
          </p:txBody>
        </p:sp>
        <p:grpSp>
          <p:nvGrpSpPr>
            <p:cNvPr id="100" name="Group 99"/>
            <p:cNvGrpSpPr/>
            <p:nvPr/>
          </p:nvGrpSpPr>
          <p:grpSpPr>
            <a:xfrm>
              <a:off x="5509715" y="965145"/>
              <a:ext cx="844662" cy="596049"/>
              <a:chOff x="7822816" y="2717080"/>
              <a:chExt cx="427431" cy="274077"/>
            </a:xfrm>
          </p:grpSpPr>
          <p:sp>
            <p:nvSpPr>
              <p:cNvPr id="101" name="Freeform 100"/>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chemeClr val="tx1"/>
              </a:solidFill>
              <a:ln>
                <a:noFill/>
              </a:ln>
            </p:spPr>
            <p:txBody>
              <a:bodyPr vert="horz" wrap="square" lIns="91427" tIns="45713" rIns="91427" bIns="45713" numCol="1" anchor="t" anchorCtr="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02"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cxnSp>
        <p:nvCxnSpPr>
          <p:cNvPr id="109" name="Straight Arrow Connector 108"/>
          <p:cNvCxnSpPr>
            <a:cxnSpLocks/>
          </p:cNvCxnSpPr>
          <p:nvPr/>
        </p:nvCxnSpPr>
        <p:spPr>
          <a:xfrm>
            <a:off x="1525474" y="1982591"/>
            <a:ext cx="6866174" cy="0"/>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a:cxnSpLocks/>
          </p:cNvCxnSpPr>
          <p:nvPr/>
        </p:nvCxnSpPr>
        <p:spPr>
          <a:xfrm>
            <a:off x="1525474" y="1989046"/>
            <a:ext cx="0" cy="1959961"/>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7" name="Rectangle 116"/>
          <p:cNvSpPr/>
          <p:nvPr/>
        </p:nvSpPr>
        <p:spPr bwMode="auto">
          <a:xfrm>
            <a:off x="83048" y="22072"/>
            <a:ext cx="5070765" cy="7384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dirty="0">
                <a:ln>
                  <a:noFill/>
                </a:ln>
                <a:solidFill>
                  <a:schemeClr val="bg1">
                    <a:lumMod val="75000"/>
                  </a:schemeClr>
                </a:solidFill>
                <a:effectLst/>
                <a:uLnTx/>
                <a:uFillTx/>
                <a:ea typeface="Segoe UI" pitchFamily="34" charset="0"/>
                <a:cs typeface="Segoe UI" pitchFamily="34" charset="0"/>
              </a:rPr>
              <a:t>DEMO </a:t>
            </a:r>
          </a:p>
        </p:txBody>
      </p:sp>
      <p:cxnSp>
        <p:nvCxnSpPr>
          <p:cNvPr id="118" name="Straight Connector 117"/>
          <p:cNvCxnSpPr>
            <a:cxnSpLocks/>
          </p:cNvCxnSpPr>
          <p:nvPr/>
        </p:nvCxnSpPr>
        <p:spPr>
          <a:xfrm>
            <a:off x="0" y="722488"/>
            <a:ext cx="12192000" cy="0"/>
          </a:xfrm>
          <a:prstGeom prst="line">
            <a:avLst/>
          </a:prstGeom>
          <a:ln w="76200">
            <a:solidFill>
              <a:schemeClr val="tx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6331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081335" y="791570"/>
            <a:ext cx="5603137" cy="960263"/>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lang="en-US" altLang="ko-KR" sz="4800" b="1" kern="0" dirty="0">
                <a:solidFill>
                  <a:schemeClr val="bg1"/>
                </a:solidFill>
              </a:rPr>
              <a:t>Machine Learning</a:t>
            </a:r>
            <a:endParaRPr kumimoji="0" lang="ko-KR" altLang="en-US" sz="2400" b="0" i="0" u="none" strike="noStrike" kern="0" cap="none" spc="0" normalizeH="0" baseline="0" noProof="0" dirty="0">
              <a:ln>
                <a:noFill/>
              </a:ln>
              <a:solidFill>
                <a:schemeClr val="bg1"/>
              </a:solidFill>
              <a:effectLst/>
              <a:uLnTx/>
              <a:uFillTx/>
            </a:endParaRPr>
          </a:p>
        </p:txBody>
      </p:sp>
      <p:pic>
        <p:nvPicPr>
          <p:cNvPr id="3" name="그림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98949" y="2342737"/>
            <a:ext cx="5167908" cy="3653872"/>
          </a:xfrm>
          <a:prstGeom prst="rect">
            <a:avLst/>
          </a:prstGeom>
        </p:spPr>
      </p:pic>
    </p:spTree>
    <p:extLst>
      <p:ext uri="{BB962C8B-B14F-4D97-AF65-F5344CB8AC3E}">
        <p14:creationId xmlns:p14="http://schemas.microsoft.com/office/powerpoint/2010/main" val="3001570278"/>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마이크로소프트 애저 머신러닝(Microsoft Azure Machine Learning)이란">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8000"/>
          </a:xfrm>
          <a:prstGeom prst="rect">
            <a:avLst/>
          </a:prstGeom>
        </p:spPr>
      </p:pic>
    </p:spTree>
    <p:extLst>
      <p:ext uri="{BB962C8B-B14F-4D97-AF65-F5344CB8AC3E}">
        <p14:creationId xmlns:p14="http://schemas.microsoft.com/office/powerpoint/2010/main" val="6677606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17260"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직사각형 3"/>
          <p:cNvSpPr/>
          <p:nvPr/>
        </p:nvSpPr>
        <p:spPr>
          <a:xfrm>
            <a:off x="618738" y="658729"/>
            <a:ext cx="10658118" cy="707886"/>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ko-KR" altLang="en-US" sz="4000" b="1" i="0" u="none" strike="noStrike" kern="0" cap="none" spc="0" normalizeH="0" baseline="0" noProof="0" dirty="0">
                <a:ln>
                  <a:noFill/>
                </a:ln>
                <a:solidFill>
                  <a:sysClr val="windowText" lastClr="000000"/>
                </a:solidFill>
                <a:effectLst/>
                <a:uLnTx/>
                <a:uFillTx/>
              </a:rPr>
              <a:t>https://github.com/KoreaEva</a:t>
            </a:r>
          </a:p>
        </p:txBody>
      </p:sp>
      <p:pic>
        <p:nvPicPr>
          <p:cNvPr id="1028" name="Picture 4" descr="20160509_192457_410171953.png 샤샤샤 사나 레전드 움짤&amp;사진"/>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71699" y="1712714"/>
            <a:ext cx="7670801" cy="43148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02021025"/>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28"/>
                                        </p:tgtEl>
                                        <p:attrNameLst>
                                          <p:attrName>style.visibility</p:attrName>
                                        </p:attrNameLst>
                                      </p:cBhvr>
                                      <p:to>
                                        <p:strVal val="visible"/>
                                      </p:to>
                                    </p:set>
                                    <p:animEffect transition="in" filter="fade">
                                      <p:cBhvr>
                                        <p:cTn id="7" dur="500"/>
                                        <p:tgtEl>
                                          <p:spTgt spid="10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dirty="0"/>
              <a:t>Microsoft &amp; Machine Learning</a:t>
            </a:r>
            <a:br>
              <a:rPr lang="en-AU" dirty="0"/>
            </a:br>
            <a:r>
              <a:rPr lang="en-AU" sz="3529" dirty="0"/>
              <a:t>15 years of realizing innovation</a:t>
            </a:r>
            <a:endParaRPr lang="en-AU" sz="4313" dirty="0"/>
          </a:p>
        </p:txBody>
      </p:sp>
      <p:sp>
        <p:nvSpPr>
          <p:cNvPr id="99" name="Rectangle 98"/>
          <p:cNvSpPr/>
          <p:nvPr/>
        </p:nvSpPr>
        <p:spPr>
          <a:xfrm>
            <a:off x="1817750" y="5078118"/>
            <a:ext cx="10374251" cy="1488370"/>
          </a:xfrm>
          <a:prstGeom prst="rect">
            <a:avLst/>
          </a:prstGeom>
          <a:solidFill>
            <a:srgbClr val="000000">
              <a:alpha val="20000"/>
            </a:srgbClr>
          </a:solidFill>
          <a:ln>
            <a:noFill/>
            <a:headEnd type="none" w="med" len="med"/>
            <a:tailEnd type="none" w="med" len="med"/>
          </a:ln>
          <a:effectLst/>
        </p:spPr>
        <p:txBody>
          <a:bodyPr vert="horz" wrap="square" lIns="89642" tIns="89642" rIns="179285" bIns="45693" numCol="1" rtlCol="0" anchor="ctr" anchorCtr="0" compatLnSpc="1">
            <a:prstTxWarp prst="textNoShape">
              <a:avLst/>
            </a:prstTxWarp>
          </a:bodyPr>
          <a:lstStyle/>
          <a:p>
            <a:pPr marL="0" marR="0" lvl="0" indent="0" algn="r" defTabSz="913561" eaLnBrk="1" fontAlgn="base" latinLnBrk="0" hangingPunct="1">
              <a:lnSpc>
                <a:spcPct val="100000"/>
              </a:lnSpc>
              <a:spcBef>
                <a:spcPts val="1176"/>
              </a:spcBef>
              <a:spcAft>
                <a:spcPts val="1176"/>
              </a:spcAft>
              <a:buClrTx/>
              <a:buSzTx/>
              <a:buFontTx/>
              <a:buNone/>
              <a:tabLst/>
              <a:defRPr/>
            </a:pPr>
            <a:endParaRPr kumimoji="0" lang="en-GB" sz="2745" b="0" i="1" u="none" strike="noStrike" kern="0" cap="none" spc="0" normalizeH="0" baseline="0" noProof="0" dirty="0">
              <a:ln>
                <a:noFill/>
              </a:ln>
              <a:solidFill>
                <a:schemeClr val="bg1"/>
              </a:solidFill>
              <a:effectLst/>
              <a:uLnTx/>
              <a:uFillTx/>
              <a:latin typeface="+mj-lt"/>
            </a:endParaRPr>
          </a:p>
        </p:txBody>
      </p:sp>
      <p:sp>
        <p:nvSpPr>
          <p:cNvPr id="51" name="Rectangle 50"/>
          <p:cNvSpPr/>
          <p:nvPr/>
        </p:nvSpPr>
        <p:spPr bwMode="auto">
          <a:xfrm>
            <a:off x="3712023" y="2717832"/>
            <a:ext cx="1434280" cy="1585494"/>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ts val="588"/>
              </a:spcBef>
              <a:spcAft>
                <a:spcPct val="0"/>
              </a:spcAft>
              <a:buClrTx/>
              <a:buSzTx/>
              <a:buFontTx/>
              <a:buNone/>
              <a:tabLst/>
              <a:defRPr/>
            </a:pPr>
            <a:r>
              <a:rPr kumimoji="0" lang="en-US" sz="1568" b="0" i="0" u="none" strike="noStrike" kern="0" cap="none" spc="0" normalizeH="0" baseline="0" noProof="0" dirty="0">
                <a:ln>
                  <a:noFill/>
                </a:ln>
                <a:solidFill>
                  <a:schemeClr val="tx1"/>
                </a:solidFill>
                <a:effectLst/>
                <a:uLnTx/>
                <a:uFillTx/>
              </a:rPr>
              <a:t>SQL Server enables </a:t>
            </a:r>
            <a:br>
              <a:rPr kumimoji="0" lang="en-US" sz="1568" b="0" i="0" u="none" strike="noStrike" kern="0" cap="none" spc="0" normalizeH="0" baseline="0" noProof="0" dirty="0">
                <a:ln>
                  <a:noFill/>
                </a:ln>
                <a:solidFill>
                  <a:schemeClr val="tx1"/>
                </a:solidFill>
                <a:effectLst/>
                <a:uLnTx/>
                <a:uFillTx/>
              </a:rPr>
            </a:br>
            <a:r>
              <a:rPr kumimoji="0" lang="en-US" sz="1568" b="0" i="0" u="none" strike="noStrike" kern="0" cap="none" spc="0" normalizeH="0" baseline="0" noProof="0" dirty="0">
                <a:ln>
                  <a:noFill/>
                </a:ln>
                <a:solidFill>
                  <a:schemeClr val="tx1"/>
                </a:solidFill>
                <a:effectLst/>
                <a:uLnTx/>
                <a:uFillTx/>
              </a:rPr>
              <a:t>data mining</a:t>
            </a:r>
            <a:endParaRPr kumimoji="0" lang="en-IN" sz="1568" b="0" i="0" u="none" strike="noStrike" kern="0" cap="none" spc="0" normalizeH="0" baseline="0" noProof="0" dirty="0">
              <a:ln>
                <a:noFill/>
              </a:ln>
              <a:solidFill>
                <a:schemeClr val="tx1"/>
              </a:solidFill>
              <a:effectLst/>
              <a:uLnTx/>
              <a:uFillTx/>
              <a:ea typeface="Segoe UI" pitchFamily="34" charset="0"/>
              <a:cs typeface="Segoe UI" pitchFamily="34" charset="0"/>
            </a:endParaRPr>
          </a:p>
        </p:txBody>
      </p:sp>
      <p:sp>
        <p:nvSpPr>
          <p:cNvPr id="52" name="Rectangle 51"/>
          <p:cNvSpPr/>
          <p:nvPr/>
        </p:nvSpPr>
        <p:spPr bwMode="auto">
          <a:xfrm>
            <a:off x="407076" y="2717832"/>
            <a:ext cx="1434280" cy="1585494"/>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ts val="588"/>
              </a:spcBef>
              <a:spcAft>
                <a:spcPct val="0"/>
              </a:spcAft>
              <a:buClrTx/>
              <a:buSzTx/>
              <a:buFontTx/>
              <a:buNone/>
              <a:tabLst/>
              <a:defRPr/>
            </a:pPr>
            <a:r>
              <a:rPr kumimoji="0" lang="en-IN" sz="1568" b="0" i="0" u="none" strike="noStrike" kern="0" cap="none" spc="0" normalizeH="0" baseline="0" noProof="0" dirty="0">
                <a:ln>
                  <a:noFill/>
                </a:ln>
                <a:solidFill>
                  <a:schemeClr val="tx1"/>
                </a:solidFill>
                <a:effectLst/>
                <a:uLnTx/>
                <a:uFillTx/>
                <a:ea typeface="Segoe UI" pitchFamily="34" charset="0"/>
                <a:cs typeface="Segoe UI" pitchFamily="34" charset="0"/>
              </a:rPr>
              <a:t>Computers work on users behalf, filtering junk email</a:t>
            </a:r>
          </a:p>
        </p:txBody>
      </p:sp>
      <p:sp>
        <p:nvSpPr>
          <p:cNvPr id="53" name="Rectangle 52"/>
          <p:cNvSpPr/>
          <p:nvPr/>
        </p:nvSpPr>
        <p:spPr bwMode="auto">
          <a:xfrm>
            <a:off x="7016969" y="2717832"/>
            <a:ext cx="1434280" cy="1585494"/>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ts val="588"/>
              </a:spcBef>
              <a:spcAft>
                <a:spcPct val="0"/>
              </a:spcAft>
              <a:buClrTx/>
              <a:buSzTx/>
              <a:buFontTx/>
              <a:buNone/>
              <a:tabLst/>
              <a:defRPr/>
            </a:pPr>
            <a:r>
              <a:rPr kumimoji="0" lang="en-IN" sz="1568" b="0" i="0" u="none" strike="noStrike" kern="0" cap="none" spc="0" normalizeH="0" baseline="0" noProof="0" dirty="0">
                <a:ln>
                  <a:noFill/>
                </a:ln>
                <a:solidFill>
                  <a:schemeClr val="tx1"/>
                </a:solidFill>
                <a:effectLst/>
                <a:uLnTx/>
                <a:uFillTx/>
                <a:ea typeface="Segoe UI" pitchFamily="34" charset="0"/>
                <a:cs typeface="Segoe UI" pitchFamily="34" charset="0"/>
              </a:rPr>
              <a:t>Microsoft Kinect can watch users gestures</a:t>
            </a:r>
          </a:p>
        </p:txBody>
      </p:sp>
      <p:sp>
        <p:nvSpPr>
          <p:cNvPr id="54" name="Rectangle 53"/>
          <p:cNvSpPr/>
          <p:nvPr/>
        </p:nvSpPr>
        <p:spPr bwMode="auto">
          <a:xfrm>
            <a:off x="10321914" y="2717832"/>
            <a:ext cx="1434280" cy="1585494"/>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ts val="588"/>
              </a:spcBef>
              <a:spcAft>
                <a:spcPct val="0"/>
              </a:spcAft>
              <a:buClrTx/>
              <a:buSzTx/>
              <a:buFontTx/>
              <a:buNone/>
              <a:tabLst/>
              <a:defRPr/>
            </a:pPr>
            <a:r>
              <a:rPr kumimoji="0" lang="en-IN" sz="1568" b="0" i="0" u="none" strike="noStrike" kern="0" cap="none" spc="0" normalizeH="0" baseline="0" noProof="0" dirty="0">
                <a:ln>
                  <a:noFill/>
                </a:ln>
                <a:solidFill>
                  <a:schemeClr val="tx1"/>
                </a:solidFill>
                <a:effectLst/>
                <a:uLnTx/>
                <a:uFillTx/>
                <a:ea typeface="Segoe UI" pitchFamily="34" charset="0"/>
                <a:cs typeface="Segoe UI" pitchFamily="34" charset="0"/>
              </a:rPr>
              <a:t>Microsoft launches </a:t>
            </a:r>
            <a:br>
              <a:rPr kumimoji="0" lang="en-IN" sz="1568" b="0" i="0" u="none" strike="noStrike" kern="0" cap="none" spc="0" normalizeH="0" baseline="0" noProof="0" dirty="0">
                <a:ln>
                  <a:noFill/>
                </a:ln>
                <a:solidFill>
                  <a:schemeClr val="tx1"/>
                </a:solidFill>
                <a:effectLst/>
                <a:uLnTx/>
                <a:uFillTx/>
                <a:ea typeface="Segoe UI" pitchFamily="34" charset="0"/>
                <a:cs typeface="Segoe UI" pitchFamily="34" charset="0"/>
              </a:rPr>
            </a:br>
            <a:r>
              <a:rPr kumimoji="0" lang="en-IN" sz="1568" b="0" i="0" u="none" strike="noStrike" kern="0" cap="none" spc="0" normalizeH="0" baseline="0" noProof="0" dirty="0">
                <a:ln>
                  <a:noFill/>
                </a:ln>
                <a:solidFill>
                  <a:schemeClr val="tx1"/>
                </a:solidFill>
                <a:effectLst/>
                <a:uLnTx/>
                <a:uFillTx/>
                <a:ea typeface="Segoe UI" pitchFamily="34" charset="0"/>
                <a:cs typeface="Segoe UI" pitchFamily="34" charset="0"/>
              </a:rPr>
              <a:t>Azure Machine Learning</a:t>
            </a:r>
          </a:p>
        </p:txBody>
      </p:sp>
      <p:sp>
        <p:nvSpPr>
          <p:cNvPr id="55" name="Rectangle 54"/>
          <p:cNvSpPr/>
          <p:nvPr/>
        </p:nvSpPr>
        <p:spPr bwMode="auto">
          <a:xfrm>
            <a:off x="2059549" y="2717832"/>
            <a:ext cx="1434280" cy="1585494"/>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chemeClr val="tx1"/>
                </a:solidFill>
                <a:effectLst/>
                <a:uLnTx/>
                <a:uFillTx/>
              </a:rPr>
              <a:t> Microsoft search engine built with machine learning</a:t>
            </a:r>
          </a:p>
        </p:txBody>
      </p:sp>
      <p:sp>
        <p:nvSpPr>
          <p:cNvPr id="56" name="Rectangle 55"/>
          <p:cNvSpPr/>
          <p:nvPr/>
        </p:nvSpPr>
        <p:spPr bwMode="auto">
          <a:xfrm>
            <a:off x="5364496" y="2717832"/>
            <a:ext cx="1434280" cy="1585494"/>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ts val="588"/>
              </a:spcBef>
              <a:spcAft>
                <a:spcPct val="0"/>
              </a:spcAft>
              <a:buClrTx/>
              <a:buSzTx/>
              <a:buFontTx/>
              <a:buNone/>
              <a:tabLst/>
              <a:defRPr/>
            </a:pPr>
            <a:r>
              <a:rPr kumimoji="0" lang="en-IN" sz="1568" b="0" i="0" u="none" strike="noStrike" kern="0" cap="none" spc="0" normalizeH="0" baseline="0" noProof="0" dirty="0">
                <a:ln>
                  <a:noFill/>
                </a:ln>
                <a:solidFill>
                  <a:schemeClr val="tx1"/>
                </a:solidFill>
                <a:effectLst/>
                <a:uLnTx/>
                <a:uFillTx/>
                <a:ea typeface="Segoe UI" pitchFamily="34" charset="0"/>
                <a:cs typeface="Segoe UI" pitchFamily="34" charset="0"/>
              </a:rPr>
              <a:t>Bing Maps ships with ML traffic-prediction service</a:t>
            </a:r>
          </a:p>
        </p:txBody>
      </p:sp>
      <p:sp>
        <p:nvSpPr>
          <p:cNvPr id="57" name="Rectangle 56"/>
          <p:cNvSpPr/>
          <p:nvPr/>
        </p:nvSpPr>
        <p:spPr bwMode="auto">
          <a:xfrm>
            <a:off x="8669443" y="2717832"/>
            <a:ext cx="1434280" cy="1585494"/>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ts val="588"/>
              </a:spcBef>
              <a:spcAft>
                <a:spcPct val="0"/>
              </a:spcAft>
              <a:buClrTx/>
              <a:buSzTx/>
              <a:buFontTx/>
              <a:buNone/>
              <a:tabLst/>
              <a:defRPr/>
            </a:pPr>
            <a:r>
              <a:rPr kumimoji="0" lang="en-IN" sz="1568" b="0" i="0" u="none" strike="noStrike" kern="0" cap="none" spc="0" normalizeH="0" baseline="0" noProof="0" dirty="0">
                <a:ln>
                  <a:noFill/>
                </a:ln>
                <a:solidFill>
                  <a:schemeClr val="tx1"/>
                </a:solidFill>
                <a:effectLst/>
                <a:uLnTx/>
                <a:uFillTx/>
                <a:ea typeface="Segoe UI" pitchFamily="34" charset="0"/>
                <a:cs typeface="Segoe UI" pitchFamily="34" charset="0"/>
              </a:rPr>
              <a:t>Successful, real-time, speech-to-speech translation</a:t>
            </a:r>
          </a:p>
        </p:txBody>
      </p:sp>
      <p:sp>
        <p:nvSpPr>
          <p:cNvPr id="100" name="Rounded Rectangle 99"/>
          <p:cNvSpPr/>
          <p:nvPr/>
        </p:nvSpPr>
        <p:spPr bwMode="auto">
          <a:xfrm>
            <a:off x="1291453" y="5584467"/>
            <a:ext cx="3206235" cy="876653"/>
          </a:xfrm>
          <a:prstGeom prst="roundRect">
            <a:avLst>
              <a:gd name="adj" fmla="val 50000"/>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89642" bIns="143428" numCol="1" spcCol="0" rtlCol="0" fromWordArt="0" anchor="ctr" anchorCtr="0" forceAA="0" compatLnSpc="1">
            <a:prstTxWarp prst="textNoShape">
              <a:avLst/>
            </a:prstTxWarp>
            <a:noAutofit/>
          </a:bodyPr>
          <a:lstStyle/>
          <a:p>
            <a:pPr marL="0" marR="0" lvl="0" indent="0" defTabSz="913561" eaLnBrk="1" fontAlgn="base" latinLnBrk="0" hangingPunct="1">
              <a:lnSpc>
                <a:spcPct val="100000"/>
              </a:lnSpc>
              <a:spcBef>
                <a:spcPct val="0"/>
              </a:spcBef>
              <a:spcAft>
                <a:spcPct val="0"/>
              </a:spcAft>
              <a:buClrTx/>
              <a:buSzTx/>
              <a:buFontTx/>
              <a:buNone/>
              <a:tabLst/>
              <a:defRPr/>
            </a:pPr>
            <a:r>
              <a:rPr kumimoji="0" lang="en-GB" sz="1765" b="1" i="0" u="none" strike="noStrike" kern="0" cap="none" spc="0" normalizeH="0" baseline="0" noProof="0" dirty="0">
                <a:ln>
                  <a:noFill/>
                </a:ln>
                <a:solidFill>
                  <a:schemeClr val="tx1"/>
                </a:solidFill>
                <a:effectLst/>
                <a:uLnTx/>
                <a:uFillTx/>
              </a:rPr>
              <a:t>John Platt, </a:t>
            </a:r>
            <a:br>
              <a:rPr kumimoji="0" lang="en-GB" sz="1765" b="0" i="0" u="none" strike="noStrike" kern="0" cap="none" spc="0" normalizeH="0" baseline="0" noProof="0" dirty="0">
                <a:ln>
                  <a:noFill/>
                </a:ln>
                <a:solidFill>
                  <a:schemeClr val="tx1"/>
                </a:solidFill>
                <a:effectLst/>
                <a:uLnTx/>
                <a:uFillTx/>
              </a:rPr>
            </a:br>
            <a:r>
              <a:rPr kumimoji="0" lang="en-GB" sz="1372" b="0" i="0" u="none" strike="noStrike" kern="0" cap="none" spc="0" normalizeH="0" baseline="0" noProof="0" dirty="0">
                <a:ln>
                  <a:noFill/>
                </a:ln>
                <a:solidFill>
                  <a:schemeClr val="tx1"/>
                </a:solidFill>
                <a:effectLst/>
                <a:uLnTx/>
                <a:uFillTx/>
              </a:rPr>
              <a:t>Distinguished scientist at Microsoft Research</a:t>
            </a:r>
          </a:p>
        </p:txBody>
      </p:sp>
      <p:pic>
        <p:nvPicPr>
          <p:cNvPr id="101" name="Picture 100"/>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80760" y="5078118"/>
            <a:ext cx="1536991" cy="1496541"/>
          </a:xfrm>
          <a:prstGeom prst="rect">
            <a:avLst/>
          </a:prstGeom>
          <a:noFill/>
          <a:ln>
            <a:noFill/>
          </a:ln>
        </p:spPr>
      </p:pic>
      <p:sp>
        <p:nvSpPr>
          <p:cNvPr id="50" name="Rectangle 49"/>
          <p:cNvSpPr/>
          <p:nvPr/>
        </p:nvSpPr>
        <p:spPr bwMode="auto">
          <a:xfrm>
            <a:off x="1110768" y="2355589"/>
            <a:ext cx="26893" cy="41599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ts val="588"/>
              </a:spcBef>
              <a:spcAft>
                <a:spcPct val="0"/>
              </a:spcAft>
              <a:buClrTx/>
              <a:buSzTx/>
              <a:buFontTx/>
              <a:buNone/>
              <a:tabLst/>
              <a:defRPr/>
            </a:pPr>
            <a:endParaRPr kumimoji="0" lang="en-IN" sz="2745"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58" name="Oval 57"/>
          <p:cNvSpPr/>
          <p:nvPr/>
        </p:nvSpPr>
        <p:spPr bwMode="auto">
          <a:xfrm>
            <a:off x="1060199" y="2659512"/>
            <a:ext cx="128031" cy="112389"/>
          </a:xfrm>
          <a:prstGeom prst="ellipse">
            <a:avLst/>
          </a:prstGeom>
          <a:solidFill>
            <a:schemeClr val="tx1"/>
          </a:solidFill>
          <a:ln>
            <a:solidFill>
              <a:srgbClr val="00BCF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ts val="588"/>
              </a:spcBef>
              <a:spcAft>
                <a:spcPct val="0"/>
              </a:spcAft>
              <a:buClrTx/>
              <a:buSzTx/>
              <a:buFontTx/>
              <a:buNone/>
              <a:tabLst/>
              <a:defRPr/>
            </a:pPr>
            <a:endParaRPr kumimoji="0" lang="en-IN" sz="2745"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59" name="Rectangle 58"/>
          <p:cNvSpPr/>
          <p:nvPr/>
        </p:nvSpPr>
        <p:spPr bwMode="auto">
          <a:xfrm>
            <a:off x="11025608" y="2355589"/>
            <a:ext cx="26893" cy="415990"/>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ts val="588"/>
              </a:spcBef>
              <a:spcAft>
                <a:spcPct val="0"/>
              </a:spcAft>
              <a:buClrTx/>
              <a:buSzTx/>
              <a:buFontTx/>
              <a:buNone/>
              <a:tabLst/>
              <a:defRPr/>
            </a:pPr>
            <a:endParaRPr kumimoji="0" lang="en-IN" sz="2745"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60" name="Oval 59"/>
          <p:cNvSpPr/>
          <p:nvPr/>
        </p:nvSpPr>
        <p:spPr bwMode="auto">
          <a:xfrm>
            <a:off x="10975039" y="2659512"/>
            <a:ext cx="128031" cy="112389"/>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ts val="588"/>
              </a:spcBef>
              <a:spcAft>
                <a:spcPct val="0"/>
              </a:spcAft>
              <a:buClrTx/>
              <a:buSzTx/>
              <a:buFontTx/>
              <a:buNone/>
              <a:tabLst/>
              <a:defRPr/>
            </a:pPr>
            <a:endParaRPr kumimoji="0" lang="en-IN" sz="2745"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102" name="Rectangle 101"/>
          <p:cNvSpPr/>
          <p:nvPr/>
        </p:nvSpPr>
        <p:spPr bwMode="auto">
          <a:xfrm>
            <a:off x="9373135" y="2355589"/>
            <a:ext cx="26893" cy="41599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ts val="588"/>
              </a:spcBef>
              <a:spcAft>
                <a:spcPct val="0"/>
              </a:spcAft>
              <a:buClrTx/>
              <a:buSzTx/>
              <a:buFontTx/>
              <a:buNone/>
              <a:tabLst/>
              <a:defRPr/>
            </a:pPr>
            <a:endParaRPr kumimoji="0" lang="en-IN" sz="2745"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103" name="Oval 102"/>
          <p:cNvSpPr/>
          <p:nvPr/>
        </p:nvSpPr>
        <p:spPr bwMode="auto">
          <a:xfrm>
            <a:off x="9322566" y="2659512"/>
            <a:ext cx="128031" cy="112389"/>
          </a:xfrm>
          <a:prstGeom prst="ellipse">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ts val="588"/>
              </a:spcBef>
              <a:spcAft>
                <a:spcPct val="0"/>
              </a:spcAft>
              <a:buClrTx/>
              <a:buSzTx/>
              <a:buFontTx/>
              <a:buNone/>
              <a:tabLst/>
              <a:defRPr/>
            </a:pPr>
            <a:endParaRPr kumimoji="0" lang="en-IN" sz="2745"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104" name="Rectangle 103"/>
          <p:cNvSpPr/>
          <p:nvPr/>
        </p:nvSpPr>
        <p:spPr bwMode="auto">
          <a:xfrm>
            <a:off x="7720662" y="2355589"/>
            <a:ext cx="26893" cy="41599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ts val="588"/>
              </a:spcBef>
              <a:spcAft>
                <a:spcPct val="0"/>
              </a:spcAft>
              <a:buClrTx/>
              <a:buSzTx/>
              <a:buFontTx/>
              <a:buNone/>
              <a:tabLst/>
              <a:defRPr/>
            </a:pPr>
            <a:endParaRPr kumimoji="0" lang="en-IN" sz="2745"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105" name="Oval 104"/>
          <p:cNvSpPr/>
          <p:nvPr/>
        </p:nvSpPr>
        <p:spPr bwMode="auto">
          <a:xfrm>
            <a:off x="7670093" y="2659512"/>
            <a:ext cx="128031" cy="112389"/>
          </a:xfrm>
          <a:prstGeom prst="ellipse">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ts val="588"/>
              </a:spcBef>
              <a:spcAft>
                <a:spcPct val="0"/>
              </a:spcAft>
              <a:buClrTx/>
              <a:buSzTx/>
              <a:buFontTx/>
              <a:buNone/>
              <a:tabLst/>
              <a:defRPr/>
            </a:pPr>
            <a:endParaRPr kumimoji="0" lang="en-IN" sz="2745"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106" name="Rectangle 105"/>
          <p:cNvSpPr/>
          <p:nvPr/>
        </p:nvSpPr>
        <p:spPr bwMode="auto">
          <a:xfrm>
            <a:off x="6068189" y="2355589"/>
            <a:ext cx="26893" cy="41599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ts val="588"/>
              </a:spcBef>
              <a:spcAft>
                <a:spcPct val="0"/>
              </a:spcAft>
              <a:buClrTx/>
              <a:buSzTx/>
              <a:buFontTx/>
              <a:buNone/>
              <a:tabLst/>
              <a:defRPr/>
            </a:pPr>
            <a:endParaRPr kumimoji="0" lang="en-IN" sz="2745"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107" name="Oval 106"/>
          <p:cNvSpPr/>
          <p:nvPr/>
        </p:nvSpPr>
        <p:spPr bwMode="auto">
          <a:xfrm>
            <a:off x="6017620" y="2659512"/>
            <a:ext cx="128031" cy="112389"/>
          </a:xfrm>
          <a:prstGeom prst="ellipse">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ts val="588"/>
              </a:spcBef>
              <a:spcAft>
                <a:spcPct val="0"/>
              </a:spcAft>
              <a:buClrTx/>
              <a:buSzTx/>
              <a:buFontTx/>
              <a:buNone/>
              <a:tabLst/>
              <a:defRPr/>
            </a:pPr>
            <a:endParaRPr kumimoji="0" lang="en-IN" sz="2745"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108" name="Rectangle 107"/>
          <p:cNvSpPr/>
          <p:nvPr/>
        </p:nvSpPr>
        <p:spPr bwMode="auto">
          <a:xfrm>
            <a:off x="4415715" y="2355589"/>
            <a:ext cx="26893" cy="41599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ts val="588"/>
              </a:spcBef>
              <a:spcAft>
                <a:spcPct val="0"/>
              </a:spcAft>
              <a:buClrTx/>
              <a:buSzTx/>
              <a:buFontTx/>
              <a:buNone/>
              <a:tabLst/>
              <a:defRPr/>
            </a:pPr>
            <a:endParaRPr kumimoji="0" lang="en-IN" sz="2745"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109" name="Oval 108"/>
          <p:cNvSpPr/>
          <p:nvPr/>
        </p:nvSpPr>
        <p:spPr bwMode="auto">
          <a:xfrm>
            <a:off x="4365146" y="2659512"/>
            <a:ext cx="128031" cy="112389"/>
          </a:xfrm>
          <a:prstGeom prst="ellipse">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ts val="588"/>
              </a:spcBef>
              <a:spcAft>
                <a:spcPct val="0"/>
              </a:spcAft>
              <a:buClrTx/>
              <a:buSzTx/>
              <a:buFontTx/>
              <a:buNone/>
              <a:tabLst/>
              <a:defRPr/>
            </a:pPr>
            <a:endParaRPr kumimoji="0" lang="en-IN" sz="2745"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110" name="Rectangle 109"/>
          <p:cNvSpPr/>
          <p:nvPr/>
        </p:nvSpPr>
        <p:spPr bwMode="auto">
          <a:xfrm>
            <a:off x="2763242" y="2355589"/>
            <a:ext cx="26893" cy="41599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ts val="588"/>
              </a:spcBef>
              <a:spcAft>
                <a:spcPct val="0"/>
              </a:spcAft>
              <a:buClrTx/>
              <a:buSzTx/>
              <a:buFontTx/>
              <a:buNone/>
              <a:tabLst/>
              <a:defRPr/>
            </a:pPr>
            <a:endParaRPr kumimoji="0" lang="en-IN" sz="2745"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111" name="Oval 110"/>
          <p:cNvSpPr/>
          <p:nvPr/>
        </p:nvSpPr>
        <p:spPr bwMode="auto">
          <a:xfrm>
            <a:off x="2712673" y="2659512"/>
            <a:ext cx="128031" cy="112389"/>
          </a:xfrm>
          <a:prstGeom prst="ellipse">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ts val="588"/>
              </a:spcBef>
              <a:spcAft>
                <a:spcPct val="0"/>
              </a:spcAft>
              <a:buClrTx/>
              <a:buSzTx/>
              <a:buFontTx/>
              <a:buNone/>
              <a:tabLst/>
              <a:defRPr/>
            </a:pPr>
            <a:endParaRPr kumimoji="0" lang="en-IN" sz="2745"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112" name="Right Arrow 111"/>
          <p:cNvSpPr/>
          <p:nvPr/>
        </p:nvSpPr>
        <p:spPr bwMode="auto">
          <a:xfrm>
            <a:off x="-12805" y="2035723"/>
            <a:ext cx="12084888" cy="319867"/>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solidFill>
                  <a:schemeClr val="bg1">
                    <a:alpha val="0"/>
                  </a:schemeClr>
                </a:solid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3" name="Rectangle 112"/>
          <p:cNvSpPr/>
          <p:nvPr/>
        </p:nvSpPr>
        <p:spPr bwMode="auto">
          <a:xfrm>
            <a:off x="587355" y="2007256"/>
            <a:ext cx="1073721" cy="35857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r>
              <a:rPr kumimoji="0" lang="en-US" sz="2353" b="0" i="0" u="none" strike="noStrike" kern="0" cap="none" spc="0" normalizeH="0" baseline="0" noProof="0" dirty="0">
                <a:ln>
                  <a:noFill/>
                </a:ln>
                <a:solidFill>
                  <a:schemeClr val="bg1"/>
                </a:solidFill>
                <a:effectLst/>
                <a:uLnTx/>
                <a:uFillTx/>
                <a:latin typeface="+mj-lt"/>
                <a:ea typeface="Segoe UI" pitchFamily="34" charset="0"/>
                <a:cs typeface="Segoe UI" pitchFamily="34" charset="0"/>
              </a:rPr>
              <a:t>1999</a:t>
            </a:r>
          </a:p>
        </p:txBody>
      </p:sp>
      <p:sp>
        <p:nvSpPr>
          <p:cNvPr id="114" name="Rectangle 113"/>
          <p:cNvSpPr/>
          <p:nvPr/>
        </p:nvSpPr>
        <p:spPr bwMode="auto">
          <a:xfrm>
            <a:off x="8849722" y="2007256"/>
            <a:ext cx="1073721" cy="35857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r>
              <a:rPr kumimoji="0" lang="en-US" sz="2353" b="0" i="0" u="none" strike="noStrike" kern="0" cap="none" spc="0" normalizeH="0" baseline="0" noProof="0" dirty="0">
                <a:ln>
                  <a:noFill/>
                </a:ln>
                <a:solidFill>
                  <a:schemeClr val="bg1"/>
                </a:solidFill>
                <a:effectLst/>
                <a:uLnTx/>
                <a:uFillTx/>
                <a:latin typeface="+mj-lt"/>
                <a:ea typeface="Segoe UI" pitchFamily="34" charset="0"/>
                <a:cs typeface="Segoe UI" pitchFamily="34" charset="0"/>
              </a:rPr>
              <a:t>2012</a:t>
            </a:r>
          </a:p>
        </p:txBody>
      </p:sp>
      <p:sp>
        <p:nvSpPr>
          <p:cNvPr id="115" name="Rectangle 114"/>
          <p:cNvSpPr/>
          <p:nvPr/>
        </p:nvSpPr>
        <p:spPr bwMode="auto">
          <a:xfrm>
            <a:off x="5544776" y="2007256"/>
            <a:ext cx="1073721" cy="35857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r>
              <a:rPr kumimoji="0" lang="en-US" sz="2353" b="0" i="0" u="none" strike="noStrike" kern="0" cap="none" spc="0" normalizeH="0" baseline="0" noProof="0" dirty="0">
                <a:ln>
                  <a:noFill/>
                </a:ln>
                <a:solidFill>
                  <a:schemeClr val="bg1"/>
                </a:solidFill>
                <a:effectLst/>
                <a:uLnTx/>
                <a:uFillTx/>
                <a:latin typeface="+mj-lt"/>
                <a:ea typeface="Segoe UI" pitchFamily="34" charset="0"/>
                <a:cs typeface="Segoe UI" pitchFamily="34" charset="0"/>
              </a:rPr>
              <a:t>2008</a:t>
            </a:r>
          </a:p>
        </p:txBody>
      </p:sp>
      <p:sp>
        <p:nvSpPr>
          <p:cNvPr id="116" name="Rectangle 115"/>
          <p:cNvSpPr/>
          <p:nvPr/>
        </p:nvSpPr>
        <p:spPr bwMode="auto">
          <a:xfrm>
            <a:off x="2239829" y="2007256"/>
            <a:ext cx="1073721" cy="35857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r>
              <a:rPr kumimoji="0" lang="en-US" sz="2353" b="0" i="0" u="none" strike="noStrike" kern="0" cap="none" spc="0" normalizeH="0" baseline="0" noProof="0" dirty="0">
                <a:ln>
                  <a:noFill/>
                </a:ln>
                <a:solidFill>
                  <a:schemeClr val="bg1"/>
                </a:solidFill>
                <a:effectLst/>
                <a:uLnTx/>
                <a:uFillTx/>
                <a:latin typeface="+mj-lt"/>
                <a:ea typeface="Segoe UI" pitchFamily="34" charset="0"/>
                <a:cs typeface="Segoe UI" pitchFamily="34" charset="0"/>
              </a:rPr>
              <a:t>2004</a:t>
            </a:r>
          </a:p>
        </p:txBody>
      </p:sp>
      <p:sp>
        <p:nvSpPr>
          <p:cNvPr id="117" name="Rectangle 116"/>
          <p:cNvSpPr/>
          <p:nvPr/>
        </p:nvSpPr>
        <p:spPr bwMode="auto">
          <a:xfrm>
            <a:off x="10502195" y="2007256"/>
            <a:ext cx="1073721" cy="358570"/>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r>
              <a:rPr kumimoji="0" lang="en-US" sz="2353" b="0" i="0" u="none" strike="noStrike" kern="0" cap="none" spc="0" normalizeH="0" baseline="0" noProof="0" dirty="0">
                <a:ln>
                  <a:noFill/>
                </a:ln>
                <a:solidFill>
                  <a:schemeClr val="tx1"/>
                </a:solidFill>
                <a:effectLst/>
                <a:uLnTx/>
                <a:uFillTx/>
                <a:latin typeface="+mj-lt"/>
                <a:ea typeface="Segoe UI" pitchFamily="34" charset="0"/>
                <a:cs typeface="Segoe UI" pitchFamily="34" charset="0"/>
              </a:rPr>
              <a:t>2014</a:t>
            </a:r>
          </a:p>
        </p:txBody>
      </p:sp>
      <p:sp>
        <p:nvSpPr>
          <p:cNvPr id="118" name="Rectangle 117"/>
          <p:cNvSpPr/>
          <p:nvPr/>
        </p:nvSpPr>
        <p:spPr bwMode="auto">
          <a:xfrm>
            <a:off x="7197249" y="2007256"/>
            <a:ext cx="1073721" cy="35857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r>
              <a:rPr kumimoji="0" lang="en-US" sz="2353" b="0" i="0" u="none" strike="noStrike" kern="0" cap="none" spc="0" normalizeH="0" baseline="0" noProof="0" dirty="0">
                <a:ln>
                  <a:noFill/>
                </a:ln>
                <a:solidFill>
                  <a:schemeClr val="bg1"/>
                </a:solidFill>
                <a:effectLst/>
                <a:uLnTx/>
                <a:uFillTx/>
                <a:latin typeface="+mj-lt"/>
                <a:ea typeface="Segoe UI" pitchFamily="34" charset="0"/>
                <a:cs typeface="Segoe UI" pitchFamily="34" charset="0"/>
              </a:rPr>
              <a:t>2010</a:t>
            </a:r>
          </a:p>
        </p:txBody>
      </p:sp>
      <p:sp>
        <p:nvSpPr>
          <p:cNvPr id="119" name="Rectangle 118"/>
          <p:cNvSpPr/>
          <p:nvPr/>
        </p:nvSpPr>
        <p:spPr bwMode="auto">
          <a:xfrm>
            <a:off x="3892302" y="2007256"/>
            <a:ext cx="1073721" cy="35857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r>
              <a:rPr kumimoji="0" lang="en-US" sz="2353" b="0" i="0" u="none" strike="noStrike" kern="0" cap="none" spc="0" normalizeH="0" baseline="0" noProof="0" dirty="0">
                <a:ln>
                  <a:noFill/>
                </a:ln>
                <a:solidFill>
                  <a:schemeClr val="bg1"/>
                </a:solidFill>
                <a:effectLst/>
                <a:uLnTx/>
                <a:uFillTx/>
                <a:latin typeface="+mj-lt"/>
                <a:ea typeface="Segoe UI" pitchFamily="34" charset="0"/>
                <a:cs typeface="Segoe UI" pitchFamily="34" charset="0"/>
              </a:rPr>
              <a:t>2005</a:t>
            </a:r>
          </a:p>
        </p:txBody>
      </p:sp>
      <p:sp>
        <p:nvSpPr>
          <p:cNvPr id="2" name="Rectangle 1"/>
          <p:cNvSpPr/>
          <p:nvPr/>
        </p:nvSpPr>
        <p:spPr>
          <a:xfrm>
            <a:off x="4827471" y="5291081"/>
            <a:ext cx="6656254" cy="1062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3561" eaLnBrk="1" fontAlgn="base" latinLnBrk="0" hangingPunct="1">
              <a:lnSpc>
                <a:spcPct val="100000"/>
              </a:lnSpc>
              <a:spcBef>
                <a:spcPts val="1176"/>
              </a:spcBef>
              <a:spcAft>
                <a:spcPts val="1176"/>
              </a:spcAft>
              <a:buClrTx/>
              <a:buSzTx/>
              <a:buFontTx/>
              <a:buNone/>
              <a:tabLst/>
              <a:defRPr/>
            </a:pPr>
            <a:r>
              <a:rPr kumimoji="0" lang="en-US" sz="2745" b="0" i="1" u="none" strike="noStrike" kern="0" cap="none" spc="0" normalizeH="0" baseline="0" noProof="0" dirty="0">
                <a:ln>
                  <a:noFill/>
                </a:ln>
                <a:solidFill>
                  <a:srgbClr val="FFFFFF"/>
                </a:solidFill>
                <a:effectLst/>
                <a:uLnTx/>
                <a:uFillTx/>
                <a:latin typeface="Segoe UI Light"/>
              </a:rPr>
              <a:t>Machine learning is pervasive throughout </a:t>
            </a:r>
            <a:br>
              <a:rPr kumimoji="0" lang="en-US" sz="2745" b="0" i="1" u="none" strike="noStrike" kern="0" cap="none" spc="0" normalizeH="0" baseline="0" noProof="0" dirty="0">
                <a:ln>
                  <a:noFill/>
                </a:ln>
                <a:solidFill>
                  <a:srgbClr val="FFFFFF"/>
                </a:solidFill>
                <a:effectLst/>
                <a:uLnTx/>
                <a:uFillTx/>
                <a:latin typeface="Segoe UI Light"/>
              </a:rPr>
            </a:br>
            <a:r>
              <a:rPr kumimoji="0" lang="en-US" sz="2745" b="0" i="1" u="none" strike="noStrike" kern="0" cap="none" spc="0" normalizeH="0" baseline="0" noProof="0" dirty="0">
                <a:ln>
                  <a:noFill/>
                </a:ln>
                <a:solidFill>
                  <a:srgbClr val="FFFFFF"/>
                </a:solidFill>
                <a:effectLst/>
                <a:uLnTx/>
                <a:uFillTx/>
                <a:latin typeface="Segoe UI Light"/>
              </a:rPr>
              <a:t>Microsoft products.</a:t>
            </a:r>
            <a:endParaRPr kumimoji="0" lang="en-GB" sz="2745" b="0" i="1" u="none" strike="noStrike" kern="0" cap="none" spc="0" normalizeH="0" baseline="0" noProof="0" dirty="0">
              <a:ln>
                <a:noFill/>
              </a:ln>
              <a:solidFill>
                <a:srgbClr val="FFFFFF"/>
              </a:solidFill>
              <a:effectLst/>
              <a:uLnTx/>
              <a:uFillTx/>
              <a:latin typeface="Segoe UI Light"/>
            </a:endParaRPr>
          </a:p>
        </p:txBody>
      </p:sp>
      <p:sp>
        <p:nvSpPr>
          <p:cNvPr id="35" name="Rectangle 34"/>
          <p:cNvSpPr/>
          <p:nvPr/>
        </p:nvSpPr>
        <p:spPr>
          <a:xfrm>
            <a:off x="4823899" y="5385096"/>
            <a:ext cx="888683" cy="6848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en-US" sz="7058" b="0" i="0" u="none" strike="noStrike" kern="0" cap="none" spc="-98" normalizeH="0" baseline="0" noProof="0" dirty="0">
                <a:ln>
                  <a:noFill/>
                </a:ln>
                <a:solidFill>
                  <a:schemeClr val="tx1"/>
                </a:solidFill>
                <a:effectLst/>
                <a:uLnTx/>
                <a:uFillTx/>
                <a:latin typeface="Perpetua" panose="02020502060401020303" pitchFamily="18" charset="0"/>
              </a:rPr>
              <a:t>“</a:t>
            </a:r>
          </a:p>
        </p:txBody>
      </p:sp>
      <p:sp>
        <p:nvSpPr>
          <p:cNvPr id="36" name="Rectangle 35"/>
          <p:cNvSpPr/>
          <p:nvPr/>
        </p:nvSpPr>
        <p:spPr>
          <a:xfrm>
            <a:off x="11408896" y="5625214"/>
            <a:ext cx="440332" cy="1086215"/>
          </a:xfrm>
          <a:prstGeom prst="rect">
            <a:avLst/>
          </a:prstGeom>
        </p:spPr>
        <p:txBody>
          <a:bodyPr wrap="none">
            <a:spAutoFit/>
          </a:bodyP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en-US" sz="6470" b="0" i="0" u="none" strike="noStrike" kern="0" cap="none" spc="0" normalizeH="0" baseline="0" noProof="0" dirty="0">
                <a:ln>
                  <a:noFill/>
                </a:ln>
                <a:solidFill>
                  <a:sysClr val="windowText" lastClr="000000"/>
                </a:solidFill>
                <a:effectLst/>
                <a:uLnTx/>
                <a:uFillTx/>
                <a:latin typeface="Perpetua" panose="02020502060401020303" pitchFamily="18" charset="0"/>
              </a:rPr>
              <a:t>”</a:t>
            </a:r>
          </a:p>
        </p:txBody>
      </p:sp>
    </p:spTree>
    <p:extLst>
      <p:ext uri="{BB962C8B-B14F-4D97-AF65-F5344CB8AC3E}">
        <p14:creationId xmlns:p14="http://schemas.microsoft.com/office/powerpoint/2010/main" val="1498279871"/>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0" name="Group 99"/>
          <p:cNvGrpSpPr/>
          <p:nvPr/>
        </p:nvGrpSpPr>
        <p:grpSpPr>
          <a:xfrm>
            <a:off x="1380798" y="3221135"/>
            <a:ext cx="4955637" cy="280767"/>
            <a:chOff x="1408485" y="2370828"/>
            <a:chExt cx="5055008" cy="286397"/>
          </a:xfrm>
          <a:solidFill>
            <a:schemeClr val="tx1"/>
          </a:solidFill>
        </p:grpSpPr>
        <p:sp>
          <p:nvSpPr>
            <p:cNvPr id="91" name="Down Arrow 92"/>
            <p:cNvSpPr/>
            <p:nvPr/>
          </p:nvSpPr>
          <p:spPr bwMode="auto">
            <a:xfrm flipV="1">
              <a:off x="1408485" y="2370828"/>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ts val="588"/>
                </a:spcBef>
                <a:spcAft>
                  <a:spcPct val="0"/>
                </a:spcAft>
                <a:buClrTx/>
                <a:buSzTx/>
                <a:buFontTx/>
                <a:buNone/>
                <a:tabLst/>
                <a:defRPr/>
              </a:pPr>
              <a:endParaRPr kumimoji="0" lang="en-US" sz="2745"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92" name="Down Arrow 92"/>
            <p:cNvSpPr/>
            <p:nvPr/>
          </p:nvSpPr>
          <p:spPr bwMode="auto">
            <a:xfrm flipV="1">
              <a:off x="3722876" y="2370828"/>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ts val="588"/>
                </a:spcBef>
                <a:spcAft>
                  <a:spcPct val="0"/>
                </a:spcAft>
                <a:buClrTx/>
                <a:buSzTx/>
                <a:buFontTx/>
                <a:buNone/>
                <a:tabLst/>
                <a:defRPr/>
              </a:pPr>
              <a:endParaRPr kumimoji="0" lang="en-US" sz="2745"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93" name="Down Arrow 92"/>
            <p:cNvSpPr/>
            <p:nvPr/>
          </p:nvSpPr>
          <p:spPr bwMode="auto">
            <a:xfrm flipV="1">
              <a:off x="6006293" y="2370828"/>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ts val="588"/>
                </a:spcBef>
                <a:spcAft>
                  <a:spcPct val="0"/>
                </a:spcAft>
                <a:buClrTx/>
                <a:buSzTx/>
                <a:buFontTx/>
                <a:buNone/>
                <a:tabLst/>
                <a:defRPr/>
              </a:pPr>
              <a:endParaRPr kumimoji="0" lang="en-US" sz="2745"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sp>
        <p:nvSpPr>
          <p:cNvPr id="74" name="Down Arrow 92"/>
          <p:cNvSpPr/>
          <p:nvPr/>
        </p:nvSpPr>
        <p:spPr bwMode="auto">
          <a:xfrm flipV="1">
            <a:off x="2247727" y="3645743"/>
            <a:ext cx="448212" cy="28076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ts val="588"/>
              </a:spcBef>
              <a:spcAft>
                <a:spcPct val="0"/>
              </a:spcAft>
              <a:buClrTx/>
              <a:buSzTx/>
              <a:buFontTx/>
              <a:buNone/>
              <a:tabLst/>
              <a:defRPr/>
            </a:pPr>
            <a:endParaRPr kumimoji="0" lang="en-US" sz="2745"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67" name="Group 66"/>
          <p:cNvGrpSpPr/>
          <p:nvPr/>
        </p:nvGrpSpPr>
        <p:grpSpPr>
          <a:xfrm>
            <a:off x="4165245" y="4893615"/>
            <a:ext cx="558761" cy="448212"/>
            <a:chOff x="4545946" y="4991245"/>
            <a:chExt cx="569965" cy="457200"/>
          </a:xfrm>
          <a:solidFill>
            <a:schemeClr val="tx1"/>
          </a:solidFill>
        </p:grpSpPr>
        <p:sp>
          <p:nvSpPr>
            <p:cNvPr id="68" name="Down Arrow 92"/>
            <p:cNvSpPr/>
            <p:nvPr/>
          </p:nvSpPr>
          <p:spPr bwMode="auto">
            <a:xfrm rot="5400000" flipV="1">
              <a:off x="4744113" y="5076646"/>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ts val="588"/>
                </a:spcBef>
                <a:spcAft>
                  <a:spcPct val="0"/>
                </a:spcAft>
                <a:buClrTx/>
                <a:buSzTx/>
                <a:buFontTx/>
                <a:buNone/>
                <a:tabLst/>
                <a:defRPr/>
              </a:pPr>
              <a:endParaRPr kumimoji="0" lang="en-US" sz="2745"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69" name="Down Arrow 92"/>
            <p:cNvSpPr/>
            <p:nvPr/>
          </p:nvSpPr>
          <p:spPr bwMode="auto">
            <a:xfrm rot="16200000" flipV="1">
              <a:off x="4460545" y="5076646"/>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ts val="588"/>
                </a:spcBef>
                <a:spcAft>
                  <a:spcPct val="0"/>
                </a:spcAft>
                <a:buClrTx/>
                <a:buSzTx/>
                <a:buFontTx/>
                <a:buNone/>
                <a:tabLst/>
                <a:defRPr/>
              </a:pPr>
              <a:endParaRPr kumimoji="0" lang="en-US" sz="2745"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sp>
        <p:nvSpPr>
          <p:cNvPr id="14" name="Down Arrow 92"/>
          <p:cNvSpPr/>
          <p:nvPr/>
        </p:nvSpPr>
        <p:spPr bwMode="auto">
          <a:xfrm rot="5400000" flipV="1">
            <a:off x="2233000" y="4977338"/>
            <a:ext cx="448212" cy="28076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ts val="588"/>
              </a:spcBef>
              <a:spcAft>
                <a:spcPct val="0"/>
              </a:spcAft>
              <a:buClrTx/>
              <a:buSzTx/>
              <a:buFontTx/>
              <a:buNone/>
              <a:tabLst/>
              <a:defRPr/>
            </a:pPr>
            <a:endParaRPr kumimoji="0" lang="en-US" sz="2745"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aphicFrame>
        <p:nvGraphicFramePr>
          <p:cNvPr id="5" name="Object 4"/>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11267" name="think-cell Slide" r:id="rId6" imgW="6350000" imgH="6350000" progId="">
                  <p:embed/>
                </p:oleObj>
              </mc:Choice>
              <mc:Fallback>
                <p:oleObj name="think-cell Slide" r:id="rId6" imgW="6350000" imgH="6350000" progId="">
                  <p:embed/>
                  <p:pic>
                    <p:nvPicPr>
                      <p:cNvPr id="5" name="Object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58" y="2044"/>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normAutofit/>
          </a:bodyPr>
          <a:lstStyle/>
          <a:p>
            <a:r>
              <a:rPr lang="en-US" sz="3921" dirty="0">
                <a:gradFill>
                  <a:gsLst>
                    <a:gs pos="99115">
                      <a:schemeClr val="tx1"/>
                    </a:gs>
                    <a:gs pos="87611">
                      <a:schemeClr val="tx1"/>
                    </a:gs>
                  </a:gsLst>
                  <a:lin ang="5400000" scaled="0"/>
                </a:gradFill>
              </a:rPr>
              <a:t>One solution for Machine Learning - from data to results </a:t>
            </a:r>
          </a:p>
        </p:txBody>
      </p:sp>
      <p:grpSp>
        <p:nvGrpSpPr>
          <p:cNvPr id="6" name="Group 5"/>
          <p:cNvGrpSpPr/>
          <p:nvPr/>
        </p:nvGrpSpPr>
        <p:grpSpPr>
          <a:xfrm>
            <a:off x="500263" y="3925253"/>
            <a:ext cx="3912868" cy="2403677"/>
            <a:chOff x="510293" y="4003466"/>
            <a:chExt cx="3991329" cy="2451876"/>
          </a:xfrm>
        </p:grpSpPr>
        <p:sp>
          <p:nvSpPr>
            <p:cNvPr id="4" name="Rectangle 3"/>
            <p:cNvSpPr/>
            <p:nvPr/>
          </p:nvSpPr>
          <p:spPr bwMode="auto">
            <a:xfrm>
              <a:off x="541175" y="4003466"/>
              <a:ext cx="3960447" cy="2451876"/>
            </a:xfrm>
            <a:prstGeom prst="rect">
              <a:avLst/>
            </a:prstGeom>
            <a:solidFill>
              <a:schemeClr val="accent1"/>
            </a:solid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588"/>
                </a:spcAft>
                <a:buClrTx/>
                <a:buSzTx/>
                <a:buFontTx/>
                <a:buNone/>
                <a:tabLst/>
                <a:defRPr/>
              </a:pPr>
              <a:r>
                <a:rPr kumimoji="0" lang="en-US" sz="3137" b="1" i="0" u="none" strike="noStrike" kern="0" cap="none" spc="-98" normalizeH="0" baseline="0" noProof="0" dirty="0">
                  <a:ln>
                    <a:noFill/>
                  </a:ln>
                  <a:solidFill>
                    <a:schemeClr val="bg1"/>
                  </a:solidFill>
                  <a:effectLst/>
                  <a:uLnTx/>
                  <a:uFillTx/>
                </a:rPr>
                <a:t>Azure Portal</a:t>
              </a:r>
              <a:endParaRPr kumimoji="0" lang="en-US" sz="2745" b="0" i="0" u="none" strike="noStrike" kern="0" cap="none" spc="0" normalizeH="0" baseline="0" noProof="0" dirty="0">
                <a:ln>
                  <a:noFill/>
                </a:ln>
                <a:solidFill>
                  <a:schemeClr val="bg1"/>
                </a:solidFill>
                <a:effectLst/>
                <a:uLnTx/>
                <a:uFillTx/>
              </a:endParaRPr>
            </a:p>
          </p:txBody>
        </p:sp>
        <p:sp>
          <p:nvSpPr>
            <p:cNvPr id="9" name="TextBox 8"/>
            <p:cNvSpPr txBox="1"/>
            <p:nvPr/>
          </p:nvSpPr>
          <p:spPr>
            <a:xfrm>
              <a:off x="510293" y="5656793"/>
              <a:ext cx="2604505" cy="627864"/>
            </a:xfrm>
            <a:prstGeom prst="rect">
              <a:avLst/>
            </a:prstGeom>
            <a:noFill/>
          </p:spPr>
          <p:txBody>
            <a:bodyPr wrap="square" lIns="179285" tIns="143428" rIns="179285" bIns="143428"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dirty="0">
                  <a:ln>
                    <a:noFill/>
                  </a:ln>
                  <a:solidFill>
                    <a:schemeClr val="bg1"/>
                  </a:solidFill>
                  <a:effectLst/>
                  <a:uLnTx/>
                  <a:uFillTx/>
                </a:rPr>
                <a:t>Azure Ops Team</a:t>
              </a:r>
            </a:p>
          </p:txBody>
        </p:sp>
        <p:cxnSp>
          <p:nvCxnSpPr>
            <p:cNvPr id="13" name="Straight Connector 12"/>
            <p:cNvCxnSpPr/>
            <p:nvPr/>
          </p:nvCxnSpPr>
          <p:spPr>
            <a:xfrm>
              <a:off x="541175" y="5567330"/>
              <a:ext cx="3960447" cy="0"/>
            </a:xfrm>
            <a:prstGeom prst="line">
              <a:avLst/>
            </a:prstGeom>
            <a:ln>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p:cNvGrpSpPr/>
          <p:nvPr/>
        </p:nvGrpSpPr>
        <p:grpSpPr>
          <a:xfrm>
            <a:off x="5045620" y="3925252"/>
            <a:ext cx="3719301" cy="2403677"/>
            <a:chOff x="5146794" y="4003465"/>
            <a:chExt cx="3793881" cy="2451876"/>
          </a:xfrm>
        </p:grpSpPr>
        <p:sp>
          <p:nvSpPr>
            <p:cNvPr id="12" name="Rectangle 11"/>
            <p:cNvSpPr/>
            <p:nvPr/>
          </p:nvSpPr>
          <p:spPr bwMode="auto">
            <a:xfrm>
              <a:off x="5146794" y="4003465"/>
              <a:ext cx="3793881" cy="2451876"/>
            </a:xfrm>
            <a:prstGeom prst="rect">
              <a:avLst/>
            </a:prstGeom>
            <a:solidFill>
              <a:schemeClr val="accent1">
                <a:lumMod val="75000"/>
              </a:schemeClr>
            </a:solid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588"/>
                </a:spcAft>
                <a:buClrTx/>
                <a:buSzTx/>
                <a:buFontTx/>
                <a:buNone/>
                <a:tabLst/>
                <a:defRPr/>
              </a:pPr>
              <a:r>
                <a:rPr kumimoji="0" lang="en-US" sz="3137" b="1" i="0" u="none" strike="noStrike" kern="0" cap="none" spc="0" normalizeH="0" baseline="0" noProof="0" dirty="0">
                  <a:ln>
                    <a:noFill/>
                  </a:ln>
                  <a:solidFill>
                    <a:schemeClr val="tx1"/>
                  </a:solidFill>
                  <a:effectLst/>
                  <a:uLnTx/>
                  <a:uFillTx/>
                </a:rPr>
                <a:t>ML Studio </a:t>
              </a:r>
              <a:endParaRPr kumimoji="0" lang="en-US" sz="2745" b="0" i="0" u="none" strike="noStrike" kern="0" cap="none" spc="0" normalizeH="0" baseline="0" noProof="0" dirty="0">
                <a:ln>
                  <a:noFill/>
                </a:ln>
                <a:solidFill>
                  <a:schemeClr val="tx1"/>
                </a:solidFill>
                <a:effectLst/>
                <a:uLnTx/>
                <a:uFillTx/>
              </a:endParaRPr>
            </a:p>
          </p:txBody>
        </p:sp>
        <p:sp>
          <p:nvSpPr>
            <p:cNvPr id="15" name="TextBox 14"/>
            <p:cNvSpPr txBox="1"/>
            <p:nvPr/>
          </p:nvSpPr>
          <p:spPr>
            <a:xfrm>
              <a:off x="5157427" y="5656799"/>
              <a:ext cx="2604505" cy="627864"/>
            </a:xfrm>
            <a:prstGeom prst="rect">
              <a:avLst/>
            </a:prstGeom>
            <a:noFill/>
          </p:spPr>
          <p:txBody>
            <a:bodyPr wrap="square" lIns="179285" tIns="143428" rIns="179285" bIns="143428"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dirty="0">
                  <a:ln>
                    <a:noFill/>
                  </a:ln>
                  <a:solidFill>
                    <a:sysClr val="windowText" lastClr="000000"/>
                  </a:solidFill>
                  <a:effectLst/>
                  <a:uLnTx/>
                  <a:uFillTx/>
                </a:rPr>
                <a:t>Data Scientist</a:t>
              </a:r>
            </a:p>
          </p:txBody>
        </p:sp>
        <p:cxnSp>
          <p:nvCxnSpPr>
            <p:cNvPr id="16" name="Straight Connector 15"/>
            <p:cNvCxnSpPr/>
            <p:nvPr/>
          </p:nvCxnSpPr>
          <p:spPr>
            <a:xfrm>
              <a:off x="5173917" y="5567330"/>
              <a:ext cx="3766758" cy="0"/>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3" name="Group 22"/>
          <p:cNvGrpSpPr/>
          <p:nvPr/>
        </p:nvGrpSpPr>
        <p:grpSpPr>
          <a:xfrm>
            <a:off x="9414633" y="3925193"/>
            <a:ext cx="2345143" cy="637340"/>
            <a:chOff x="9603416" y="4003405"/>
            <a:chExt cx="2392168" cy="650120"/>
          </a:xfrm>
        </p:grpSpPr>
        <p:sp>
          <p:nvSpPr>
            <p:cNvPr id="24" name="Rectangle 23"/>
            <p:cNvSpPr/>
            <p:nvPr/>
          </p:nvSpPr>
          <p:spPr bwMode="auto">
            <a:xfrm>
              <a:off x="9603416" y="4003405"/>
              <a:ext cx="2392168" cy="65012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ts val="588"/>
                </a:spcBef>
                <a:spcAft>
                  <a:spcPct val="0"/>
                </a:spcAft>
                <a:buClrTx/>
                <a:buSzTx/>
                <a:buFontTx/>
                <a:buNone/>
                <a:tabLst/>
                <a:defRPr/>
              </a:pPr>
              <a:endParaRPr kumimoji="0" lang="en-US" sz="2745"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25" name="Rectangle 24"/>
            <p:cNvSpPr/>
            <p:nvPr/>
          </p:nvSpPr>
          <p:spPr bwMode="auto">
            <a:xfrm>
              <a:off x="10182093" y="4026844"/>
              <a:ext cx="1316386" cy="603242"/>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89642" tIns="143428" rIns="89642" bIns="143428" numCol="1" spcCol="0" rtlCol="0" fromWordArt="0" anchor="ctr" anchorCtr="0" forceAA="0" compatLnSpc="1">
              <a:prstTxWarp prst="textNoShape">
                <a:avLst/>
              </a:prstTxWarp>
              <a:spAutoFit/>
            </a:bodyPr>
            <a:lstStyle/>
            <a:p>
              <a:pPr marL="0" marR="0" lvl="0" indent="0" defTabSz="914102" eaLnBrk="1" fontAlgn="base" latinLnBrk="0" hangingPunct="1">
                <a:lnSpc>
                  <a:spcPct val="100000"/>
                </a:lnSpc>
                <a:spcBef>
                  <a:spcPts val="588"/>
                </a:spcBef>
                <a:spcAft>
                  <a:spcPct val="0"/>
                </a:spcAft>
                <a:buClrTx/>
                <a:buSzTx/>
                <a:buFontTx/>
                <a:buNone/>
                <a:tabLst/>
                <a:defRPr/>
              </a:pPr>
              <a:r>
                <a:rPr kumimoji="0" lang="en-US" sz="1961" b="0" i="0" u="none" strike="noStrike" kern="0" cap="none" spc="0" normalizeH="0" baseline="0" noProof="0" dirty="0">
                  <a:ln>
                    <a:noFill/>
                  </a:ln>
                  <a:solidFill>
                    <a:sysClr val="windowText" lastClr="000000"/>
                  </a:solidFill>
                  <a:effectLst/>
                  <a:uLnTx/>
                  <a:uFillTx/>
                  <a:ea typeface="Segoe UI" pitchFamily="34" charset="0"/>
                  <a:cs typeface="Segoe UI" pitchFamily="34" charset="0"/>
                </a:rPr>
                <a:t>HDInsight</a:t>
              </a:r>
            </a:p>
          </p:txBody>
        </p:sp>
        <p:sp>
          <p:nvSpPr>
            <p:cNvPr id="26" name="Freeform 15"/>
            <p:cNvSpPr>
              <a:spLocks noEditPoints="1"/>
            </p:cNvSpPr>
            <p:nvPr/>
          </p:nvSpPr>
          <p:spPr bwMode="black">
            <a:xfrm>
              <a:off x="9675002" y="4106638"/>
              <a:ext cx="486503" cy="44365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tx1"/>
            </a:solidFill>
            <a:ln>
              <a:noFill/>
            </a:ln>
          </p:spPr>
          <p:txBody>
            <a:bodyPr vert="horz" wrap="square" lIns="80687" tIns="40344" rIns="80687" bIns="40344"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chemeClr val="bg1"/>
                </a:solidFill>
                <a:effectLst/>
                <a:uLnTx/>
                <a:uFillTx/>
              </a:endParaRPr>
            </a:p>
          </p:txBody>
        </p:sp>
      </p:grpSp>
      <p:grpSp>
        <p:nvGrpSpPr>
          <p:cNvPr id="27" name="Group 26"/>
          <p:cNvGrpSpPr/>
          <p:nvPr/>
        </p:nvGrpSpPr>
        <p:grpSpPr>
          <a:xfrm>
            <a:off x="9414633" y="4829736"/>
            <a:ext cx="2345144" cy="637340"/>
            <a:chOff x="9603415" y="4926086"/>
            <a:chExt cx="2392169" cy="650120"/>
          </a:xfrm>
        </p:grpSpPr>
        <p:sp>
          <p:nvSpPr>
            <p:cNvPr id="28" name="Rectangle 27"/>
            <p:cNvSpPr/>
            <p:nvPr/>
          </p:nvSpPr>
          <p:spPr bwMode="auto">
            <a:xfrm>
              <a:off x="9603415" y="4926086"/>
              <a:ext cx="2392169" cy="65012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ts val="588"/>
                </a:spcBef>
                <a:spcAft>
                  <a:spcPct val="0"/>
                </a:spcAft>
                <a:buClrTx/>
                <a:buSzTx/>
                <a:buFontTx/>
                <a:buNone/>
                <a:tabLst/>
                <a:defRPr/>
              </a:pPr>
              <a:endParaRPr kumimoji="0" lang="en-US" sz="2745"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29" name="Rectangle 28"/>
            <p:cNvSpPr/>
            <p:nvPr/>
          </p:nvSpPr>
          <p:spPr bwMode="auto">
            <a:xfrm>
              <a:off x="10182093" y="4949525"/>
              <a:ext cx="1784463" cy="603242"/>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89642" tIns="143428" rIns="89642" bIns="143428" numCol="1" spcCol="0" rtlCol="0" fromWordArt="0" anchor="ctr" anchorCtr="0" forceAA="0" compatLnSpc="1">
              <a:prstTxWarp prst="textNoShape">
                <a:avLst/>
              </a:prstTxWarp>
              <a:spAutoFit/>
            </a:bodyPr>
            <a:lstStyle/>
            <a:p>
              <a:pPr marL="0" marR="0" lvl="0" indent="0" defTabSz="914102" eaLnBrk="1" fontAlgn="base" latinLnBrk="0" hangingPunct="1">
                <a:lnSpc>
                  <a:spcPct val="100000"/>
                </a:lnSpc>
                <a:spcBef>
                  <a:spcPts val="588"/>
                </a:spcBef>
                <a:spcAft>
                  <a:spcPct val="0"/>
                </a:spcAft>
                <a:buClrTx/>
                <a:buSzTx/>
                <a:buFontTx/>
                <a:buNone/>
                <a:tabLst/>
                <a:defRPr/>
              </a:pPr>
              <a:r>
                <a:rPr kumimoji="0" lang="en-US" sz="1961" b="0" i="0" u="none" strike="noStrike" kern="0" cap="none" spc="0" normalizeH="0" baseline="0" noProof="0" dirty="0">
                  <a:ln>
                    <a:noFill/>
                  </a:ln>
                  <a:solidFill>
                    <a:sysClr val="windowText" lastClr="000000"/>
                  </a:solidFill>
                  <a:effectLst/>
                  <a:uLnTx/>
                  <a:uFillTx/>
                  <a:ea typeface="Segoe UI" pitchFamily="34" charset="0"/>
                  <a:cs typeface="Segoe UI" pitchFamily="34" charset="0"/>
                </a:rPr>
                <a:t>Azure Storage</a:t>
              </a:r>
            </a:p>
          </p:txBody>
        </p:sp>
        <p:grpSp>
          <p:nvGrpSpPr>
            <p:cNvPr id="30" name="Group 29"/>
            <p:cNvGrpSpPr>
              <a:grpSpLocks noChangeAspect="1"/>
            </p:cNvGrpSpPr>
            <p:nvPr/>
          </p:nvGrpSpPr>
          <p:grpSpPr>
            <a:xfrm>
              <a:off x="9805802" y="5067297"/>
              <a:ext cx="283149" cy="367698"/>
              <a:chOff x="377825" y="1184276"/>
              <a:chExt cx="1020763" cy="1325563"/>
            </a:xfrm>
            <a:solidFill>
              <a:schemeClr val="bg1"/>
            </a:solidFill>
          </p:grpSpPr>
          <p:sp>
            <p:nvSpPr>
              <p:cNvPr id="31" name="Oval 122"/>
              <p:cNvSpPr>
                <a:spLocks noChangeArrowheads="1"/>
              </p:cNvSpPr>
              <p:nvPr/>
            </p:nvSpPr>
            <p:spPr bwMode="auto">
              <a:xfrm>
                <a:off x="395288" y="1184276"/>
                <a:ext cx="985838" cy="18732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p:txBody>
          </p:sp>
          <p:sp>
            <p:nvSpPr>
              <p:cNvPr id="32"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p:txBody>
          </p:sp>
        </p:grpSp>
      </p:grpSp>
      <p:grpSp>
        <p:nvGrpSpPr>
          <p:cNvPr id="33" name="Group 32"/>
          <p:cNvGrpSpPr/>
          <p:nvPr/>
        </p:nvGrpSpPr>
        <p:grpSpPr>
          <a:xfrm>
            <a:off x="9414633" y="5691589"/>
            <a:ext cx="2345144" cy="637340"/>
            <a:chOff x="9603415" y="5805221"/>
            <a:chExt cx="2392169" cy="650120"/>
          </a:xfrm>
        </p:grpSpPr>
        <p:sp>
          <p:nvSpPr>
            <p:cNvPr id="34" name="Rectangle 33"/>
            <p:cNvSpPr/>
            <p:nvPr/>
          </p:nvSpPr>
          <p:spPr bwMode="auto">
            <a:xfrm>
              <a:off x="9603415" y="5805221"/>
              <a:ext cx="2392169" cy="65012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ts val="588"/>
                </a:spcBef>
                <a:spcAft>
                  <a:spcPct val="0"/>
                </a:spcAft>
                <a:buClrTx/>
                <a:buSzTx/>
                <a:buFontTx/>
                <a:buNone/>
                <a:tabLst/>
                <a:defRPr/>
              </a:pPr>
              <a:endParaRPr kumimoji="0" lang="en-US" sz="2745"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35" name="Rectangle 34"/>
            <p:cNvSpPr/>
            <p:nvPr/>
          </p:nvSpPr>
          <p:spPr bwMode="auto">
            <a:xfrm>
              <a:off x="10182093" y="5828660"/>
              <a:ext cx="1720343" cy="603242"/>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89642" tIns="143428" rIns="89642" bIns="143428" numCol="1" spcCol="0" rtlCol="0" fromWordArt="0" anchor="ctr" anchorCtr="0" forceAA="0" compatLnSpc="1">
              <a:prstTxWarp prst="textNoShape">
                <a:avLst/>
              </a:prstTxWarp>
              <a:spAutoFit/>
            </a:bodyPr>
            <a:lstStyle/>
            <a:p>
              <a:pPr marL="0" marR="0" lvl="0" indent="0" defTabSz="914102" eaLnBrk="1" fontAlgn="base" latinLnBrk="0" hangingPunct="1">
                <a:lnSpc>
                  <a:spcPct val="100000"/>
                </a:lnSpc>
                <a:spcBef>
                  <a:spcPts val="588"/>
                </a:spcBef>
                <a:spcAft>
                  <a:spcPct val="0"/>
                </a:spcAft>
                <a:buClrTx/>
                <a:buSzTx/>
                <a:buFontTx/>
                <a:buNone/>
                <a:tabLst/>
                <a:defRPr/>
              </a:pPr>
              <a:r>
                <a:rPr kumimoji="0" lang="en-US" sz="1961" b="0" i="0" u="none" strike="noStrike" kern="0" cap="none" spc="0" normalizeH="0" baseline="0" noProof="0" dirty="0">
                  <a:ln>
                    <a:noFill/>
                  </a:ln>
                  <a:solidFill>
                    <a:sysClr val="windowText" lastClr="000000"/>
                  </a:solidFill>
                  <a:effectLst/>
                  <a:uLnTx/>
                  <a:uFillTx/>
                  <a:ea typeface="Segoe UI" pitchFamily="34" charset="0"/>
                  <a:cs typeface="Segoe UI" pitchFamily="34" charset="0"/>
                </a:rPr>
                <a:t>Desktop Data</a:t>
              </a:r>
            </a:p>
          </p:txBody>
        </p:sp>
        <p:grpSp>
          <p:nvGrpSpPr>
            <p:cNvPr id="36" name="Group 35"/>
            <p:cNvGrpSpPr/>
            <p:nvPr/>
          </p:nvGrpSpPr>
          <p:grpSpPr>
            <a:xfrm>
              <a:off x="9715841" y="5933941"/>
              <a:ext cx="463070" cy="392680"/>
              <a:chOff x="9566494" y="6041004"/>
              <a:chExt cx="635754" cy="539115"/>
            </a:xfrm>
            <a:solidFill>
              <a:schemeClr val="bg1"/>
            </a:solidFill>
          </p:grpSpPr>
          <p:sp>
            <p:nvSpPr>
              <p:cNvPr id="37" name="Freeform 88"/>
              <p:cNvSpPr>
                <a:spLocks noEditPoints="1"/>
              </p:cNvSpPr>
              <p:nvPr/>
            </p:nvSpPr>
            <p:spPr bwMode="black">
              <a:xfrm>
                <a:off x="9566494" y="6041004"/>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w="12700" cap="flat" cmpd="sng" algn="ctr">
                <a:noFill/>
                <a:prstDash val="solid"/>
                <a:miter lim="800000"/>
                <a:headEnd type="none" w="med" len="med"/>
                <a:tailEnd type="none" w="med" len="med"/>
              </a:ln>
              <a:effectLst/>
              <a:extLst/>
            </p:spPr>
            <p:txBody>
              <a:bodyPr vert="horz" wrap="square" lIns="89639" tIns="44819" rIns="89639" bIns="44819" numCol="1" rtlCol="0" anchor="ctr" anchorCtr="0" compatLnSpc="1">
                <a:prstTxWarp prst="textNoShape">
                  <a:avLst/>
                </a:prstTxWarp>
              </a:bodyPr>
              <a:lstStyle/>
              <a:p>
                <a:pPr marL="0" marR="0" lvl="0" indent="0" defTabSz="726147" eaLnBrk="1" fontAlgn="auto" latinLnBrk="0" hangingPunct="1">
                  <a:lnSpc>
                    <a:spcPct val="100000"/>
                  </a:lnSpc>
                  <a:spcBef>
                    <a:spcPts val="0"/>
                  </a:spcBef>
                  <a:spcAft>
                    <a:spcPts val="0"/>
                  </a:spcAft>
                  <a:buClrTx/>
                  <a:buSzTx/>
                  <a:buFontTx/>
                  <a:buNone/>
                  <a:tabLst/>
                  <a:defRPr/>
                </a:pPr>
                <a:endParaRPr kumimoji="0" lang="en-US" sz="1765" b="0" i="0" u="none" strike="noStrike" kern="0" cap="none" spc="-120" normalizeH="0" baseline="0" noProof="0" dirty="0">
                  <a:ln>
                    <a:noFill/>
                  </a:ln>
                  <a:solidFill>
                    <a:sysClr val="windowText" lastClr="000000"/>
                  </a:solidFill>
                  <a:effectLst/>
                  <a:uLnTx/>
                  <a:uFillTx/>
                  <a:latin typeface="Segoe Light" pitchFamily="34" charset="0"/>
                </a:endParaRPr>
              </a:p>
            </p:txBody>
          </p:sp>
          <p:grpSp>
            <p:nvGrpSpPr>
              <p:cNvPr id="38" name="Group 37"/>
              <p:cNvGrpSpPr/>
              <p:nvPr/>
            </p:nvGrpSpPr>
            <p:grpSpPr>
              <a:xfrm>
                <a:off x="9631793" y="6082370"/>
                <a:ext cx="505157" cy="378836"/>
                <a:chOff x="9642959" y="6082370"/>
                <a:chExt cx="505157" cy="378836"/>
              </a:xfrm>
              <a:grpFill/>
            </p:grpSpPr>
            <p:sp>
              <p:nvSpPr>
                <p:cNvPr id="39" name="Freeform 7"/>
                <p:cNvSpPr>
                  <a:spLocks/>
                </p:cNvSpPr>
                <p:nvPr/>
              </p:nvSpPr>
              <p:spPr bwMode="auto">
                <a:xfrm>
                  <a:off x="9751895" y="6082370"/>
                  <a:ext cx="43445" cy="99922"/>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rgbClr val="000000"/>
                    </a:solidFill>
                    <a:effectLst/>
                    <a:uLnTx/>
                    <a:uFillTx/>
                  </a:endParaRPr>
                </a:p>
              </p:txBody>
            </p:sp>
            <p:sp>
              <p:nvSpPr>
                <p:cNvPr id="40" name="Freeform 8"/>
                <p:cNvSpPr>
                  <a:spLocks noEditPoints="1"/>
                </p:cNvSpPr>
                <p:nvPr/>
              </p:nvSpPr>
              <p:spPr bwMode="auto">
                <a:xfrm>
                  <a:off x="9830097" y="6082370"/>
                  <a:ext cx="69512" cy="99922"/>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rgbClr val="000000"/>
                    </a:solidFill>
                    <a:effectLst/>
                    <a:uLnTx/>
                    <a:uFillTx/>
                  </a:endParaRPr>
                </a:p>
              </p:txBody>
            </p:sp>
            <p:sp>
              <p:nvSpPr>
                <p:cNvPr id="41" name="Freeform 9"/>
                <p:cNvSpPr>
                  <a:spLocks/>
                </p:cNvSpPr>
                <p:nvPr/>
              </p:nvSpPr>
              <p:spPr bwMode="auto">
                <a:xfrm>
                  <a:off x="9918725" y="6082370"/>
                  <a:ext cx="42577" cy="9992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rgbClr val="000000"/>
                    </a:solidFill>
                    <a:effectLst/>
                    <a:uLnTx/>
                    <a:uFillTx/>
                  </a:endParaRPr>
                </a:p>
              </p:txBody>
            </p:sp>
            <p:sp>
              <p:nvSpPr>
                <p:cNvPr id="42" name="Freeform 10"/>
                <p:cNvSpPr>
                  <a:spLocks noEditPoints="1"/>
                </p:cNvSpPr>
                <p:nvPr/>
              </p:nvSpPr>
              <p:spPr bwMode="auto">
                <a:xfrm>
                  <a:off x="9744075" y="6221392"/>
                  <a:ext cx="69512" cy="100791"/>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rgbClr val="000000"/>
                    </a:solidFill>
                    <a:effectLst/>
                    <a:uLnTx/>
                    <a:uFillTx/>
                  </a:endParaRPr>
                </a:p>
              </p:txBody>
            </p:sp>
            <p:sp>
              <p:nvSpPr>
                <p:cNvPr id="43" name="Freeform 11"/>
                <p:cNvSpPr>
                  <a:spLocks/>
                </p:cNvSpPr>
                <p:nvPr/>
              </p:nvSpPr>
              <p:spPr bwMode="auto">
                <a:xfrm>
                  <a:off x="9837917" y="6221392"/>
                  <a:ext cx="43445" cy="99053"/>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rgbClr val="000000"/>
                    </a:solidFill>
                    <a:effectLst/>
                    <a:uLnTx/>
                    <a:uFillTx/>
                  </a:endParaRPr>
                </a:p>
              </p:txBody>
            </p:sp>
            <p:sp>
              <p:nvSpPr>
                <p:cNvPr id="44" name="Freeform 12"/>
                <p:cNvSpPr>
                  <a:spLocks noEditPoints="1"/>
                </p:cNvSpPr>
                <p:nvPr/>
              </p:nvSpPr>
              <p:spPr bwMode="auto">
                <a:xfrm>
                  <a:off x="9910036" y="6221392"/>
                  <a:ext cx="69512" cy="100791"/>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rgbClr val="000000"/>
                    </a:solidFill>
                    <a:effectLst/>
                    <a:uLnTx/>
                    <a:uFillTx/>
                  </a:endParaRPr>
                </a:p>
              </p:txBody>
            </p:sp>
            <p:sp>
              <p:nvSpPr>
                <p:cNvPr id="45" name="Freeform 13"/>
                <p:cNvSpPr>
                  <a:spLocks noEditPoints="1"/>
                </p:cNvSpPr>
                <p:nvPr/>
              </p:nvSpPr>
              <p:spPr bwMode="auto">
                <a:xfrm>
                  <a:off x="9744075" y="6361284"/>
                  <a:ext cx="69512" cy="99922"/>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rgbClr val="000000"/>
                    </a:solidFill>
                    <a:effectLst/>
                    <a:uLnTx/>
                    <a:uFillTx/>
                  </a:endParaRPr>
                </a:p>
              </p:txBody>
            </p:sp>
            <p:sp>
              <p:nvSpPr>
                <p:cNvPr id="46" name="Freeform 14"/>
                <p:cNvSpPr>
                  <a:spLocks noEditPoints="1"/>
                </p:cNvSpPr>
                <p:nvPr/>
              </p:nvSpPr>
              <p:spPr bwMode="auto">
                <a:xfrm>
                  <a:off x="9830097" y="6361284"/>
                  <a:ext cx="69512" cy="999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rgbClr val="000000"/>
                    </a:solidFill>
                    <a:effectLst/>
                    <a:uLnTx/>
                    <a:uFillTx/>
                  </a:endParaRPr>
                </a:p>
              </p:txBody>
            </p:sp>
            <p:sp>
              <p:nvSpPr>
                <p:cNvPr id="47" name="Freeform 15"/>
                <p:cNvSpPr>
                  <a:spLocks/>
                </p:cNvSpPr>
                <p:nvPr/>
              </p:nvSpPr>
              <p:spPr bwMode="auto">
                <a:xfrm>
                  <a:off x="9918725" y="6361284"/>
                  <a:ext cx="42577" cy="98185"/>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rgbClr val="000000"/>
                    </a:solidFill>
                    <a:effectLst/>
                    <a:uLnTx/>
                    <a:uFillTx/>
                  </a:endParaRPr>
                </a:p>
              </p:txBody>
            </p:sp>
            <p:sp>
              <p:nvSpPr>
                <p:cNvPr id="48" name="Freeform 16"/>
                <p:cNvSpPr>
                  <a:spLocks/>
                </p:cNvSpPr>
                <p:nvPr/>
              </p:nvSpPr>
              <p:spPr bwMode="auto">
                <a:xfrm>
                  <a:off x="10086423" y="6082370"/>
                  <a:ext cx="43445" cy="9992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rgbClr val="000000"/>
                    </a:solidFill>
                    <a:effectLst/>
                    <a:uLnTx/>
                    <a:uFillTx/>
                  </a:endParaRPr>
                </a:p>
              </p:txBody>
            </p:sp>
            <p:sp>
              <p:nvSpPr>
                <p:cNvPr id="49" name="Freeform 17"/>
                <p:cNvSpPr>
                  <a:spLocks noEditPoints="1"/>
                </p:cNvSpPr>
                <p:nvPr/>
              </p:nvSpPr>
              <p:spPr bwMode="auto">
                <a:xfrm>
                  <a:off x="10078604" y="6221392"/>
                  <a:ext cx="69512" cy="100791"/>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rgbClr val="000000"/>
                    </a:solidFill>
                    <a:effectLst/>
                    <a:uLnTx/>
                    <a:uFillTx/>
                  </a:endParaRPr>
                </a:p>
              </p:txBody>
            </p:sp>
            <p:sp>
              <p:nvSpPr>
                <p:cNvPr id="50" name="Freeform 18"/>
                <p:cNvSpPr>
                  <a:spLocks noEditPoints="1"/>
                </p:cNvSpPr>
                <p:nvPr/>
              </p:nvSpPr>
              <p:spPr bwMode="auto">
                <a:xfrm>
                  <a:off x="10078604" y="6361284"/>
                  <a:ext cx="69512" cy="999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rgbClr val="000000"/>
                    </a:solidFill>
                    <a:effectLst/>
                    <a:uLnTx/>
                    <a:uFillTx/>
                  </a:endParaRPr>
                </a:p>
              </p:txBody>
            </p:sp>
            <p:sp>
              <p:nvSpPr>
                <p:cNvPr id="51" name="Freeform 19"/>
                <p:cNvSpPr>
                  <a:spLocks noEditPoints="1"/>
                </p:cNvSpPr>
                <p:nvPr/>
              </p:nvSpPr>
              <p:spPr bwMode="auto">
                <a:xfrm>
                  <a:off x="9992582" y="6082370"/>
                  <a:ext cx="69512" cy="99922"/>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rgbClr val="000000"/>
                    </a:solidFill>
                    <a:effectLst/>
                    <a:uLnTx/>
                    <a:uFillTx/>
                  </a:endParaRPr>
                </a:p>
              </p:txBody>
            </p:sp>
            <p:sp>
              <p:nvSpPr>
                <p:cNvPr id="52" name="Freeform 20"/>
                <p:cNvSpPr>
                  <a:spLocks/>
                </p:cNvSpPr>
                <p:nvPr/>
              </p:nvSpPr>
              <p:spPr bwMode="auto">
                <a:xfrm>
                  <a:off x="10000402" y="6221392"/>
                  <a:ext cx="43445" cy="99053"/>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rgbClr val="000000"/>
                    </a:solidFill>
                    <a:effectLst/>
                    <a:uLnTx/>
                    <a:uFillTx/>
                  </a:endParaRPr>
                </a:p>
              </p:txBody>
            </p:sp>
            <p:sp>
              <p:nvSpPr>
                <p:cNvPr id="53" name="Freeform 21"/>
                <p:cNvSpPr>
                  <a:spLocks noEditPoints="1"/>
                </p:cNvSpPr>
                <p:nvPr/>
              </p:nvSpPr>
              <p:spPr bwMode="auto">
                <a:xfrm>
                  <a:off x="9992582" y="6361284"/>
                  <a:ext cx="69512" cy="99922"/>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rgbClr val="000000"/>
                    </a:solidFill>
                    <a:effectLst/>
                    <a:uLnTx/>
                    <a:uFillTx/>
                  </a:endParaRPr>
                </a:p>
              </p:txBody>
            </p:sp>
            <p:sp>
              <p:nvSpPr>
                <p:cNvPr id="54" name="Freeform 16"/>
                <p:cNvSpPr>
                  <a:spLocks/>
                </p:cNvSpPr>
                <p:nvPr/>
              </p:nvSpPr>
              <p:spPr bwMode="auto">
                <a:xfrm>
                  <a:off x="9650778" y="6082370"/>
                  <a:ext cx="43445" cy="9992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rgbClr val="000000"/>
                    </a:solidFill>
                    <a:effectLst/>
                    <a:uLnTx/>
                    <a:uFillTx/>
                  </a:endParaRPr>
                </a:p>
              </p:txBody>
            </p:sp>
            <p:sp>
              <p:nvSpPr>
                <p:cNvPr id="55" name="Freeform 17"/>
                <p:cNvSpPr>
                  <a:spLocks noEditPoints="1"/>
                </p:cNvSpPr>
                <p:nvPr/>
              </p:nvSpPr>
              <p:spPr bwMode="auto">
                <a:xfrm>
                  <a:off x="9642959" y="6221392"/>
                  <a:ext cx="69512" cy="100791"/>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rgbClr val="000000"/>
                    </a:solidFill>
                    <a:effectLst/>
                    <a:uLnTx/>
                    <a:uFillTx/>
                  </a:endParaRPr>
                </a:p>
              </p:txBody>
            </p:sp>
            <p:sp>
              <p:nvSpPr>
                <p:cNvPr id="56" name="Freeform 18"/>
                <p:cNvSpPr>
                  <a:spLocks noEditPoints="1"/>
                </p:cNvSpPr>
                <p:nvPr/>
              </p:nvSpPr>
              <p:spPr bwMode="auto">
                <a:xfrm>
                  <a:off x="9642959" y="6361284"/>
                  <a:ext cx="69512" cy="999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rgbClr val="000000"/>
                    </a:solidFill>
                    <a:effectLst/>
                    <a:uLnTx/>
                    <a:uFillTx/>
                  </a:endParaRPr>
                </a:p>
              </p:txBody>
            </p:sp>
          </p:grpSp>
        </p:grpSp>
      </p:grpSp>
      <p:grpSp>
        <p:nvGrpSpPr>
          <p:cNvPr id="66" name="Group 65"/>
          <p:cNvGrpSpPr/>
          <p:nvPr/>
        </p:nvGrpSpPr>
        <p:grpSpPr>
          <a:xfrm>
            <a:off x="8813782" y="4040402"/>
            <a:ext cx="559638" cy="2213678"/>
            <a:chOff x="8990516" y="4120923"/>
            <a:chExt cx="570860" cy="2258067"/>
          </a:xfrm>
          <a:solidFill>
            <a:schemeClr val="tx1"/>
          </a:solidFill>
        </p:grpSpPr>
        <p:sp>
          <p:nvSpPr>
            <p:cNvPr id="59" name="Down Arrow 92"/>
            <p:cNvSpPr/>
            <p:nvPr/>
          </p:nvSpPr>
          <p:spPr bwMode="auto">
            <a:xfrm rot="10800000" flipV="1">
              <a:off x="8990516" y="4120923"/>
              <a:ext cx="570857" cy="454819"/>
            </a:xfrm>
            <a:prstGeom prst="leftRightArrow">
              <a:avLst>
                <a:gd name="adj1" fmla="val 49590"/>
                <a:gd name="adj2" fmla="val 50879"/>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ts val="588"/>
                </a:spcBef>
                <a:spcAft>
                  <a:spcPct val="0"/>
                </a:spcAft>
                <a:buClrTx/>
                <a:buSzTx/>
                <a:buFontTx/>
                <a:buNone/>
                <a:tabLst/>
                <a:defRPr/>
              </a:pPr>
              <a:endParaRPr kumimoji="0" lang="en-US" sz="2745"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62" name="Down Arrow 92"/>
            <p:cNvSpPr/>
            <p:nvPr/>
          </p:nvSpPr>
          <p:spPr bwMode="auto">
            <a:xfrm rot="10800000" flipV="1">
              <a:off x="8990516" y="5020163"/>
              <a:ext cx="570860" cy="457204"/>
            </a:xfrm>
            <a:prstGeom prst="leftRight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ts val="588"/>
                </a:spcBef>
                <a:spcAft>
                  <a:spcPct val="0"/>
                </a:spcAft>
                <a:buClrTx/>
                <a:buSzTx/>
                <a:buFontTx/>
                <a:buNone/>
                <a:tabLst/>
                <a:defRPr/>
              </a:pPr>
              <a:endParaRPr kumimoji="0" lang="en-US" sz="2745"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65" name="Down Arrow 92"/>
            <p:cNvSpPr/>
            <p:nvPr/>
          </p:nvSpPr>
          <p:spPr bwMode="auto">
            <a:xfrm rot="10800000" flipV="1">
              <a:off x="8990516" y="5921788"/>
              <a:ext cx="569968" cy="457202"/>
            </a:xfrm>
            <a:prstGeom prst="leftRight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ts val="588"/>
                </a:spcBef>
                <a:spcAft>
                  <a:spcPct val="0"/>
                </a:spcAft>
                <a:buClrTx/>
                <a:buSzTx/>
                <a:buFontTx/>
                <a:buNone/>
                <a:tabLst/>
                <a:defRPr/>
              </a:pPr>
              <a:endParaRPr kumimoji="0" lang="en-US" sz="2745"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70" name="Group 69"/>
          <p:cNvGrpSpPr/>
          <p:nvPr/>
        </p:nvGrpSpPr>
        <p:grpSpPr>
          <a:xfrm>
            <a:off x="500263" y="3925253"/>
            <a:ext cx="3912868" cy="2403677"/>
            <a:chOff x="510293" y="4003466"/>
            <a:chExt cx="3991329" cy="2451876"/>
          </a:xfrm>
        </p:grpSpPr>
        <p:sp>
          <p:nvSpPr>
            <p:cNvPr id="71" name="Rectangle 70"/>
            <p:cNvSpPr/>
            <p:nvPr/>
          </p:nvSpPr>
          <p:spPr bwMode="auto">
            <a:xfrm>
              <a:off x="541175" y="4003466"/>
              <a:ext cx="3960447" cy="2451876"/>
            </a:xfrm>
            <a:prstGeom prst="rect">
              <a:avLst/>
            </a:prstGeom>
            <a:solidFill>
              <a:schemeClr val="accent1">
                <a:lumMod val="75000"/>
              </a:schemeClr>
            </a:solid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588"/>
                </a:spcAft>
                <a:buClrTx/>
                <a:buSzTx/>
                <a:buFontTx/>
                <a:buNone/>
                <a:tabLst/>
                <a:defRPr/>
              </a:pPr>
              <a:r>
                <a:rPr kumimoji="0" lang="en-US" sz="3137" b="1" i="0" u="none" strike="noStrike" kern="0" cap="none" spc="-98" normalizeH="0" baseline="0" noProof="0" dirty="0">
                  <a:ln>
                    <a:noFill/>
                  </a:ln>
                  <a:solidFill>
                    <a:schemeClr val="tx1"/>
                  </a:solidFill>
                  <a:effectLst/>
                  <a:uLnTx/>
                  <a:uFillTx/>
                </a:rPr>
                <a:t>Azure Portal &amp; </a:t>
              </a:r>
              <a:br>
                <a:rPr kumimoji="0" lang="en-US" sz="3137" b="1" i="0" u="none" strike="noStrike" kern="0" cap="none" spc="-98" normalizeH="0" baseline="0" noProof="0" dirty="0">
                  <a:ln>
                    <a:noFill/>
                  </a:ln>
                  <a:solidFill>
                    <a:schemeClr val="tx1"/>
                  </a:solidFill>
                  <a:effectLst/>
                  <a:uLnTx/>
                  <a:uFillTx/>
                </a:rPr>
              </a:br>
              <a:r>
                <a:rPr kumimoji="0" lang="en-US" sz="3137" b="1" i="0" u="none" strike="noStrike" kern="0" cap="none" spc="-98" normalizeH="0" baseline="0" noProof="0" dirty="0">
                  <a:ln>
                    <a:noFill/>
                  </a:ln>
                  <a:solidFill>
                    <a:schemeClr val="tx1"/>
                  </a:solidFill>
                  <a:effectLst/>
                  <a:uLnTx/>
                  <a:uFillTx/>
                </a:rPr>
                <a:t>ML API service</a:t>
              </a:r>
              <a:endParaRPr kumimoji="0" lang="en-US" sz="2745" b="0" i="0" u="none" strike="noStrike" kern="0" cap="none" spc="0" normalizeH="0" baseline="0" noProof="0" dirty="0">
                <a:ln>
                  <a:noFill/>
                </a:ln>
                <a:solidFill>
                  <a:schemeClr val="tx1"/>
                </a:solidFill>
                <a:effectLst/>
                <a:uLnTx/>
                <a:uFillTx/>
              </a:endParaRPr>
            </a:p>
          </p:txBody>
        </p:sp>
        <p:sp>
          <p:nvSpPr>
            <p:cNvPr id="72" name="TextBox 71"/>
            <p:cNvSpPr txBox="1"/>
            <p:nvPr/>
          </p:nvSpPr>
          <p:spPr>
            <a:xfrm>
              <a:off x="510293" y="5656793"/>
              <a:ext cx="2604505" cy="627864"/>
            </a:xfrm>
            <a:prstGeom prst="rect">
              <a:avLst/>
            </a:prstGeom>
            <a:noFill/>
          </p:spPr>
          <p:txBody>
            <a:bodyPr wrap="square" lIns="179285" tIns="143428" rIns="179285" bIns="143428"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dirty="0">
                  <a:ln>
                    <a:noFill/>
                  </a:ln>
                  <a:solidFill>
                    <a:sysClr val="windowText" lastClr="000000"/>
                  </a:solidFill>
                  <a:effectLst/>
                  <a:uLnTx/>
                  <a:uFillTx/>
                </a:rPr>
                <a:t>Azure Ops Team</a:t>
              </a:r>
            </a:p>
          </p:txBody>
        </p:sp>
        <p:cxnSp>
          <p:nvCxnSpPr>
            <p:cNvPr id="73" name="Straight Connector 72"/>
            <p:cNvCxnSpPr/>
            <p:nvPr/>
          </p:nvCxnSpPr>
          <p:spPr>
            <a:xfrm>
              <a:off x="541175" y="5567330"/>
              <a:ext cx="3960447" cy="0"/>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1" name="Group 100"/>
          <p:cNvGrpSpPr/>
          <p:nvPr/>
        </p:nvGrpSpPr>
        <p:grpSpPr>
          <a:xfrm>
            <a:off x="530537" y="1097846"/>
            <a:ext cx="6685590" cy="1173915"/>
            <a:chOff x="541175" y="1119364"/>
            <a:chExt cx="6819650" cy="1197454"/>
          </a:xfrm>
        </p:grpSpPr>
        <p:grpSp>
          <p:nvGrpSpPr>
            <p:cNvPr id="99" name="Group 98"/>
            <p:cNvGrpSpPr/>
            <p:nvPr/>
          </p:nvGrpSpPr>
          <p:grpSpPr>
            <a:xfrm>
              <a:off x="5129689" y="1119364"/>
              <a:ext cx="2231136" cy="1197454"/>
              <a:chOff x="5129689" y="1119364"/>
              <a:chExt cx="2231136" cy="1197454"/>
            </a:xfrm>
          </p:grpSpPr>
          <p:sp>
            <p:nvSpPr>
              <p:cNvPr id="94" name="Rectangle 93"/>
              <p:cNvSpPr/>
              <p:nvPr/>
            </p:nvSpPr>
            <p:spPr bwMode="auto">
              <a:xfrm>
                <a:off x="5129689" y="1119364"/>
                <a:ext cx="2231136" cy="1197454"/>
              </a:xfrm>
              <a:prstGeom prst="rect">
                <a:avLst/>
              </a:prstGeom>
              <a:no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ts val="588"/>
                  </a:spcBef>
                  <a:spcAft>
                    <a:spcPct val="0"/>
                  </a:spcAft>
                  <a:buClrTx/>
                  <a:buSzTx/>
                  <a:buFontTx/>
                  <a:buNone/>
                  <a:tabLst/>
                  <a:defRPr/>
                </a:pPr>
                <a:endParaRPr kumimoji="0" lang="en-US" sz="2745" b="0" i="0" u="none" strike="noStrike" kern="0" cap="none" spc="0" normalizeH="0" baseline="0" noProof="0" dirty="0">
                  <a:ln>
                    <a:noFill/>
                  </a:ln>
                  <a:solidFill>
                    <a:schemeClr val="tx1"/>
                  </a:solidFill>
                  <a:effectLst/>
                  <a:uLnTx/>
                  <a:uFillTx/>
                  <a:latin typeface="+mj-lt"/>
                  <a:ea typeface="Segoe UI" pitchFamily="34" charset="0"/>
                  <a:cs typeface="Segoe UI" pitchFamily="34" charset="0"/>
                </a:endParaRPr>
              </a:p>
            </p:txBody>
          </p:sp>
          <p:grpSp>
            <p:nvGrpSpPr>
              <p:cNvPr id="82" name="Group 81"/>
              <p:cNvGrpSpPr/>
              <p:nvPr/>
            </p:nvGrpSpPr>
            <p:grpSpPr>
              <a:xfrm>
                <a:off x="5158949" y="1313325"/>
                <a:ext cx="2166084" cy="895951"/>
                <a:chOff x="4831857" y="1316990"/>
                <a:chExt cx="2166084" cy="895951"/>
              </a:xfrm>
            </p:grpSpPr>
            <p:sp>
              <p:nvSpPr>
                <p:cNvPr id="83" name="Rectangle 82"/>
                <p:cNvSpPr/>
                <p:nvPr/>
              </p:nvSpPr>
              <p:spPr bwMode="auto">
                <a:xfrm>
                  <a:off x="4831857" y="1935942"/>
                  <a:ext cx="2166084" cy="276999"/>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err="1">
                      <a:ln>
                        <a:noFill/>
                      </a:ln>
                      <a:solidFill>
                        <a:sysClr val="windowText" lastClr="000000"/>
                      </a:solidFill>
                      <a:effectLst/>
                      <a:uLnTx/>
                      <a:uFillTx/>
                    </a:rPr>
                    <a:t>PowerBI</a:t>
                  </a:r>
                  <a:r>
                    <a:rPr kumimoji="0" lang="en-US" sz="1765" b="0" i="0" u="none" strike="noStrike" kern="0" cap="none" spc="0" normalizeH="0" baseline="0" noProof="0" dirty="0">
                      <a:ln>
                        <a:noFill/>
                      </a:ln>
                      <a:solidFill>
                        <a:sysClr val="windowText" lastClr="000000"/>
                      </a:solidFill>
                      <a:effectLst/>
                      <a:uLnTx/>
                      <a:uFillTx/>
                    </a:rPr>
                    <a:t>/Dashboards</a:t>
                  </a:r>
                </a:p>
              </p:txBody>
            </p:sp>
            <p:grpSp>
              <p:nvGrpSpPr>
                <p:cNvPr id="84" name="Group 83"/>
                <p:cNvGrpSpPr/>
                <p:nvPr/>
              </p:nvGrpSpPr>
              <p:grpSpPr>
                <a:xfrm>
                  <a:off x="5606370" y="1316990"/>
                  <a:ext cx="623590" cy="495980"/>
                  <a:chOff x="10179198" y="4130696"/>
                  <a:chExt cx="1524000" cy="1236662"/>
                </a:xfrm>
                <a:solidFill>
                  <a:srgbClr val="00BCF1"/>
                </a:solidFill>
              </p:grpSpPr>
              <p:sp>
                <p:nvSpPr>
                  <p:cNvPr id="85" name="Rectangle 42"/>
                  <p:cNvSpPr/>
                  <p:nvPr/>
                </p:nvSpPr>
                <p:spPr bwMode="auto">
                  <a:xfrm>
                    <a:off x="10179198" y="4130696"/>
                    <a:ext cx="1524000" cy="1236662"/>
                  </a:xfrm>
                  <a:custGeom>
                    <a:avLst/>
                    <a:gdLst/>
                    <a:ahLst/>
                    <a:cxnLst/>
                    <a:rect l="l" t="t" r="r" b="b"/>
                    <a:pathLst>
                      <a:path w="1524000" h="1236662">
                        <a:moveTo>
                          <a:pt x="0" y="1077675"/>
                        </a:moveTo>
                        <a:lnTo>
                          <a:pt x="152603" y="1077675"/>
                        </a:lnTo>
                        <a:lnTo>
                          <a:pt x="147955" y="1100695"/>
                        </a:lnTo>
                        <a:cubicBezTo>
                          <a:pt x="147955" y="1158999"/>
                          <a:pt x="195220" y="1206264"/>
                          <a:pt x="253524" y="1206264"/>
                        </a:cubicBezTo>
                        <a:cubicBezTo>
                          <a:pt x="311828" y="1206264"/>
                          <a:pt x="359093" y="1158999"/>
                          <a:pt x="359093" y="1100695"/>
                        </a:cubicBezTo>
                        <a:cubicBezTo>
                          <a:pt x="359093" y="1092625"/>
                          <a:pt x="358188" y="1084766"/>
                          <a:pt x="354446" y="1077675"/>
                        </a:cubicBezTo>
                        <a:lnTo>
                          <a:pt x="1524000" y="1077675"/>
                        </a:lnTo>
                        <a:lnTo>
                          <a:pt x="1524000" y="1236662"/>
                        </a:lnTo>
                        <a:lnTo>
                          <a:pt x="0" y="1236662"/>
                        </a:lnTo>
                        <a:close/>
                        <a:moveTo>
                          <a:pt x="253524" y="1023701"/>
                        </a:moveTo>
                        <a:cubicBezTo>
                          <a:pt x="296047" y="1023701"/>
                          <a:pt x="330518" y="1058172"/>
                          <a:pt x="330518" y="1100695"/>
                        </a:cubicBezTo>
                        <a:cubicBezTo>
                          <a:pt x="330518" y="1143218"/>
                          <a:pt x="296047" y="1177689"/>
                          <a:pt x="253524" y="1177689"/>
                        </a:cubicBezTo>
                        <a:cubicBezTo>
                          <a:pt x="211001" y="1177689"/>
                          <a:pt x="176530" y="1143218"/>
                          <a:pt x="176530" y="1100695"/>
                        </a:cubicBezTo>
                        <a:cubicBezTo>
                          <a:pt x="176530" y="1058172"/>
                          <a:pt x="211001" y="1023701"/>
                          <a:pt x="253524" y="1023701"/>
                        </a:cubicBezTo>
                        <a:close/>
                        <a:moveTo>
                          <a:pt x="57627" y="53550"/>
                        </a:moveTo>
                        <a:lnTo>
                          <a:pt x="57627" y="945355"/>
                        </a:lnTo>
                        <a:lnTo>
                          <a:pt x="1466374" y="945355"/>
                        </a:lnTo>
                        <a:lnTo>
                          <a:pt x="1466374" y="53550"/>
                        </a:lnTo>
                        <a:close/>
                        <a:moveTo>
                          <a:pt x="42193" y="0"/>
                        </a:moveTo>
                        <a:lnTo>
                          <a:pt x="1481807" y="0"/>
                        </a:lnTo>
                        <a:cubicBezTo>
                          <a:pt x="1505110" y="0"/>
                          <a:pt x="1524000" y="18890"/>
                          <a:pt x="1524000" y="42193"/>
                        </a:cubicBezTo>
                        <a:lnTo>
                          <a:pt x="1524000" y="1047750"/>
                        </a:lnTo>
                        <a:lnTo>
                          <a:pt x="342806" y="1047750"/>
                        </a:lnTo>
                        <a:cubicBezTo>
                          <a:pt x="325940" y="1015876"/>
                          <a:pt x="292155" y="995126"/>
                          <a:pt x="253524" y="995126"/>
                        </a:cubicBezTo>
                        <a:cubicBezTo>
                          <a:pt x="214893" y="995126"/>
                          <a:pt x="181109" y="1015876"/>
                          <a:pt x="164243" y="1047750"/>
                        </a:cubicBezTo>
                        <a:lnTo>
                          <a:pt x="0" y="1047750"/>
                        </a:lnTo>
                        <a:lnTo>
                          <a:pt x="0" y="42193"/>
                        </a:lnTo>
                        <a:cubicBezTo>
                          <a:pt x="0" y="18890"/>
                          <a:pt x="18890" y="0"/>
                          <a:pt x="42193" y="0"/>
                        </a:cubicBezTo>
                        <a:close/>
                      </a:path>
                    </a:pathLst>
                  </a:custGeom>
                  <a:solidFill>
                    <a:schemeClr val="tx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eaLnBrk="1" fontAlgn="base" latinLnBrk="0" hangingPunct="1">
                      <a:lnSpc>
                        <a:spcPct val="100000"/>
                      </a:lnSpc>
                      <a:spcBef>
                        <a:spcPct val="0"/>
                      </a:spcBef>
                      <a:spcAft>
                        <a:spcPct val="0"/>
                      </a:spcAft>
                      <a:buClrTx/>
                      <a:buSzTx/>
                      <a:buFontTx/>
                      <a:buNone/>
                      <a:tabLst/>
                      <a:defRPr/>
                    </a:pPr>
                    <a:endParaRPr kumimoji="0" lang="en-US" sz="1078" b="0" i="0" u="none" strike="noStrike" kern="0" cap="none" spc="-49" normalizeH="0" baseline="0" noProof="0" dirty="0">
                      <a:ln>
                        <a:noFill/>
                      </a:ln>
                      <a:solidFill>
                        <a:sysClr val="windowText" lastClr="000000"/>
                      </a:solidFill>
                      <a:effectLst/>
                      <a:uLnTx/>
                      <a:uFillTx/>
                      <a:latin typeface="Segoe UI"/>
                      <a:ea typeface="Segoe UI" pitchFamily="34" charset="0"/>
                      <a:cs typeface="Segoe UI" pitchFamily="34" charset="0"/>
                    </a:endParaRPr>
                  </a:p>
                </p:txBody>
              </p:sp>
              <p:sp>
                <p:nvSpPr>
                  <p:cNvPr id="86" name="Rectangle 46"/>
                  <p:cNvSpPr/>
                  <p:nvPr/>
                </p:nvSpPr>
                <p:spPr bwMode="auto">
                  <a:xfrm>
                    <a:off x="10291637" y="4290521"/>
                    <a:ext cx="667560" cy="677970"/>
                  </a:xfrm>
                  <a:custGeom>
                    <a:avLst/>
                    <a:gdLst/>
                    <a:ahLst/>
                    <a:cxnLst/>
                    <a:rect l="l" t="t" r="r" b="b"/>
                    <a:pathLst>
                      <a:path w="667560" h="677969">
                        <a:moveTo>
                          <a:pt x="507521" y="570317"/>
                        </a:moveTo>
                        <a:lnTo>
                          <a:pt x="507521" y="645906"/>
                        </a:lnTo>
                        <a:lnTo>
                          <a:pt x="641961" y="645906"/>
                        </a:lnTo>
                        <a:lnTo>
                          <a:pt x="641961" y="570317"/>
                        </a:lnTo>
                        <a:close/>
                        <a:moveTo>
                          <a:pt x="347481" y="570317"/>
                        </a:moveTo>
                        <a:lnTo>
                          <a:pt x="347481" y="645906"/>
                        </a:lnTo>
                        <a:lnTo>
                          <a:pt x="481922" y="645906"/>
                        </a:lnTo>
                        <a:lnTo>
                          <a:pt x="481922" y="570317"/>
                        </a:lnTo>
                        <a:close/>
                        <a:moveTo>
                          <a:pt x="507521" y="462666"/>
                        </a:moveTo>
                        <a:lnTo>
                          <a:pt x="507521" y="538255"/>
                        </a:lnTo>
                        <a:lnTo>
                          <a:pt x="641961" y="538255"/>
                        </a:lnTo>
                        <a:lnTo>
                          <a:pt x="641961" y="462666"/>
                        </a:lnTo>
                        <a:close/>
                        <a:moveTo>
                          <a:pt x="347481" y="462666"/>
                        </a:moveTo>
                        <a:lnTo>
                          <a:pt x="347481" y="538255"/>
                        </a:lnTo>
                        <a:lnTo>
                          <a:pt x="481922" y="538255"/>
                        </a:lnTo>
                        <a:lnTo>
                          <a:pt x="481922" y="462666"/>
                        </a:lnTo>
                        <a:close/>
                        <a:moveTo>
                          <a:pt x="25599" y="462666"/>
                        </a:moveTo>
                        <a:lnTo>
                          <a:pt x="25599" y="538255"/>
                        </a:lnTo>
                        <a:lnTo>
                          <a:pt x="321882" y="538255"/>
                        </a:lnTo>
                        <a:lnTo>
                          <a:pt x="321882" y="462666"/>
                        </a:lnTo>
                        <a:close/>
                        <a:moveTo>
                          <a:pt x="507521" y="355015"/>
                        </a:moveTo>
                        <a:lnTo>
                          <a:pt x="507521" y="430604"/>
                        </a:lnTo>
                        <a:lnTo>
                          <a:pt x="641961" y="430604"/>
                        </a:lnTo>
                        <a:lnTo>
                          <a:pt x="641961" y="355015"/>
                        </a:lnTo>
                        <a:close/>
                        <a:moveTo>
                          <a:pt x="347481" y="355015"/>
                        </a:moveTo>
                        <a:lnTo>
                          <a:pt x="347481" y="430604"/>
                        </a:lnTo>
                        <a:lnTo>
                          <a:pt x="481922" y="430604"/>
                        </a:lnTo>
                        <a:lnTo>
                          <a:pt x="481922" y="355015"/>
                        </a:lnTo>
                        <a:close/>
                        <a:moveTo>
                          <a:pt x="25599" y="355015"/>
                        </a:moveTo>
                        <a:lnTo>
                          <a:pt x="25599" y="430604"/>
                        </a:lnTo>
                        <a:lnTo>
                          <a:pt x="321882" y="430604"/>
                        </a:lnTo>
                        <a:lnTo>
                          <a:pt x="321882" y="355015"/>
                        </a:lnTo>
                        <a:close/>
                        <a:moveTo>
                          <a:pt x="507521" y="247364"/>
                        </a:moveTo>
                        <a:lnTo>
                          <a:pt x="507521" y="322953"/>
                        </a:lnTo>
                        <a:lnTo>
                          <a:pt x="641961" y="322953"/>
                        </a:lnTo>
                        <a:lnTo>
                          <a:pt x="641961" y="247364"/>
                        </a:lnTo>
                        <a:close/>
                        <a:moveTo>
                          <a:pt x="347481" y="247364"/>
                        </a:moveTo>
                        <a:lnTo>
                          <a:pt x="347481" y="322953"/>
                        </a:lnTo>
                        <a:lnTo>
                          <a:pt x="481922" y="322953"/>
                        </a:lnTo>
                        <a:lnTo>
                          <a:pt x="481922" y="247364"/>
                        </a:lnTo>
                        <a:close/>
                        <a:moveTo>
                          <a:pt x="25599" y="247364"/>
                        </a:moveTo>
                        <a:lnTo>
                          <a:pt x="25599" y="322953"/>
                        </a:lnTo>
                        <a:lnTo>
                          <a:pt x="321882" y="322953"/>
                        </a:lnTo>
                        <a:lnTo>
                          <a:pt x="321882" y="247364"/>
                        </a:lnTo>
                        <a:close/>
                        <a:moveTo>
                          <a:pt x="507521" y="139713"/>
                        </a:moveTo>
                        <a:lnTo>
                          <a:pt x="507521" y="215302"/>
                        </a:lnTo>
                        <a:lnTo>
                          <a:pt x="641961" y="215302"/>
                        </a:lnTo>
                        <a:lnTo>
                          <a:pt x="641961" y="139713"/>
                        </a:lnTo>
                        <a:close/>
                        <a:moveTo>
                          <a:pt x="347481" y="139713"/>
                        </a:moveTo>
                        <a:lnTo>
                          <a:pt x="347481" y="215302"/>
                        </a:lnTo>
                        <a:lnTo>
                          <a:pt x="481922" y="215302"/>
                        </a:lnTo>
                        <a:lnTo>
                          <a:pt x="481922" y="139713"/>
                        </a:lnTo>
                        <a:close/>
                        <a:moveTo>
                          <a:pt x="25599" y="139713"/>
                        </a:moveTo>
                        <a:lnTo>
                          <a:pt x="25599" y="215302"/>
                        </a:lnTo>
                        <a:lnTo>
                          <a:pt x="321882" y="215302"/>
                        </a:lnTo>
                        <a:lnTo>
                          <a:pt x="321882" y="139713"/>
                        </a:lnTo>
                        <a:close/>
                        <a:moveTo>
                          <a:pt x="507521" y="32062"/>
                        </a:moveTo>
                        <a:lnTo>
                          <a:pt x="507521" y="107651"/>
                        </a:lnTo>
                        <a:lnTo>
                          <a:pt x="641961" y="107651"/>
                        </a:lnTo>
                        <a:lnTo>
                          <a:pt x="641961" y="32062"/>
                        </a:lnTo>
                        <a:close/>
                        <a:moveTo>
                          <a:pt x="347481" y="32062"/>
                        </a:moveTo>
                        <a:lnTo>
                          <a:pt x="347481" y="107651"/>
                        </a:lnTo>
                        <a:lnTo>
                          <a:pt x="481922" y="107651"/>
                        </a:lnTo>
                        <a:lnTo>
                          <a:pt x="481922" y="32062"/>
                        </a:lnTo>
                        <a:close/>
                        <a:moveTo>
                          <a:pt x="25599" y="32062"/>
                        </a:moveTo>
                        <a:lnTo>
                          <a:pt x="25599" y="107651"/>
                        </a:lnTo>
                        <a:lnTo>
                          <a:pt x="321882" y="107651"/>
                        </a:lnTo>
                        <a:lnTo>
                          <a:pt x="321882" y="32062"/>
                        </a:lnTo>
                        <a:close/>
                        <a:moveTo>
                          <a:pt x="0" y="0"/>
                        </a:moveTo>
                        <a:lnTo>
                          <a:pt x="667560" y="0"/>
                        </a:lnTo>
                        <a:lnTo>
                          <a:pt x="667560" y="2"/>
                        </a:lnTo>
                        <a:lnTo>
                          <a:pt x="667560" y="32062"/>
                        </a:lnTo>
                        <a:lnTo>
                          <a:pt x="667560" y="107651"/>
                        </a:lnTo>
                        <a:lnTo>
                          <a:pt x="667560" y="139713"/>
                        </a:lnTo>
                        <a:lnTo>
                          <a:pt x="667560" y="215302"/>
                        </a:lnTo>
                        <a:lnTo>
                          <a:pt x="667560" y="247364"/>
                        </a:lnTo>
                        <a:lnTo>
                          <a:pt x="667560" y="322953"/>
                        </a:lnTo>
                        <a:lnTo>
                          <a:pt x="667560" y="355015"/>
                        </a:lnTo>
                        <a:lnTo>
                          <a:pt x="667560" y="430604"/>
                        </a:lnTo>
                        <a:lnTo>
                          <a:pt x="667560" y="462666"/>
                        </a:lnTo>
                        <a:lnTo>
                          <a:pt x="667560" y="538255"/>
                        </a:lnTo>
                        <a:lnTo>
                          <a:pt x="667560" y="570317"/>
                        </a:lnTo>
                        <a:lnTo>
                          <a:pt x="667560" y="645906"/>
                        </a:lnTo>
                        <a:lnTo>
                          <a:pt x="667560" y="677968"/>
                        </a:lnTo>
                        <a:lnTo>
                          <a:pt x="667560" y="677969"/>
                        </a:lnTo>
                        <a:lnTo>
                          <a:pt x="641961" y="677969"/>
                        </a:lnTo>
                        <a:lnTo>
                          <a:pt x="641961" y="677968"/>
                        </a:lnTo>
                        <a:lnTo>
                          <a:pt x="507521" y="677968"/>
                        </a:lnTo>
                        <a:lnTo>
                          <a:pt x="507521" y="677969"/>
                        </a:lnTo>
                        <a:lnTo>
                          <a:pt x="481922" y="677969"/>
                        </a:lnTo>
                        <a:lnTo>
                          <a:pt x="481922" y="677968"/>
                        </a:lnTo>
                        <a:lnTo>
                          <a:pt x="347481" y="677968"/>
                        </a:lnTo>
                        <a:lnTo>
                          <a:pt x="347481" y="677969"/>
                        </a:lnTo>
                        <a:lnTo>
                          <a:pt x="321882" y="677969"/>
                        </a:lnTo>
                        <a:lnTo>
                          <a:pt x="321882" y="570317"/>
                        </a:lnTo>
                        <a:lnTo>
                          <a:pt x="0" y="570317"/>
                        </a:lnTo>
                        <a:lnTo>
                          <a:pt x="0" y="554287"/>
                        </a:lnTo>
                        <a:lnTo>
                          <a:pt x="0" y="538255"/>
                        </a:lnTo>
                        <a:lnTo>
                          <a:pt x="0" y="462666"/>
                        </a:lnTo>
                        <a:lnTo>
                          <a:pt x="0" y="430604"/>
                        </a:lnTo>
                        <a:lnTo>
                          <a:pt x="0" y="355015"/>
                        </a:lnTo>
                        <a:lnTo>
                          <a:pt x="0" y="322953"/>
                        </a:lnTo>
                        <a:lnTo>
                          <a:pt x="0" y="247364"/>
                        </a:lnTo>
                        <a:lnTo>
                          <a:pt x="0" y="215302"/>
                        </a:lnTo>
                        <a:lnTo>
                          <a:pt x="0" y="139713"/>
                        </a:lnTo>
                        <a:lnTo>
                          <a:pt x="0" y="107651"/>
                        </a:lnTo>
                        <a:lnTo>
                          <a:pt x="0" y="32062"/>
                        </a:lnTo>
                        <a:lnTo>
                          <a:pt x="0" y="2"/>
                        </a:lnTo>
                        <a:close/>
                      </a:path>
                    </a:pathLst>
                  </a:custGeom>
                  <a:solidFill>
                    <a:schemeClr val="tx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eaLnBrk="1" fontAlgn="base" latinLnBrk="0" hangingPunct="1">
                      <a:lnSpc>
                        <a:spcPct val="100000"/>
                      </a:lnSpc>
                      <a:spcBef>
                        <a:spcPct val="0"/>
                      </a:spcBef>
                      <a:spcAft>
                        <a:spcPct val="0"/>
                      </a:spcAft>
                      <a:buClrTx/>
                      <a:buSzTx/>
                      <a:buFontTx/>
                      <a:buNone/>
                      <a:tabLst/>
                      <a:defRPr/>
                    </a:pPr>
                    <a:endParaRPr kumimoji="0" lang="en-US" sz="1078" b="0" i="0" u="none" strike="noStrike" kern="0" cap="none" spc="-49" normalizeH="0" baseline="0" noProof="0" dirty="0">
                      <a:ln>
                        <a:noFill/>
                      </a:ln>
                      <a:solidFill>
                        <a:sysClr val="windowText" lastClr="000000"/>
                      </a:solidFill>
                      <a:effectLst/>
                      <a:uLnTx/>
                      <a:uFillTx/>
                      <a:latin typeface="Segoe UI"/>
                      <a:ea typeface="Segoe UI" pitchFamily="34" charset="0"/>
                      <a:cs typeface="Segoe UI" pitchFamily="34" charset="0"/>
                    </a:endParaRPr>
                  </a:p>
                </p:txBody>
              </p:sp>
              <p:sp>
                <p:nvSpPr>
                  <p:cNvPr id="87" name="Freeform 86"/>
                  <p:cNvSpPr/>
                  <p:nvPr/>
                </p:nvSpPr>
                <p:spPr bwMode="auto">
                  <a:xfrm>
                    <a:off x="11020598" y="4290521"/>
                    <a:ext cx="566900" cy="361399"/>
                  </a:xfrm>
                  <a:custGeom>
                    <a:avLst/>
                    <a:gdLst/>
                    <a:ahLst/>
                    <a:cxnLst/>
                    <a:rect l="l" t="t" r="r" b="b"/>
                    <a:pathLst>
                      <a:path w="1395575" h="889678">
                        <a:moveTo>
                          <a:pt x="1288087" y="393176"/>
                        </a:moveTo>
                        <a:lnTo>
                          <a:pt x="1157081" y="483566"/>
                        </a:lnTo>
                        <a:lnTo>
                          <a:pt x="1118078" y="432149"/>
                        </a:lnTo>
                        <a:lnTo>
                          <a:pt x="1007728" y="605449"/>
                        </a:lnTo>
                        <a:lnTo>
                          <a:pt x="944370" y="572352"/>
                        </a:lnTo>
                        <a:lnTo>
                          <a:pt x="814699" y="511825"/>
                        </a:lnTo>
                        <a:lnTo>
                          <a:pt x="636856" y="666606"/>
                        </a:lnTo>
                        <a:lnTo>
                          <a:pt x="567828" y="614241"/>
                        </a:lnTo>
                        <a:lnTo>
                          <a:pt x="491174" y="722246"/>
                        </a:lnTo>
                        <a:lnTo>
                          <a:pt x="350257" y="722246"/>
                        </a:lnTo>
                        <a:lnTo>
                          <a:pt x="96017" y="830369"/>
                        </a:lnTo>
                        <a:lnTo>
                          <a:pt x="1328587" y="830369"/>
                        </a:lnTo>
                        <a:lnTo>
                          <a:pt x="1328587" y="499521"/>
                        </a:lnTo>
                        <a:close/>
                        <a:moveTo>
                          <a:pt x="1328587" y="146637"/>
                        </a:moveTo>
                        <a:lnTo>
                          <a:pt x="1217466" y="257758"/>
                        </a:lnTo>
                        <a:lnTo>
                          <a:pt x="1152160" y="174640"/>
                        </a:lnTo>
                        <a:lnTo>
                          <a:pt x="997802" y="311189"/>
                        </a:lnTo>
                        <a:lnTo>
                          <a:pt x="962179" y="257758"/>
                        </a:lnTo>
                        <a:lnTo>
                          <a:pt x="854142" y="390720"/>
                        </a:lnTo>
                        <a:lnTo>
                          <a:pt x="798327" y="351542"/>
                        </a:lnTo>
                        <a:lnTo>
                          <a:pt x="706895" y="459612"/>
                        </a:lnTo>
                        <a:lnTo>
                          <a:pt x="469419" y="459612"/>
                        </a:lnTo>
                        <a:lnTo>
                          <a:pt x="401731" y="404971"/>
                        </a:lnTo>
                        <a:lnTo>
                          <a:pt x="320995" y="542729"/>
                        </a:lnTo>
                        <a:lnTo>
                          <a:pt x="172573" y="542729"/>
                        </a:lnTo>
                        <a:lnTo>
                          <a:pt x="66990" y="677877"/>
                        </a:lnTo>
                        <a:lnTo>
                          <a:pt x="66990" y="798405"/>
                        </a:lnTo>
                        <a:lnTo>
                          <a:pt x="327711" y="680355"/>
                        </a:lnTo>
                        <a:lnTo>
                          <a:pt x="462991" y="685009"/>
                        </a:lnTo>
                        <a:lnTo>
                          <a:pt x="558814" y="559334"/>
                        </a:lnTo>
                        <a:lnTo>
                          <a:pt x="637729" y="619843"/>
                        </a:lnTo>
                        <a:lnTo>
                          <a:pt x="803422" y="472099"/>
                        </a:lnTo>
                        <a:lnTo>
                          <a:pt x="942109" y="531407"/>
                        </a:lnTo>
                        <a:lnTo>
                          <a:pt x="992841" y="559334"/>
                        </a:lnTo>
                        <a:lnTo>
                          <a:pt x="1121125" y="364495"/>
                        </a:lnTo>
                        <a:lnTo>
                          <a:pt x="1168389" y="430847"/>
                        </a:lnTo>
                        <a:lnTo>
                          <a:pt x="1303760" y="336617"/>
                        </a:lnTo>
                        <a:lnTo>
                          <a:pt x="1328587" y="398996"/>
                        </a:lnTo>
                        <a:close/>
                        <a:moveTo>
                          <a:pt x="66990" y="59308"/>
                        </a:moveTo>
                        <a:lnTo>
                          <a:pt x="66990" y="591593"/>
                        </a:lnTo>
                        <a:lnTo>
                          <a:pt x="148825" y="489298"/>
                        </a:lnTo>
                        <a:lnTo>
                          <a:pt x="291311" y="495234"/>
                        </a:lnTo>
                        <a:lnTo>
                          <a:pt x="392237" y="334937"/>
                        </a:lnTo>
                        <a:lnTo>
                          <a:pt x="475355" y="412116"/>
                        </a:lnTo>
                        <a:lnTo>
                          <a:pt x="695020" y="418055"/>
                        </a:lnTo>
                        <a:lnTo>
                          <a:pt x="795946" y="299317"/>
                        </a:lnTo>
                        <a:lnTo>
                          <a:pt x="849380" y="334937"/>
                        </a:lnTo>
                        <a:lnTo>
                          <a:pt x="968118" y="180579"/>
                        </a:lnTo>
                        <a:lnTo>
                          <a:pt x="1009709" y="253061"/>
                        </a:lnTo>
                        <a:lnTo>
                          <a:pt x="1160480" y="117686"/>
                        </a:lnTo>
                        <a:lnTo>
                          <a:pt x="1223403" y="192484"/>
                        </a:lnTo>
                        <a:lnTo>
                          <a:pt x="1328587" y="84562"/>
                        </a:lnTo>
                        <a:lnTo>
                          <a:pt x="1328587" y="59308"/>
                        </a:lnTo>
                        <a:close/>
                        <a:moveTo>
                          <a:pt x="0" y="0"/>
                        </a:moveTo>
                        <a:lnTo>
                          <a:pt x="1395575" y="0"/>
                        </a:lnTo>
                        <a:lnTo>
                          <a:pt x="1395575" y="889678"/>
                        </a:lnTo>
                        <a:lnTo>
                          <a:pt x="0" y="889678"/>
                        </a:lnTo>
                        <a:close/>
                      </a:path>
                    </a:pathLst>
                  </a:custGeom>
                  <a:solidFill>
                    <a:schemeClr val="tx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eaLnBrk="1" fontAlgn="base" latinLnBrk="0" hangingPunct="1">
                      <a:lnSpc>
                        <a:spcPct val="100000"/>
                      </a:lnSpc>
                      <a:spcBef>
                        <a:spcPct val="0"/>
                      </a:spcBef>
                      <a:spcAft>
                        <a:spcPct val="0"/>
                      </a:spcAft>
                      <a:buClrTx/>
                      <a:buSzTx/>
                      <a:buFontTx/>
                      <a:buNone/>
                      <a:tabLst/>
                      <a:defRPr/>
                    </a:pPr>
                    <a:endParaRPr kumimoji="0" lang="en-US" sz="1078" b="0" i="0" u="none" strike="noStrike" kern="0" cap="none" spc="-49" normalizeH="0" baseline="0" noProof="0" dirty="0">
                      <a:ln>
                        <a:noFill/>
                      </a:ln>
                      <a:solidFill>
                        <a:sysClr val="windowText" lastClr="000000"/>
                      </a:solidFill>
                      <a:effectLst/>
                      <a:uLnTx/>
                      <a:uFillTx/>
                      <a:latin typeface="Segoe UI"/>
                      <a:ea typeface="Segoe UI" pitchFamily="34" charset="0"/>
                      <a:cs typeface="Segoe UI" pitchFamily="34" charset="0"/>
                    </a:endParaRPr>
                  </a:p>
                </p:txBody>
              </p:sp>
              <p:pic>
                <p:nvPicPr>
                  <p:cNvPr id="114" name="Picture 2"/>
                  <p:cNvPicPr>
                    <a:picLocks noChangeAspect="1" noChangeArrowheads="1"/>
                  </p:cNvPicPr>
                  <p:nvPr/>
                </p:nvPicPr>
                <p:blipFill rotWithShape="1">
                  <a:blip r:embed="rId8" cstate="print">
                    <a:duotone>
                      <a:schemeClr val="accent1">
                        <a:shade val="45000"/>
                        <a:satMod val="135000"/>
                      </a:schemeClr>
                      <a:prstClr val="white"/>
                    </a:duotone>
                    <a:lum bright="-29000"/>
                    <a:extLst>
                      <a:ext uri="{28A0092B-C50C-407E-A947-70E740481C1C}">
                        <a14:useLocalDpi xmlns:a14="http://schemas.microsoft.com/office/drawing/2010/main" val="0"/>
                      </a:ext>
                    </a:extLst>
                  </a:blip>
                  <a:stretch/>
                </p:blipFill>
                <p:spPr bwMode="auto">
                  <a:xfrm>
                    <a:off x="11100802" y="4687543"/>
                    <a:ext cx="403040" cy="346352"/>
                  </a:xfrm>
                  <a:prstGeom prst="rect">
                    <a:avLst/>
                  </a:prstGeom>
                  <a:solidFill>
                    <a:schemeClr val="tx1"/>
                  </a:solidFill>
                  <a:ln>
                    <a:noFill/>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grpSp>
          <p:nvGrpSpPr>
            <p:cNvPr id="98" name="Group 97"/>
            <p:cNvGrpSpPr/>
            <p:nvPr/>
          </p:nvGrpSpPr>
          <p:grpSpPr>
            <a:xfrm>
              <a:off x="2835432" y="1119364"/>
              <a:ext cx="2231136" cy="1197454"/>
              <a:chOff x="2835432" y="1119364"/>
              <a:chExt cx="2231136" cy="1197454"/>
            </a:xfrm>
          </p:grpSpPr>
          <p:sp>
            <p:nvSpPr>
              <p:cNvPr id="95" name="Rectangle 94"/>
              <p:cNvSpPr/>
              <p:nvPr/>
            </p:nvSpPr>
            <p:spPr bwMode="auto">
              <a:xfrm>
                <a:off x="2835432" y="1119364"/>
                <a:ext cx="2231136" cy="1197454"/>
              </a:xfrm>
              <a:prstGeom prst="rect">
                <a:avLst/>
              </a:prstGeom>
              <a:no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ts val="588"/>
                  </a:spcBef>
                  <a:spcAft>
                    <a:spcPct val="0"/>
                  </a:spcAft>
                  <a:buClrTx/>
                  <a:buSzTx/>
                  <a:buFontTx/>
                  <a:buNone/>
                  <a:tabLst/>
                  <a:defRPr/>
                </a:pPr>
                <a:endParaRPr kumimoji="0" lang="en-US" sz="2745" b="0" i="0" u="none" strike="noStrike" kern="0" cap="none" spc="0" normalizeH="0" baseline="0" noProof="0" dirty="0">
                  <a:ln>
                    <a:noFill/>
                  </a:ln>
                  <a:solidFill>
                    <a:schemeClr val="tx1"/>
                  </a:solidFill>
                  <a:effectLst/>
                  <a:uLnTx/>
                  <a:uFillTx/>
                  <a:latin typeface="+mj-lt"/>
                  <a:ea typeface="Segoe UI" pitchFamily="34" charset="0"/>
                  <a:cs typeface="Segoe UI" pitchFamily="34" charset="0"/>
                </a:endParaRPr>
              </a:p>
            </p:txBody>
          </p:sp>
          <p:sp>
            <p:nvSpPr>
              <p:cNvPr id="80" name="Rectangle 79"/>
              <p:cNvSpPr/>
              <p:nvPr/>
            </p:nvSpPr>
            <p:spPr bwMode="auto">
              <a:xfrm>
                <a:off x="3304990" y="1932277"/>
                <a:ext cx="1292020" cy="276999"/>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ysClr val="windowText" lastClr="000000"/>
                    </a:solidFill>
                    <a:effectLst/>
                    <a:uLnTx/>
                    <a:uFillTx/>
                  </a:rPr>
                  <a:t>Mobile Apps</a:t>
                </a:r>
                <a:endParaRPr kumimoji="0" lang="en-US" sz="1961" b="0" i="0" u="none" strike="noStrike" kern="0" cap="none" spc="0" normalizeH="0" baseline="0" noProof="0" dirty="0">
                  <a:ln>
                    <a:noFill/>
                  </a:ln>
                  <a:solidFill>
                    <a:sysClr val="windowText" lastClr="000000"/>
                  </a:solidFill>
                  <a:effectLst/>
                  <a:uLnTx/>
                  <a:uFillTx/>
                </a:endParaRPr>
              </a:p>
            </p:txBody>
          </p:sp>
          <p:sp>
            <p:nvSpPr>
              <p:cNvPr id="81" name="Rounded Rectangle 4"/>
              <p:cNvSpPr/>
              <p:nvPr/>
            </p:nvSpPr>
            <p:spPr bwMode="auto">
              <a:xfrm>
                <a:off x="3802526" y="1278581"/>
                <a:ext cx="296948" cy="530724"/>
              </a:xfrm>
              <a:custGeom>
                <a:avLst/>
                <a:gdLst/>
                <a:ahLst/>
                <a:cxnLst/>
                <a:rect l="l" t="t" r="r" b="b"/>
                <a:pathLst>
                  <a:path w="742940" h="1427748">
                    <a:moveTo>
                      <a:pt x="373146" y="1302513"/>
                    </a:moveTo>
                    <a:lnTo>
                      <a:pt x="367271" y="1323564"/>
                    </a:lnTo>
                    <a:cubicBezTo>
                      <a:pt x="376464" y="1333192"/>
                      <a:pt x="386636" y="1327970"/>
                      <a:pt x="389465" y="1326502"/>
                    </a:cubicBezTo>
                    <a:lnTo>
                      <a:pt x="394687" y="1304471"/>
                    </a:lnTo>
                    <a:cubicBezTo>
                      <a:pt x="388486" y="1304798"/>
                      <a:pt x="385875" y="1310183"/>
                      <a:pt x="373146" y="1302513"/>
                    </a:cubicBezTo>
                    <a:close/>
                    <a:moveTo>
                      <a:pt x="359764" y="1295659"/>
                    </a:moveTo>
                    <a:cubicBezTo>
                      <a:pt x="356120" y="1295360"/>
                      <a:pt x="353726" y="1296529"/>
                      <a:pt x="348178" y="1298270"/>
                    </a:cubicBezTo>
                    <a:lnTo>
                      <a:pt x="342140" y="1319811"/>
                    </a:lnTo>
                    <a:cubicBezTo>
                      <a:pt x="360852" y="1314208"/>
                      <a:pt x="360009" y="1321144"/>
                      <a:pt x="364497" y="1322422"/>
                    </a:cubicBezTo>
                    <a:lnTo>
                      <a:pt x="370045" y="1300065"/>
                    </a:lnTo>
                    <a:cubicBezTo>
                      <a:pt x="365830" y="1297073"/>
                      <a:pt x="363409" y="1295958"/>
                      <a:pt x="359764" y="1295659"/>
                    </a:cubicBezTo>
                    <a:close/>
                    <a:moveTo>
                      <a:pt x="379258" y="1276606"/>
                    </a:moveTo>
                    <a:lnTo>
                      <a:pt x="373383" y="1297657"/>
                    </a:lnTo>
                    <a:cubicBezTo>
                      <a:pt x="382576" y="1307285"/>
                      <a:pt x="392748" y="1302063"/>
                      <a:pt x="395577" y="1300595"/>
                    </a:cubicBezTo>
                    <a:lnTo>
                      <a:pt x="400799" y="1278564"/>
                    </a:lnTo>
                    <a:cubicBezTo>
                      <a:pt x="394598" y="1278891"/>
                      <a:pt x="391987" y="1284276"/>
                      <a:pt x="379258" y="1276606"/>
                    </a:cubicBezTo>
                    <a:close/>
                    <a:moveTo>
                      <a:pt x="605722" y="1274595"/>
                    </a:moveTo>
                    <a:cubicBezTo>
                      <a:pt x="615575" y="1274595"/>
                      <a:pt x="623563" y="1283423"/>
                      <a:pt x="623563" y="1294314"/>
                    </a:cubicBezTo>
                    <a:cubicBezTo>
                      <a:pt x="623563" y="1305205"/>
                      <a:pt x="615575" y="1314033"/>
                      <a:pt x="605722" y="1314033"/>
                    </a:cubicBezTo>
                    <a:cubicBezTo>
                      <a:pt x="595868" y="1314033"/>
                      <a:pt x="587880" y="1305205"/>
                      <a:pt x="587881" y="1294314"/>
                    </a:cubicBezTo>
                    <a:cubicBezTo>
                      <a:pt x="587881" y="1283424"/>
                      <a:pt x="595868" y="1274595"/>
                      <a:pt x="605722" y="1274595"/>
                    </a:cubicBezTo>
                    <a:close/>
                    <a:moveTo>
                      <a:pt x="144944" y="1272087"/>
                    </a:moveTo>
                    <a:lnTo>
                      <a:pt x="122084" y="1300662"/>
                    </a:lnTo>
                    <a:lnTo>
                      <a:pt x="144944" y="1329237"/>
                    </a:lnTo>
                    <a:lnTo>
                      <a:pt x="144944" y="1314950"/>
                    </a:lnTo>
                    <a:lnTo>
                      <a:pt x="167803" y="1314950"/>
                    </a:lnTo>
                    <a:lnTo>
                      <a:pt x="167803" y="1286375"/>
                    </a:lnTo>
                    <a:lnTo>
                      <a:pt x="144944" y="1286375"/>
                    </a:lnTo>
                    <a:close/>
                    <a:moveTo>
                      <a:pt x="365877" y="1269752"/>
                    </a:moveTo>
                    <a:cubicBezTo>
                      <a:pt x="362232" y="1269453"/>
                      <a:pt x="359839" y="1270622"/>
                      <a:pt x="354290" y="1272363"/>
                    </a:cubicBezTo>
                    <a:lnTo>
                      <a:pt x="348252" y="1293904"/>
                    </a:lnTo>
                    <a:cubicBezTo>
                      <a:pt x="366965" y="1288301"/>
                      <a:pt x="366121" y="1295236"/>
                      <a:pt x="370609" y="1296515"/>
                    </a:cubicBezTo>
                    <a:lnTo>
                      <a:pt x="376158" y="1274158"/>
                    </a:lnTo>
                    <a:cubicBezTo>
                      <a:pt x="371942" y="1271166"/>
                      <a:pt x="369521" y="1270051"/>
                      <a:pt x="365877" y="1269752"/>
                    </a:cubicBezTo>
                    <a:close/>
                    <a:moveTo>
                      <a:pt x="605721" y="1256754"/>
                    </a:moveTo>
                    <a:cubicBezTo>
                      <a:pt x="586015" y="1256754"/>
                      <a:pt x="570039" y="1273571"/>
                      <a:pt x="570039" y="1294314"/>
                    </a:cubicBezTo>
                    <a:cubicBezTo>
                      <a:pt x="570039" y="1299760"/>
                      <a:pt x="571140" y="1304936"/>
                      <a:pt x="573241" y="1309556"/>
                    </a:cubicBezTo>
                    <a:lnTo>
                      <a:pt x="557252" y="1321874"/>
                    </a:lnTo>
                    <a:cubicBezTo>
                      <a:pt x="556086" y="1322772"/>
                      <a:pt x="555869" y="1324446"/>
                      <a:pt x="556767" y="1325612"/>
                    </a:cubicBezTo>
                    <a:lnTo>
                      <a:pt x="563275" y="1334059"/>
                    </a:lnTo>
                    <a:cubicBezTo>
                      <a:pt x="564173" y="1335226"/>
                      <a:pt x="565847" y="1335443"/>
                      <a:pt x="567014" y="1334544"/>
                    </a:cubicBezTo>
                    <a:lnTo>
                      <a:pt x="582712" y="1322450"/>
                    </a:lnTo>
                    <a:cubicBezTo>
                      <a:pt x="588676" y="1328442"/>
                      <a:pt x="596818" y="1331874"/>
                      <a:pt x="605721" y="1331874"/>
                    </a:cubicBezTo>
                    <a:cubicBezTo>
                      <a:pt x="625428" y="1331874"/>
                      <a:pt x="641404" y="1315058"/>
                      <a:pt x="641403" y="1294314"/>
                    </a:cubicBezTo>
                    <a:cubicBezTo>
                      <a:pt x="641404" y="1273570"/>
                      <a:pt x="625428" y="1256754"/>
                      <a:pt x="605721" y="1256754"/>
                    </a:cubicBezTo>
                    <a:close/>
                    <a:moveTo>
                      <a:pt x="93734" y="94956"/>
                    </a:moveTo>
                    <a:cubicBezTo>
                      <a:pt x="80540" y="94956"/>
                      <a:pt x="69845" y="105651"/>
                      <a:pt x="69845" y="118845"/>
                    </a:cubicBezTo>
                    <a:lnTo>
                      <a:pt x="69845" y="1112467"/>
                    </a:lnTo>
                    <a:cubicBezTo>
                      <a:pt x="69845" y="1125661"/>
                      <a:pt x="80540" y="1136356"/>
                      <a:pt x="93734" y="1136356"/>
                    </a:cubicBezTo>
                    <a:lnTo>
                      <a:pt x="649206" y="1136356"/>
                    </a:lnTo>
                    <a:cubicBezTo>
                      <a:pt x="662400" y="1136356"/>
                      <a:pt x="673095" y="1125661"/>
                      <a:pt x="673095" y="1112467"/>
                    </a:cubicBezTo>
                    <a:lnTo>
                      <a:pt x="673095" y="118845"/>
                    </a:lnTo>
                    <a:cubicBezTo>
                      <a:pt x="673095" y="105651"/>
                      <a:pt x="662400" y="94956"/>
                      <a:pt x="649206" y="94956"/>
                    </a:cubicBezTo>
                    <a:close/>
                    <a:moveTo>
                      <a:pt x="40483" y="0"/>
                    </a:moveTo>
                    <a:lnTo>
                      <a:pt x="702457" y="0"/>
                    </a:lnTo>
                    <a:cubicBezTo>
                      <a:pt x="724815" y="0"/>
                      <a:pt x="742940" y="18125"/>
                      <a:pt x="742940" y="40483"/>
                    </a:cubicBezTo>
                    <a:lnTo>
                      <a:pt x="742940" y="1387265"/>
                    </a:lnTo>
                    <a:cubicBezTo>
                      <a:pt x="742940" y="1409623"/>
                      <a:pt x="724815" y="1427748"/>
                      <a:pt x="702457" y="1427748"/>
                    </a:cubicBezTo>
                    <a:lnTo>
                      <a:pt x="40483" y="1427748"/>
                    </a:lnTo>
                    <a:cubicBezTo>
                      <a:pt x="18125" y="1427748"/>
                      <a:pt x="0" y="1409623"/>
                      <a:pt x="0" y="1387265"/>
                    </a:cubicBezTo>
                    <a:lnTo>
                      <a:pt x="0" y="40483"/>
                    </a:lnTo>
                    <a:cubicBezTo>
                      <a:pt x="0" y="18125"/>
                      <a:pt x="18125" y="0"/>
                      <a:pt x="40483" y="0"/>
                    </a:cubicBezTo>
                    <a:close/>
                  </a:path>
                </a:pathLst>
              </a:custGeom>
              <a:solidFill>
                <a:schemeClr val="tx1"/>
              </a:solidFill>
              <a:ln>
                <a:noFill/>
              </a:ln>
              <a:extLst/>
            </p:spPr>
            <p:txBody>
              <a:bodyPr vert="horz" wrap="square" lIns="89642" tIns="44821" rIns="89642" bIns="44821" numCol="1" rtlCol="0" anchor="t" anchorCtr="0" compatLnSpc="1">
                <a:prstTxWarp prst="textNoShape">
                  <a:avLst/>
                </a:prstTxWarp>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grpSp>
        <p:grpSp>
          <p:nvGrpSpPr>
            <p:cNvPr id="97" name="Group 96"/>
            <p:cNvGrpSpPr/>
            <p:nvPr/>
          </p:nvGrpSpPr>
          <p:grpSpPr>
            <a:xfrm>
              <a:off x="541175" y="1119364"/>
              <a:ext cx="2231136" cy="1197454"/>
              <a:chOff x="541175" y="1119364"/>
              <a:chExt cx="2231136" cy="1197454"/>
            </a:xfrm>
          </p:grpSpPr>
          <p:sp>
            <p:nvSpPr>
              <p:cNvPr id="96" name="Rectangle 95"/>
              <p:cNvSpPr/>
              <p:nvPr/>
            </p:nvSpPr>
            <p:spPr bwMode="auto">
              <a:xfrm>
                <a:off x="541175" y="1119364"/>
                <a:ext cx="2231136" cy="1197454"/>
              </a:xfrm>
              <a:prstGeom prst="rect">
                <a:avLst/>
              </a:prstGeom>
              <a:no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ts val="588"/>
                  </a:spcBef>
                  <a:spcAft>
                    <a:spcPct val="0"/>
                  </a:spcAft>
                  <a:buClrTx/>
                  <a:buSzTx/>
                  <a:buFontTx/>
                  <a:buNone/>
                  <a:tabLst/>
                  <a:defRPr/>
                </a:pPr>
                <a:endParaRPr kumimoji="0" lang="en-US" sz="2745" b="0" i="0" u="none" strike="noStrike" kern="0" cap="none" spc="0" normalizeH="0" baseline="0" noProof="0" dirty="0">
                  <a:ln>
                    <a:noFill/>
                  </a:ln>
                  <a:solidFill>
                    <a:schemeClr val="tx1"/>
                  </a:solidFill>
                  <a:effectLst/>
                  <a:uLnTx/>
                  <a:uFillTx/>
                  <a:latin typeface="+mj-lt"/>
                  <a:ea typeface="Segoe UI" pitchFamily="34" charset="0"/>
                  <a:cs typeface="Segoe UI" pitchFamily="34" charset="0"/>
                </a:endParaRPr>
              </a:p>
            </p:txBody>
          </p:sp>
          <p:sp>
            <p:nvSpPr>
              <p:cNvPr id="89" name="Rectangle 88"/>
              <p:cNvSpPr/>
              <p:nvPr/>
            </p:nvSpPr>
            <p:spPr bwMode="auto">
              <a:xfrm>
                <a:off x="1129355" y="1932277"/>
                <a:ext cx="1054776" cy="276999"/>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ysClr val="windowText" lastClr="000000"/>
                    </a:solidFill>
                    <a:effectLst/>
                    <a:uLnTx/>
                    <a:uFillTx/>
                  </a:rPr>
                  <a:t>Web Apps</a:t>
                </a:r>
              </a:p>
            </p:txBody>
          </p:sp>
          <p:pic>
            <p:nvPicPr>
              <p:cNvPr id="90" name="Picture 7"/>
              <p:cNvPicPr>
                <a:picLocks noChangeAspect="1" noChangeArrowheads="1"/>
              </p:cNvPicPr>
              <p:nvPr>
                <p:custDataLst>
                  <p:tags r:id="rId3"/>
                </p:custDataLst>
              </p:nvPr>
            </p:nvPicPr>
            <p:blipFill>
              <a:blip r:embed="rId9" cstate="print">
                <a:extLst>
                  <a:ext uri="{28A0092B-C50C-407E-A947-70E740481C1C}">
                    <a14:useLocalDpi xmlns:a14="http://schemas.microsoft.com/office/drawing/2010/main" val="0"/>
                  </a:ext>
                </a:extLst>
              </a:blip>
              <a:stretch>
                <a:fillRect/>
              </a:stretch>
            </p:blipFill>
            <p:spPr bwMode="auto">
              <a:xfrm>
                <a:off x="1275115" y="1207205"/>
                <a:ext cx="763257" cy="602100"/>
              </a:xfrm>
              <a:prstGeom prst="rect">
                <a:avLst/>
              </a:prstGeom>
              <a:noFill/>
              <a:ln>
                <a:noFill/>
              </a:ln>
            </p:spPr>
          </p:pic>
        </p:grpSp>
      </p:grpSp>
      <p:grpSp>
        <p:nvGrpSpPr>
          <p:cNvPr id="75" name="Group 74"/>
          <p:cNvGrpSpPr/>
          <p:nvPr/>
        </p:nvGrpSpPr>
        <p:grpSpPr>
          <a:xfrm>
            <a:off x="530537" y="2600941"/>
            <a:ext cx="8234383" cy="995439"/>
            <a:chOff x="541175" y="2652598"/>
            <a:chExt cx="8399500" cy="1015400"/>
          </a:xfrm>
          <a:solidFill>
            <a:schemeClr val="accent1">
              <a:lumMod val="75000"/>
            </a:schemeClr>
          </a:solidFill>
        </p:grpSpPr>
        <p:sp>
          <p:nvSpPr>
            <p:cNvPr id="76" name="Rectangle 75"/>
            <p:cNvSpPr/>
            <p:nvPr/>
          </p:nvSpPr>
          <p:spPr bwMode="auto">
            <a:xfrm>
              <a:off x="541175" y="2652660"/>
              <a:ext cx="8399500" cy="1015338"/>
            </a:xfrm>
            <a:prstGeom prst="rect">
              <a:avLst/>
            </a:prstGeom>
            <a:grp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588"/>
                </a:spcAft>
                <a:buClrTx/>
                <a:buSzTx/>
                <a:buFontTx/>
                <a:buNone/>
                <a:tabLst/>
                <a:defRPr/>
              </a:pPr>
              <a:r>
                <a:rPr kumimoji="0" lang="en-US" sz="3137" b="1" i="0" u="none" strike="noStrike" kern="0" cap="none" spc="0" normalizeH="0" baseline="0" noProof="0" dirty="0">
                  <a:ln>
                    <a:noFill/>
                  </a:ln>
                  <a:solidFill>
                    <a:schemeClr val="tx1"/>
                  </a:solidFill>
                  <a:effectLst/>
                  <a:uLnTx/>
                  <a:uFillTx/>
                </a:rPr>
                <a:t>ML API service</a:t>
              </a:r>
              <a:endParaRPr kumimoji="0" lang="en-US" sz="2745" b="0" i="0" u="none" strike="noStrike" kern="0" cap="none" spc="0" normalizeH="0" baseline="0" noProof="0" dirty="0">
                <a:ln>
                  <a:noFill/>
                </a:ln>
                <a:solidFill>
                  <a:schemeClr val="tx1"/>
                </a:solidFill>
                <a:effectLst/>
                <a:uLnTx/>
                <a:uFillTx/>
              </a:endParaRPr>
            </a:p>
          </p:txBody>
        </p:sp>
        <p:cxnSp>
          <p:nvCxnSpPr>
            <p:cNvPr id="77" name="Straight Connector 76"/>
            <p:cNvCxnSpPr/>
            <p:nvPr/>
          </p:nvCxnSpPr>
          <p:spPr>
            <a:xfrm>
              <a:off x="5155668" y="2652598"/>
              <a:ext cx="0" cy="1015400"/>
            </a:xfrm>
            <a:prstGeom prst="line">
              <a:avLst/>
            </a:prstGeom>
            <a:grpFill/>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78" name="TextBox 77"/>
            <p:cNvSpPr txBox="1"/>
            <p:nvPr/>
          </p:nvSpPr>
          <p:spPr>
            <a:xfrm>
              <a:off x="5173917" y="2846397"/>
              <a:ext cx="2604505" cy="627864"/>
            </a:xfrm>
            <a:prstGeom prst="rect">
              <a:avLst/>
            </a:prstGeom>
            <a:grpFill/>
          </p:spPr>
          <p:txBody>
            <a:bodyPr wrap="square" lIns="179285" tIns="143428" rIns="179285" bIns="143428"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dirty="0">
                  <a:ln>
                    <a:noFill/>
                  </a:ln>
                  <a:solidFill>
                    <a:sysClr val="windowText" lastClr="000000"/>
                  </a:solidFill>
                  <a:effectLst/>
                  <a:uLnTx/>
                  <a:uFillTx/>
                </a:rPr>
                <a:t>Developer</a:t>
              </a:r>
            </a:p>
          </p:txBody>
        </p:sp>
      </p:grpSp>
    </p:spTree>
    <p:extLst>
      <p:ext uri="{BB962C8B-B14F-4D97-AF65-F5344CB8AC3E}">
        <p14:creationId xmlns:p14="http://schemas.microsoft.com/office/powerpoint/2010/main" val="1215468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childTnLst>
                          </p:cTn>
                        </p:par>
                      </p:childTnLst>
                    </p:cTn>
                  </p:par>
                  <p:par>
                    <p:cTn id="11" fill="hold">
                      <p:stCondLst>
                        <p:cond delay="indefinite"/>
                      </p:stCondLst>
                      <p:childTnLst>
                        <p:par>
                          <p:cTn id="12" fill="hold">
                            <p:stCondLst>
                              <p:cond delay="0"/>
                            </p:stCondLst>
                            <p:childTnLst>
                              <p:par>
                                <p:cTn id="13" presetID="63" presetClass="path" presetSubtype="0" accel="50000" decel="50000" fill="hold" grpId="1" nodeType="clickEffect">
                                  <p:stCondLst>
                                    <p:cond delay="0"/>
                                  </p:stCondLst>
                                  <p:childTnLst>
                                    <p:animMotion origin="layout" path="M 0.0748 4.89333E-6 L 0.17449 4.89333E-6 " pathEditMode="relative" rAng="0" ptsTypes="AA">
                                      <p:cBhvr>
                                        <p:cTn id="14" dur="500" fill="hold"/>
                                        <p:tgtEl>
                                          <p:spTgt spid="14"/>
                                        </p:tgtEl>
                                        <p:attrNameLst>
                                          <p:attrName>ppt_x</p:attrName>
                                          <p:attrName>ppt_y</p:attrName>
                                        </p:attrNameLst>
                                      </p:cBhvr>
                                      <p:rCtr x="4978" y="0"/>
                                    </p:animMotion>
                                  </p:childTnLst>
                                </p:cTn>
                              </p:par>
                              <p:par>
                                <p:cTn id="15" presetID="10" presetClass="entr" presetSubtype="0" fill="hold" nodeType="withEffect">
                                  <p:stCondLst>
                                    <p:cond delay="35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16" presetClass="entr" presetSubtype="37" fill="hold" nodeType="clickEffect">
                                  <p:stCondLst>
                                    <p:cond delay="0"/>
                                  </p:stCondLst>
                                  <p:childTnLst>
                                    <p:set>
                                      <p:cBhvr>
                                        <p:cTn id="21" dur="1" fill="hold">
                                          <p:stCondLst>
                                            <p:cond delay="0"/>
                                          </p:stCondLst>
                                        </p:cTn>
                                        <p:tgtEl>
                                          <p:spTgt spid="66"/>
                                        </p:tgtEl>
                                        <p:attrNameLst>
                                          <p:attrName>style.visibility</p:attrName>
                                        </p:attrNameLst>
                                      </p:cBhvr>
                                      <p:to>
                                        <p:strVal val="visible"/>
                                      </p:to>
                                    </p:set>
                                    <p:animEffect transition="in" filter="barn(outVertical)">
                                      <p:cBhvr>
                                        <p:cTn id="22" dur="500"/>
                                        <p:tgtEl>
                                          <p:spTgt spid="66"/>
                                        </p:tgtEl>
                                      </p:cBhvr>
                                    </p:animEffect>
                                  </p:childTnLst>
                                </p:cTn>
                              </p:par>
                              <p:par>
                                <p:cTn id="23" presetID="10" presetClass="entr" presetSubtype="0" fill="hold" nodeType="withEffect">
                                  <p:stCondLst>
                                    <p:cond delay="450"/>
                                  </p:stCondLst>
                                  <p:childTnLst>
                                    <p:set>
                                      <p:cBhvr>
                                        <p:cTn id="24" dur="1" fill="hold">
                                          <p:stCondLst>
                                            <p:cond delay="0"/>
                                          </p:stCondLst>
                                        </p:cTn>
                                        <p:tgtEl>
                                          <p:spTgt spid="23"/>
                                        </p:tgtEl>
                                        <p:attrNameLst>
                                          <p:attrName>style.visibility</p:attrName>
                                        </p:attrNameLst>
                                      </p:cBhvr>
                                      <p:to>
                                        <p:strVal val="visible"/>
                                      </p:to>
                                    </p:set>
                                    <p:animEffect transition="in" filter="fade">
                                      <p:cBhvr>
                                        <p:cTn id="25" dur="500"/>
                                        <p:tgtEl>
                                          <p:spTgt spid="23"/>
                                        </p:tgtEl>
                                      </p:cBhvr>
                                    </p:animEffect>
                                  </p:childTnLst>
                                </p:cTn>
                              </p:par>
                              <p:par>
                                <p:cTn id="26" presetID="10" presetClass="entr" presetSubtype="0" fill="hold" nodeType="withEffect">
                                  <p:stCondLst>
                                    <p:cond delay="450"/>
                                  </p:stCondLst>
                                  <p:childTnLst>
                                    <p:set>
                                      <p:cBhvr>
                                        <p:cTn id="27" dur="1" fill="hold">
                                          <p:stCondLst>
                                            <p:cond delay="0"/>
                                          </p:stCondLst>
                                        </p:cTn>
                                        <p:tgtEl>
                                          <p:spTgt spid="27"/>
                                        </p:tgtEl>
                                        <p:attrNameLst>
                                          <p:attrName>style.visibility</p:attrName>
                                        </p:attrNameLst>
                                      </p:cBhvr>
                                      <p:to>
                                        <p:strVal val="visible"/>
                                      </p:to>
                                    </p:set>
                                    <p:animEffect transition="in" filter="fade">
                                      <p:cBhvr>
                                        <p:cTn id="28" dur="500"/>
                                        <p:tgtEl>
                                          <p:spTgt spid="27"/>
                                        </p:tgtEl>
                                      </p:cBhvr>
                                    </p:animEffect>
                                  </p:childTnLst>
                                </p:cTn>
                              </p:par>
                              <p:par>
                                <p:cTn id="29" presetID="10" presetClass="entr" presetSubtype="0" fill="hold" nodeType="withEffect">
                                  <p:stCondLst>
                                    <p:cond delay="450"/>
                                  </p:stCondLst>
                                  <p:childTnLst>
                                    <p:set>
                                      <p:cBhvr>
                                        <p:cTn id="30" dur="1" fill="hold">
                                          <p:stCondLst>
                                            <p:cond delay="0"/>
                                          </p:stCondLst>
                                        </p:cTn>
                                        <p:tgtEl>
                                          <p:spTgt spid="33"/>
                                        </p:tgtEl>
                                        <p:attrNameLst>
                                          <p:attrName>style.visibility</p:attrName>
                                        </p:attrNameLst>
                                      </p:cBhvr>
                                      <p:to>
                                        <p:strVal val="visible"/>
                                      </p:to>
                                    </p:set>
                                    <p:animEffect transition="in" filter="fade">
                                      <p:cBhvr>
                                        <p:cTn id="31" dur="500"/>
                                        <p:tgtEl>
                                          <p:spTgt spid="33"/>
                                        </p:tgtEl>
                                      </p:cBhvr>
                                    </p:animEffect>
                                  </p:childTnLst>
                                </p:cTn>
                              </p:par>
                              <p:par>
                                <p:cTn id="32" presetID="10" presetClass="entr" presetSubtype="0" fill="hold" nodeType="withEffect">
                                  <p:stCondLst>
                                    <p:cond delay="450"/>
                                  </p:stCondLst>
                                  <p:childTnLst>
                                    <p:set>
                                      <p:cBhvr>
                                        <p:cTn id="33" dur="1" fill="hold">
                                          <p:stCondLst>
                                            <p:cond delay="0"/>
                                          </p:stCondLst>
                                        </p:cTn>
                                        <p:tgtEl>
                                          <p:spTgt spid="67"/>
                                        </p:tgtEl>
                                        <p:attrNameLst>
                                          <p:attrName>style.visibility</p:attrName>
                                        </p:attrNameLst>
                                      </p:cBhvr>
                                      <p:to>
                                        <p:strVal val="visible"/>
                                      </p:to>
                                    </p:set>
                                    <p:animEffect transition="in" filter="fade">
                                      <p:cBhvr>
                                        <p:cTn id="34" dur="500"/>
                                        <p:tgtEl>
                                          <p:spTgt spid="67"/>
                                        </p:tgtEl>
                                      </p:cBhvr>
                                    </p:animEffect>
                                  </p:childTnLst>
                                </p:cTn>
                              </p:par>
                              <p:par>
                                <p:cTn id="35" presetID="1" presetClass="exit" presetSubtype="0" fill="hold" grpId="2" nodeType="withEffect">
                                  <p:stCondLst>
                                    <p:cond delay="1000"/>
                                  </p:stCondLst>
                                  <p:childTnLst>
                                    <p:set>
                                      <p:cBhvr>
                                        <p:cTn id="36" dur="1" fill="hold">
                                          <p:stCondLst>
                                            <p:cond delay="0"/>
                                          </p:stCondLst>
                                        </p:cTn>
                                        <p:tgtEl>
                                          <p:spTgt spid="14"/>
                                        </p:tgtEl>
                                        <p:attrNameLst>
                                          <p:attrName>style.visibility</p:attrName>
                                        </p:attrNameLst>
                                      </p:cBhvr>
                                      <p:to>
                                        <p:strVal val="hidden"/>
                                      </p:to>
                                    </p:set>
                                  </p:childTnLst>
                                </p:cTn>
                              </p:par>
                            </p:childTnLst>
                          </p:cTn>
                        </p:par>
                      </p:childTnLst>
                    </p:cTn>
                  </p:par>
                  <p:par>
                    <p:cTn id="37" fill="hold">
                      <p:stCondLst>
                        <p:cond delay="indefinite"/>
                      </p:stCondLst>
                      <p:childTnLst>
                        <p:par>
                          <p:cTn id="38" fill="hold">
                            <p:stCondLst>
                              <p:cond delay="0"/>
                            </p:stCondLst>
                            <p:childTnLst>
                              <p:par>
                                <p:cTn id="39" presetID="63" presetClass="path" presetSubtype="0" accel="50000" decel="50000" fill="hold" nodeType="clickEffect">
                                  <p:stCondLst>
                                    <p:cond delay="0"/>
                                  </p:stCondLst>
                                  <p:childTnLst>
                                    <p:animMotion origin="layout" path="M 0.00012 4.89333E-6 L 0.02246 4.89333E-6 " pathEditMode="relative" rAng="0" ptsTypes="AA">
                                      <p:cBhvr>
                                        <p:cTn id="40" dur="500" fill="hold"/>
                                        <p:tgtEl>
                                          <p:spTgt spid="67"/>
                                        </p:tgtEl>
                                        <p:attrNameLst>
                                          <p:attrName>ppt_x</p:attrName>
                                          <p:attrName>ppt_y</p:attrName>
                                        </p:attrNameLst>
                                      </p:cBhvr>
                                      <p:rCtr x="1111" y="0"/>
                                    </p:animMotion>
                                  </p:childTnLst>
                                </p:cTn>
                              </p:par>
                            </p:childTnLst>
                          </p:cTn>
                        </p:par>
                      </p:childTnLst>
                    </p:cTn>
                  </p:par>
                  <p:par>
                    <p:cTn id="41" fill="hold">
                      <p:stCondLst>
                        <p:cond delay="indefinite"/>
                      </p:stCondLst>
                      <p:childTnLst>
                        <p:par>
                          <p:cTn id="42" fill="hold">
                            <p:stCondLst>
                              <p:cond delay="0"/>
                            </p:stCondLst>
                            <p:childTnLst>
                              <p:par>
                                <p:cTn id="43" presetID="10" presetClass="exit" presetSubtype="0" fill="hold" nodeType="clickEffect">
                                  <p:stCondLst>
                                    <p:cond delay="0"/>
                                  </p:stCondLst>
                                  <p:childTnLst>
                                    <p:animEffect transition="out" filter="fade">
                                      <p:cBhvr>
                                        <p:cTn id="44" dur="500"/>
                                        <p:tgtEl>
                                          <p:spTgt spid="6"/>
                                        </p:tgtEl>
                                      </p:cBhvr>
                                    </p:animEffect>
                                    <p:set>
                                      <p:cBhvr>
                                        <p:cTn id="45" dur="1" fill="hold">
                                          <p:stCondLst>
                                            <p:cond delay="499"/>
                                          </p:stCondLst>
                                        </p:cTn>
                                        <p:tgtEl>
                                          <p:spTgt spid="6"/>
                                        </p:tgtEl>
                                        <p:attrNameLst>
                                          <p:attrName>style.visibility</p:attrName>
                                        </p:attrNameLst>
                                      </p:cBhvr>
                                      <p:to>
                                        <p:strVal val="hidden"/>
                                      </p:to>
                                    </p:set>
                                  </p:childTnLst>
                                </p:cTn>
                              </p:par>
                              <p:par>
                                <p:cTn id="46" presetID="10" presetClass="entr" presetSubtype="0" fill="hold" nodeType="withEffect">
                                  <p:stCondLst>
                                    <p:cond delay="0"/>
                                  </p:stCondLst>
                                  <p:childTnLst>
                                    <p:set>
                                      <p:cBhvr>
                                        <p:cTn id="47" dur="1" fill="hold">
                                          <p:stCondLst>
                                            <p:cond delay="0"/>
                                          </p:stCondLst>
                                        </p:cTn>
                                        <p:tgtEl>
                                          <p:spTgt spid="70"/>
                                        </p:tgtEl>
                                        <p:attrNameLst>
                                          <p:attrName>style.visibility</p:attrName>
                                        </p:attrNameLst>
                                      </p:cBhvr>
                                      <p:to>
                                        <p:strVal val="visible"/>
                                      </p:to>
                                    </p:set>
                                    <p:animEffect transition="in" filter="fade">
                                      <p:cBhvr>
                                        <p:cTn id="48" dur="500"/>
                                        <p:tgtEl>
                                          <p:spTgt spid="70"/>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74"/>
                                        </p:tgtEl>
                                        <p:attrNameLst>
                                          <p:attrName>style.visibility</p:attrName>
                                        </p:attrNameLst>
                                      </p:cBhvr>
                                      <p:to>
                                        <p:strVal val="visible"/>
                                      </p:to>
                                    </p:set>
                                    <p:animEffect transition="in" filter="fade">
                                      <p:cBhvr>
                                        <p:cTn id="51" dur="500"/>
                                        <p:tgtEl>
                                          <p:spTgt spid="74"/>
                                        </p:tgtEl>
                                      </p:cBhvr>
                                    </p:animEffect>
                                  </p:childTnLst>
                                </p:cTn>
                              </p:par>
                              <p:par>
                                <p:cTn id="52" presetID="64" presetClass="path" presetSubtype="0" accel="50000" decel="50000" fill="hold" grpId="1" nodeType="withEffect">
                                  <p:stCondLst>
                                    <p:cond delay="0"/>
                                  </p:stCondLst>
                                  <p:childTnLst>
                                    <p:animMotion origin="layout" path="M 3.84733E-6 0.04449 L 3.84733E-6 -4.58012E-6 " pathEditMode="relative" rAng="0" ptsTypes="AA">
                                      <p:cBhvr>
                                        <p:cTn id="53" dur="500" fill="hold"/>
                                        <p:tgtEl>
                                          <p:spTgt spid="74"/>
                                        </p:tgtEl>
                                        <p:attrNameLst>
                                          <p:attrName>ppt_x</p:attrName>
                                          <p:attrName>ppt_y</p:attrName>
                                        </p:attrNameLst>
                                      </p:cBhvr>
                                      <p:rCtr x="0" y="-2224"/>
                                    </p:animMotion>
                                  </p:childTnLst>
                                </p:cTn>
                              </p:par>
                              <p:par>
                                <p:cTn id="54" presetID="10" presetClass="entr" presetSubtype="0" fill="hold" nodeType="withEffect">
                                  <p:stCondLst>
                                    <p:cond delay="500"/>
                                  </p:stCondLst>
                                  <p:childTnLst>
                                    <p:set>
                                      <p:cBhvr>
                                        <p:cTn id="55" dur="1" fill="hold">
                                          <p:stCondLst>
                                            <p:cond delay="0"/>
                                          </p:stCondLst>
                                        </p:cTn>
                                        <p:tgtEl>
                                          <p:spTgt spid="75"/>
                                        </p:tgtEl>
                                        <p:attrNameLst>
                                          <p:attrName>style.visibility</p:attrName>
                                        </p:attrNameLst>
                                      </p:cBhvr>
                                      <p:to>
                                        <p:strVal val="visible"/>
                                      </p:to>
                                    </p:set>
                                    <p:animEffect transition="in" filter="fade">
                                      <p:cBhvr>
                                        <p:cTn id="56" dur="500"/>
                                        <p:tgtEl>
                                          <p:spTgt spid="75"/>
                                        </p:tgtEl>
                                      </p:cBhvr>
                                    </p:animEffect>
                                  </p:childTnLst>
                                </p:cTn>
                              </p:par>
                            </p:childTnLst>
                          </p:cTn>
                        </p:par>
                        <p:par>
                          <p:cTn id="57" fill="hold">
                            <p:stCondLst>
                              <p:cond delay="1000"/>
                            </p:stCondLst>
                            <p:childTnLst>
                              <p:par>
                                <p:cTn id="58" presetID="10" presetClass="entr" presetSubtype="0" fill="hold" nodeType="afterEffect">
                                  <p:stCondLst>
                                    <p:cond delay="0"/>
                                  </p:stCondLst>
                                  <p:childTnLst>
                                    <p:set>
                                      <p:cBhvr>
                                        <p:cTn id="59" dur="1" fill="hold">
                                          <p:stCondLst>
                                            <p:cond delay="0"/>
                                          </p:stCondLst>
                                        </p:cTn>
                                        <p:tgtEl>
                                          <p:spTgt spid="100"/>
                                        </p:tgtEl>
                                        <p:attrNameLst>
                                          <p:attrName>style.visibility</p:attrName>
                                        </p:attrNameLst>
                                      </p:cBhvr>
                                      <p:to>
                                        <p:strVal val="visible"/>
                                      </p:to>
                                    </p:set>
                                    <p:animEffect transition="in" filter="fade">
                                      <p:cBhvr>
                                        <p:cTn id="60" dur="500"/>
                                        <p:tgtEl>
                                          <p:spTgt spid="100"/>
                                        </p:tgtEl>
                                      </p:cBhvr>
                                    </p:animEffect>
                                  </p:childTnLst>
                                </p:cTn>
                              </p:par>
                            </p:childTnLst>
                          </p:cTn>
                        </p:par>
                      </p:childTnLst>
                    </p:cTn>
                  </p:par>
                  <p:par>
                    <p:cTn id="61" fill="hold">
                      <p:stCondLst>
                        <p:cond delay="indefinite"/>
                      </p:stCondLst>
                      <p:childTnLst>
                        <p:par>
                          <p:cTn id="62" fill="hold">
                            <p:stCondLst>
                              <p:cond delay="0"/>
                            </p:stCondLst>
                            <p:childTnLst>
                              <p:par>
                                <p:cTn id="63" presetID="64" presetClass="path" presetSubtype="0" accel="50000" decel="50000" fill="hold" nodeType="clickEffect">
                                  <p:stCondLst>
                                    <p:cond delay="0"/>
                                  </p:stCondLst>
                                  <p:childTnLst>
                                    <p:animMotion origin="layout" path="M -2.55297E-9 -0.07489 L -2.55297E-9 -0.13141 " pathEditMode="relative" rAng="0" ptsTypes="AA">
                                      <p:cBhvr>
                                        <p:cTn id="64" dur="500" fill="hold"/>
                                        <p:tgtEl>
                                          <p:spTgt spid="100"/>
                                        </p:tgtEl>
                                        <p:attrNameLst>
                                          <p:attrName>ppt_x</p:attrName>
                                          <p:attrName>ppt_y</p:attrName>
                                        </p:attrNameLst>
                                      </p:cBhvr>
                                      <p:rCtr x="0" y="-2837"/>
                                    </p:animMotion>
                                  </p:childTnLst>
                                </p:cTn>
                              </p:par>
                              <p:par>
                                <p:cTn id="65" presetID="10" presetClass="entr" presetSubtype="0" fill="hold" nodeType="withEffect">
                                  <p:stCondLst>
                                    <p:cond delay="250"/>
                                  </p:stCondLst>
                                  <p:childTnLst>
                                    <p:set>
                                      <p:cBhvr>
                                        <p:cTn id="66" dur="1" fill="hold">
                                          <p:stCondLst>
                                            <p:cond delay="0"/>
                                          </p:stCondLst>
                                        </p:cTn>
                                        <p:tgtEl>
                                          <p:spTgt spid="101"/>
                                        </p:tgtEl>
                                        <p:attrNameLst>
                                          <p:attrName>style.visibility</p:attrName>
                                        </p:attrNameLst>
                                      </p:cBhvr>
                                      <p:to>
                                        <p:strVal val="visible"/>
                                      </p:to>
                                    </p:set>
                                    <p:animEffect transition="in" filter="fade">
                                      <p:cBhvr>
                                        <p:cTn id="67" dur="500"/>
                                        <p:tgtEl>
                                          <p:spTgt spid="10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 grpId="0" animBg="1"/>
      <p:bldP spid="74" grpId="1" animBg="1"/>
      <p:bldP spid="14" grpId="0" animBg="1"/>
      <p:bldP spid="14" grpId="1" animBg="1"/>
      <p:bldP spid="14" grpId="2"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Machine Learning</a:t>
            </a:r>
            <a:endParaRPr lang="en-US" dirty="0"/>
          </a:p>
        </p:txBody>
      </p:sp>
      <p:pic>
        <p:nvPicPr>
          <p:cNvPr id="3" name="Picture 2"/>
          <p:cNvPicPr>
            <a:picLocks noChangeAspect="1"/>
          </p:cNvPicPr>
          <p:nvPr/>
        </p:nvPicPr>
        <p:blipFill rotWithShape="1">
          <a:blip r:embed="rId3"/>
          <a:srcRect l="855"/>
          <a:stretch/>
        </p:blipFill>
        <p:spPr>
          <a:xfrm>
            <a:off x="267355" y="1034456"/>
            <a:ext cx="9612429" cy="5697160"/>
          </a:xfrm>
          <a:prstGeom prst="rect">
            <a:avLst/>
          </a:prstGeom>
        </p:spPr>
      </p:pic>
      <p:sp>
        <p:nvSpPr>
          <p:cNvPr id="5" name="Right Brace 4"/>
          <p:cNvSpPr/>
          <p:nvPr/>
        </p:nvSpPr>
        <p:spPr>
          <a:xfrm>
            <a:off x="4000774" y="2531046"/>
            <a:ext cx="376881" cy="1046084"/>
          </a:xfrm>
          <a:prstGeom prst="rightBrace">
            <a:avLst/>
          </a:prstGeom>
          <a:ln w="38100"/>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6" name="TextBox 5"/>
          <p:cNvSpPr txBox="1"/>
          <p:nvPr/>
        </p:nvSpPr>
        <p:spPr>
          <a:xfrm>
            <a:off x="4674239" y="2873052"/>
            <a:ext cx="1026499" cy="362072"/>
          </a:xfrm>
          <a:prstGeom prst="rect">
            <a:avLst/>
          </a:prstGeom>
          <a:solidFill>
            <a:schemeClr val="accent1">
              <a:lumMod val="50000"/>
            </a:schemeClr>
          </a:solidFill>
        </p:spPr>
        <p:txBody>
          <a:bodyPr wrap="none" rtlCol="0">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ysClr val="windowText" lastClr="000000"/>
                </a:solidFill>
                <a:effectLst/>
                <a:uLnTx/>
                <a:uFillTx/>
              </a:rPr>
              <a:t>Data I/O</a:t>
            </a:r>
          </a:p>
        </p:txBody>
      </p:sp>
      <p:sp>
        <p:nvSpPr>
          <p:cNvPr id="7" name="Right Brace 6"/>
          <p:cNvSpPr/>
          <p:nvPr/>
        </p:nvSpPr>
        <p:spPr>
          <a:xfrm>
            <a:off x="4000774" y="3803148"/>
            <a:ext cx="376881" cy="448977"/>
          </a:xfrm>
          <a:prstGeom prst="rightBrace">
            <a:avLst/>
          </a:prstGeom>
          <a:ln w="38100"/>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8" name="TextBox 7"/>
          <p:cNvSpPr txBox="1"/>
          <p:nvPr/>
        </p:nvSpPr>
        <p:spPr>
          <a:xfrm>
            <a:off x="4674527" y="3845835"/>
            <a:ext cx="3965676" cy="362072"/>
          </a:xfrm>
          <a:prstGeom prst="rect">
            <a:avLst/>
          </a:prstGeom>
          <a:solidFill>
            <a:schemeClr val="accent1">
              <a:lumMod val="50000"/>
            </a:schemeClr>
          </a:solidFill>
        </p:spPr>
        <p:txBody>
          <a:bodyPr wrap="square" rtlCol="0">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ysClr val="windowText" lastClr="000000"/>
                </a:solidFill>
                <a:effectLst/>
                <a:uLnTx/>
                <a:uFillTx/>
              </a:rPr>
              <a:t>Taking Data &amp; preparing for Analysis</a:t>
            </a:r>
          </a:p>
        </p:txBody>
      </p:sp>
      <p:sp>
        <p:nvSpPr>
          <p:cNvPr id="9" name="Right Brace 8"/>
          <p:cNvSpPr/>
          <p:nvPr/>
        </p:nvSpPr>
        <p:spPr>
          <a:xfrm>
            <a:off x="3978153" y="4277609"/>
            <a:ext cx="376881" cy="448977"/>
          </a:xfrm>
          <a:prstGeom prst="rightBrace">
            <a:avLst/>
          </a:prstGeom>
          <a:ln w="38100"/>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10" name="TextBox 9"/>
          <p:cNvSpPr txBox="1"/>
          <p:nvPr/>
        </p:nvSpPr>
        <p:spPr>
          <a:xfrm>
            <a:off x="4651907" y="4320297"/>
            <a:ext cx="6906647" cy="331899"/>
          </a:xfrm>
          <a:prstGeom prst="rect">
            <a:avLst/>
          </a:prstGeom>
          <a:solidFill>
            <a:schemeClr val="accent1">
              <a:lumMod val="50000"/>
            </a:schemeClr>
          </a:solidFill>
        </p:spPr>
        <p:txBody>
          <a:bodyPr wrap="square" rtlCol="0">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ysClr val="windowText" lastClr="000000"/>
                </a:solidFill>
                <a:effectLst/>
                <a:uLnTx/>
                <a:uFillTx/>
              </a:rPr>
              <a:t>Dimensionality reduction. E.g. Kinect measures 1000 points, 6 are relevant</a:t>
            </a:r>
          </a:p>
        </p:txBody>
      </p:sp>
      <p:sp>
        <p:nvSpPr>
          <p:cNvPr id="11" name="Right Brace 10"/>
          <p:cNvSpPr/>
          <p:nvPr/>
        </p:nvSpPr>
        <p:spPr>
          <a:xfrm>
            <a:off x="3978153" y="4782760"/>
            <a:ext cx="376881" cy="448977"/>
          </a:xfrm>
          <a:prstGeom prst="rightBrace">
            <a:avLst/>
          </a:prstGeom>
          <a:ln w="38100"/>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12" name="TextBox 11"/>
          <p:cNvSpPr txBox="1"/>
          <p:nvPr/>
        </p:nvSpPr>
        <p:spPr>
          <a:xfrm>
            <a:off x="4651907" y="4825448"/>
            <a:ext cx="6906647" cy="331899"/>
          </a:xfrm>
          <a:prstGeom prst="rect">
            <a:avLst/>
          </a:prstGeom>
          <a:solidFill>
            <a:schemeClr val="accent1">
              <a:lumMod val="50000"/>
            </a:schemeClr>
          </a:solidFill>
        </p:spPr>
        <p:txBody>
          <a:bodyPr wrap="square" rtlCol="0">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ysClr val="windowText" lastClr="000000"/>
                </a:solidFill>
                <a:effectLst/>
                <a:uLnTx/>
                <a:uFillTx/>
              </a:rPr>
              <a:t>Fitting Model selection; calibration; assessment</a:t>
            </a:r>
          </a:p>
        </p:txBody>
      </p:sp>
      <p:sp>
        <p:nvSpPr>
          <p:cNvPr id="13" name="Right Brace 12"/>
          <p:cNvSpPr/>
          <p:nvPr/>
        </p:nvSpPr>
        <p:spPr>
          <a:xfrm>
            <a:off x="3978153" y="5224694"/>
            <a:ext cx="376881" cy="448977"/>
          </a:xfrm>
          <a:prstGeom prst="rightBrace">
            <a:avLst/>
          </a:prstGeom>
          <a:ln w="38100"/>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14" name="TextBox 13"/>
          <p:cNvSpPr txBox="1"/>
          <p:nvPr/>
        </p:nvSpPr>
        <p:spPr>
          <a:xfrm>
            <a:off x="4651907" y="5267381"/>
            <a:ext cx="6906647" cy="331899"/>
          </a:xfrm>
          <a:prstGeom prst="rect">
            <a:avLst/>
          </a:prstGeom>
          <a:solidFill>
            <a:schemeClr val="accent1">
              <a:lumMod val="50000"/>
            </a:schemeClr>
          </a:solidFill>
        </p:spPr>
        <p:txBody>
          <a:bodyPr wrap="square" rtlCol="0">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ysClr val="windowText" lastClr="000000"/>
                </a:solidFill>
                <a:effectLst/>
                <a:uLnTx/>
                <a:uFillTx/>
              </a:rPr>
              <a:t>R – free scripts/graphics, many packages based on Vector Data.</a:t>
            </a:r>
          </a:p>
        </p:txBody>
      </p:sp>
      <p:sp>
        <p:nvSpPr>
          <p:cNvPr id="15" name="Right Brace 14"/>
          <p:cNvSpPr/>
          <p:nvPr/>
        </p:nvSpPr>
        <p:spPr>
          <a:xfrm>
            <a:off x="3974186" y="5673671"/>
            <a:ext cx="376881" cy="448977"/>
          </a:xfrm>
          <a:prstGeom prst="rightBrace">
            <a:avLst/>
          </a:prstGeom>
          <a:ln w="38100"/>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16" name="TextBox 15"/>
          <p:cNvSpPr txBox="1"/>
          <p:nvPr/>
        </p:nvSpPr>
        <p:spPr>
          <a:xfrm>
            <a:off x="4647940" y="5716359"/>
            <a:ext cx="6910615" cy="331899"/>
          </a:xfrm>
          <a:prstGeom prst="rect">
            <a:avLst/>
          </a:prstGeom>
          <a:solidFill>
            <a:schemeClr val="accent1">
              <a:lumMod val="50000"/>
            </a:schemeClr>
          </a:solidFill>
        </p:spPr>
        <p:txBody>
          <a:bodyPr wrap="square" rtlCol="0">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ysClr val="windowText" lastClr="000000"/>
                </a:solidFill>
                <a:effectLst/>
                <a:uLnTx/>
                <a:uFillTx/>
              </a:rPr>
              <a:t>Metrics to allow us to describe the data. E.g. Mean, Correlation…</a:t>
            </a:r>
          </a:p>
        </p:txBody>
      </p:sp>
      <p:sp>
        <p:nvSpPr>
          <p:cNvPr id="17" name="Right Brace 16"/>
          <p:cNvSpPr/>
          <p:nvPr/>
        </p:nvSpPr>
        <p:spPr>
          <a:xfrm>
            <a:off x="3974186" y="6109431"/>
            <a:ext cx="376881" cy="448977"/>
          </a:xfrm>
          <a:prstGeom prst="rightBrace">
            <a:avLst/>
          </a:prstGeom>
          <a:ln w="38100"/>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18" name="TextBox 17"/>
          <p:cNvSpPr txBox="1"/>
          <p:nvPr/>
        </p:nvSpPr>
        <p:spPr>
          <a:xfrm>
            <a:off x="4647940" y="6152119"/>
            <a:ext cx="6910615" cy="331899"/>
          </a:xfrm>
          <a:prstGeom prst="rect">
            <a:avLst/>
          </a:prstGeom>
          <a:solidFill>
            <a:schemeClr val="accent1">
              <a:lumMod val="50000"/>
            </a:schemeClr>
          </a:solidFill>
        </p:spPr>
        <p:txBody>
          <a:bodyPr wrap="square" rtlCol="0">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ysClr val="windowText" lastClr="000000"/>
                </a:solidFill>
                <a:effectLst/>
                <a:uLnTx/>
                <a:uFillTx/>
              </a:rPr>
              <a:t>Tools used for Text Input. E.g. ‘What is the theme of this essay?’</a:t>
            </a:r>
          </a:p>
        </p:txBody>
      </p:sp>
    </p:spTree>
    <p:extLst>
      <p:ext uri="{BB962C8B-B14F-4D97-AF65-F5344CB8AC3E}">
        <p14:creationId xmlns:p14="http://schemas.microsoft.com/office/powerpoint/2010/main" val="416177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500"/>
                                        <p:tgtEl>
                                          <p:spTgt spid="12"/>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3"/>
                                        </p:tgtEl>
                                        <p:attrNameLst>
                                          <p:attrName>style.visibility</p:attrName>
                                        </p:attrNameLst>
                                      </p:cBhvr>
                                      <p:to>
                                        <p:strVal val="visible"/>
                                      </p:to>
                                    </p:set>
                                    <p:animEffect transition="in" filter="fade">
                                      <p:cBhvr>
                                        <p:cTn id="39" dur="500"/>
                                        <p:tgtEl>
                                          <p:spTgt spid="13"/>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fade">
                                      <p:cBhvr>
                                        <p:cTn id="42" dur="500"/>
                                        <p:tgtEl>
                                          <p:spTgt spid="14"/>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fade">
                                      <p:cBhvr>
                                        <p:cTn id="47" dur="500"/>
                                        <p:tgtEl>
                                          <p:spTgt spid="15"/>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6"/>
                                        </p:tgtEl>
                                        <p:attrNameLst>
                                          <p:attrName>style.visibility</p:attrName>
                                        </p:attrNameLst>
                                      </p:cBhvr>
                                      <p:to>
                                        <p:strVal val="visible"/>
                                      </p:to>
                                    </p:set>
                                    <p:animEffect transition="in" filter="fade">
                                      <p:cBhvr>
                                        <p:cTn id="50" dur="500"/>
                                        <p:tgtEl>
                                          <p:spTgt spid="16"/>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500"/>
                                        <p:tgtEl>
                                          <p:spTgt spid="17"/>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8"/>
                                        </p:tgtEl>
                                        <p:attrNameLst>
                                          <p:attrName>style.visibility</p:attrName>
                                        </p:attrNameLst>
                                      </p:cBhvr>
                                      <p:to>
                                        <p:strVal val="visible"/>
                                      </p:to>
                                    </p:set>
                                    <p:animEffect transition="in" filter="fade">
                                      <p:cBhvr>
                                        <p:cTn id="58"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2" descr="Agenda"/>
          <p:cNvSpPr>
            <a:spLocks noChangeAspect="1" noChangeArrowheads="1"/>
          </p:cNvSpPr>
          <p:nvPr/>
        </p:nvSpPr>
        <p:spPr bwMode="auto">
          <a:xfrm>
            <a:off x="-37351" y="-2872898"/>
            <a:ext cx="6162920" cy="61629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ko-KR" altLang="en-US" sz="1765" b="0" i="0" u="none" strike="noStrike" kern="1200" cap="none" spc="0" normalizeH="0" baseline="0" noProof="0">
              <a:ln>
                <a:noFill/>
              </a:ln>
              <a:solidFill>
                <a:srgbClr val="060F18"/>
              </a:solidFill>
              <a:effectLst/>
              <a:uLnTx/>
              <a:uFillTx/>
              <a:latin typeface="Segoe UI"/>
              <a:ea typeface="+mn-ea"/>
              <a:cs typeface="+mn-cs"/>
            </a:endParaRPr>
          </a:p>
        </p:txBody>
      </p:sp>
      <p:pic>
        <p:nvPicPr>
          <p:cNvPr id="2" name="그림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11602" y="2401901"/>
            <a:ext cx="9523116" cy="4123509"/>
          </a:xfrm>
          <a:prstGeom prst="rect">
            <a:avLst/>
          </a:prstGeom>
        </p:spPr>
      </p:pic>
    </p:spTree>
    <p:extLst>
      <p:ext uri="{BB962C8B-B14F-4D97-AF65-F5344CB8AC3E}">
        <p14:creationId xmlns:p14="http://schemas.microsoft.com/office/powerpoint/2010/main" val="3751978489"/>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그림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0288344" cy="6858000"/>
          </a:xfrm>
          <a:prstGeom prst="rect">
            <a:avLst/>
          </a:prstGeom>
        </p:spPr>
      </p:pic>
      <p:sp>
        <p:nvSpPr>
          <p:cNvPr id="5" name="직사각형 4"/>
          <p:cNvSpPr/>
          <p:nvPr/>
        </p:nvSpPr>
        <p:spPr>
          <a:xfrm>
            <a:off x="1062576" y="1136374"/>
            <a:ext cx="2760962" cy="707886"/>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4000" b="1" i="0" u="none" strike="noStrike" kern="0" cap="none" spc="0" normalizeH="0" baseline="0" noProof="0" dirty="0">
                <a:ln>
                  <a:noFill/>
                </a:ln>
                <a:solidFill>
                  <a:sysClr val="windowText" lastClr="000000"/>
                </a:solidFill>
                <a:effectLst/>
                <a:uLnTx/>
                <a:uFillTx/>
              </a:rPr>
              <a:t>IU</a:t>
            </a:r>
            <a:endParaRPr kumimoji="0" lang="ko-KR" altLang="en-US" sz="4000" b="1" i="0" u="none" strike="noStrike" kern="0" cap="none" spc="0" normalizeH="0" baseline="0" noProof="0" dirty="0">
              <a:ln>
                <a:noFill/>
              </a:ln>
              <a:solidFill>
                <a:sysClr val="windowText" lastClr="000000"/>
              </a:solidFill>
              <a:effectLst/>
              <a:uLnTx/>
              <a:uFillTx/>
            </a:endParaRPr>
          </a:p>
        </p:txBody>
      </p:sp>
      <p:pic>
        <p:nvPicPr>
          <p:cNvPr id="7" name="그림 6"/>
          <p:cNvPicPr>
            <a:picLocks noChangeAspect="1"/>
          </p:cNvPicPr>
          <p:nvPr/>
        </p:nvPicPr>
        <p:blipFill>
          <a:blip r:embed="rId3" cstate="print">
            <a:extLst>
              <a:ext uri="{BEBA8EAE-BF5A-486C-A8C5-ECC9F3942E4B}">
                <a14:imgProps xmlns:a14="http://schemas.microsoft.com/office/drawing/2010/main">
                  <a14:imgLayer r:embed="rId4">
                    <a14:imgEffect>
                      <a14:backgroundRemoval t="3653" b="97771" l="5732" r="97090"/>
                    </a14:imgEffect>
                  </a14:imgLayer>
                </a14:imgProps>
              </a:ext>
              <a:ext uri="{28A0092B-C50C-407E-A947-70E740481C1C}">
                <a14:useLocalDpi xmlns:a14="http://schemas.microsoft.com/office/drawing/2010/main" val="0"/>
              </a:ext>
            </a:extLst>
          </a:blip>
          <a:stretch>
            <a:fillRect/>
          </a:stretch>
        </p:blipFill>
        <p:spPr>
          <a:xfrm>
            <a:off x="8072975" y="212035"/>
            <a:ext cx="3512729" cy="5002696"/>
          </a:xfrm>
          <a:prstGeom prst="rect">
            <a:avLst/>
          </a:prstGeom>
        </p:spPr>
      </p:pic>
    </p:spTree>
    <p:extLst>
      <p:ext uri="{BB962C8B-B14F-4D97-AF65-F5344CB8AC3E}">
        <p14:creationId xmlns:p14="http://schemas.microsoft.com/office/powerpoint/2010/main" val="2310188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433012" y="1842052"/>
            <a:ext cx="9181039" cy="960263"/>
          </a:xfrm>
          <a:prstGeom prst="rect">
            <a:avLst/>
          </a:prstGeom>
          <a:noFill/>
        </p:spPr>
        <p:txBody>
          <a:bodyPr wrap="none" lIns="182880" tIns="146304" rIns="182880" bIns="146304" rtlCol="0">
            <a:spAutoFit/>
          </a:bodyPr>
          <a:lstStyle/>
          <a:p>
            <a:pPr>
              <a:lnSpc>
                <a:spcPct val="90000"/>
              </a:lnSpc>
              <a:spcAft>
                <a:spcPts val="600"/>
              </a:spcAft>
            </a:pPr>
            <a:r>
              <a:rPr lang="en-US" altLang="ko-KR" sz="4800" b="1" dirty="0">
                <a:solidFill>
                  <a:schemeClr val="bg1"/>
                </a:solidFill>
              </a:rPr>
              <a:t>Cloud</a:t>
            </a:r>
            <a:r>
              <a:rPr lang="ko-KR" altLang="en-US" sz="4800" b="1" dirty="0">
                <a:solidFill>
                  <a:schemeClr val="bg1"/>
                </a:solidFill>
              </a:rPr>
              <a:t>는 역시</a:t>
            </a:r>
            <a:r>
              <a:rPr lang="en-US" altLang="ko-KR" sz="4800" b="1" dirty="0">
                <a:solidFill>
                  <a:schemeClr val="bg1"/>
                </a:solidFill>
              </a:rPr>
              <a:t>? (                   )</a:t>
            </a:r>
          </a:p>
        </p:txBody>
      </p:sp>
      <p:sp>
        <p:nvSpPr>
          <p:cNvPr id="3" name="TextBox 2"/>
          <p:cNvSpPr txBox="1"/>
          <p:nvPr/>
        </p:nvSpPr>
        <p:spPr>
          <a:xfrm>
            <a:off x="6873030" y="1842052"/>
            <a:ext cx="2215991" cy="960263"/>
          </a:xfrm>
          <a:prstGeom prst="rect">
            <a:avLst/>
          </a:prstGeom>
          <a:noFill/>
        </p:spPr>
        <p:txBody>
          <a:bodyPr wrap="none" lIns="182880" tIns="146304" rIns="182880" bIns="146304" rtlCol="0">
            <a:spAutoFit/>
          </a:bodyPr>
          <a:lstStyle/>
          <a:p>
            <a:pPr>
              <a:lnSpc>
                <a:spcPct val="90000"/>
              </a:lnSpc>
              <a:spcAft>
                <a:spcPts val="600"/>
              </a:spcAft>
            </a:pPr>
            <a:r>
              <a:rPr lang="ko-KR" altLang="en-US" sz="4800" b="1" dirty="0">
                <a:solidFill>
                  <a:schemeClr val="bg1"/>
                </a:solidFill>
              </a:rPr>
              <a:t>아마존</a:t>
            </a:r>
            <a:endParaRPr lang="en-US" altLang="ko-KR" sz="4800" b="1" dirty="0">
              <a:solidFill>
                <a:schemeClr val="bg1"/>
              </a:solidFill>
            </a:endParaRPr>
          </a:p>
        </p:txBody>
      </p:sp>
    </p:spTree>
    <p:extLst>
      <p:ext uri="{BB962C8B-B14F-4D97-AF65-F5344CB8AC3E}">
        <p14:creationId xmlns:p14="http://schemas.microsoft.com/office/powerpoint/2010/main" val="18436255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Picture 2" descr="https://cloudit4you.files.wordpress.com/2015/06/aws-arch-overview-analytics-tl.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
            <a:ext cx="12108487" cy="62669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616785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그림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7" name="TextBox 6"/>
          <p:cNvSpPr txBox="1"/>
          <p:nvPr/>
        </p:nvSpPr>
        <p:spPr>
          <a:xfrm>
            <a:off x="2533942" y="3429000"/>
            <a:ext cx="2038058" cy="1037207"/>
          </a:xfrm>
          <a:prstGeom prst="rect">
            <a:avLst/>
          </a:prstGeom>
          <a:noFill/>
        </p:spPr>
        <p:txBody>
          <a:bodyPr wrap="none" lIns="182880" tIns="146304" rIns="182880" bIns="146304" rtlCol="0">
            <a:spAutoFit/>
          </a:bodyPr>
          <a:lstStyle/>
          <a:p>
            <a:pPr>
              <a:lnSpc>
                <a:spcPct val="90000"/>
              </a:lnSpc>
              <a:spcAft>
                <a:spcPts val="600"/>
              </a:spcAft>
            </a:pPr>
            <a:r>
              <a:rPr lang="en-US" altLang="ko-KR" sz="2400" b="1" dirty="0">
                <a:solidFill>
                  <a:schemeClr val="bg1"/>
                </a:solidFill>
              </a:rPr>
              <a:t>Application</a:t>
            </a:r>
          </a:p>
          <a:p>
            <a:pPr>
              <a:lnSpc>
                <a:spcPct val="90000"/>
              </a:lnSpc>
              <a:spcAft>
                <a:spcPts val="600"/>
              </a:spcAft>
            </a:pPr>
            <a:r>
              <a:rPr lang="en-US" altLang="ko-KR" sz="2400" b="1" dirty="0">
                <a:solidFill>
                  <a:schemeClr val="bg1"/>
                </a:solidFill>
              </a:rPr>
              <a:t>Service</a:t>
            </a:r>
            <a:endParaRPr lang="ko-KR" altLang="en-US" sz="2400" b="1" dirty="0" err="1">
              <a:solidFill>
                <a:schemeClr val="bg1"/>
              </a:solidFill>
            </a:endParaRPr>
          </a:p>
        </p:txBody>
      </p:sp>
      <p:sp>
        <p:nvSpPr>
          <p:cNvPr id="8" name="TextBox 7"/>
          <p:cNvSpPr txBox="1"/>
          <p:nvPr/>
        </p:nvSpPr>
        <p:spPr>
          <a:xfrm>
            <a:off x="609600" y="1232451"/>
            <a:ext cx="1693797" cy="627864"/>
          </a:xfrm>
          <a:prstGeom prst="rect">
            <a:avLst/>
          </a:prstGeom>
          <a:noFill/>
        </p:spPr>
        <p:txBody>
          <a:bodyPr wrap="none" lIns="182880" tIns="146304" rIns="182880" bIns="146304" rtlCol="0">
            <a:spAutoFit/>
          </a:bodyPr>
          <a:lstStyle/>
          <a:p>
            <a:pPr>
              <a:lnSpc>
                <a:spcPct val="90000"/>
              </a:lnSpc>
              <a:spcAft>
                <a:spcPts val="600"/>
              </a:spcAft>
            </a:pPr>
            <a:r>
              <a:rPr lang="en-US" altLang="ko-KR" sz="2400" b="1" dirty="0">
                <a:solidFill>
                  <a:schemeClr val="bg1"/>
                </a:solidFill>
              </a:rPr>
              <a:t>Compute</a:t>
            </a:r>
            <a:endParaRPr lang="ko-KR" altLang="en-US" sz="2400" b="1" dirty="0" err="1">
              <a:solidFill>
                <a:schemeClr val="bg1"/>
              </a:solidFill>
            </a:endParaRPr>
          </a:p>
        </p:txBody>
      </p:sp>
      <p:sp>
        <p:nvSpPr>
          <p:cNvPr id="9" name="TextBox 8"/>
          <p:cNvSpPr txBox="1"/>
          <p:nvPr/>
        </p:nvSpPr>
        <p:spPr>
          <a:xfrm>
            <a:off x="3552971" y="0"/>
            <a:ext cx="1485728" cy="627864"/>
          </a:xfrm>
          <a:prstGeom prst="rect">
            <a:avLst/>
          </a:prstGeom>
          <a:noFill/>
        </p:spPr>
        <p:txBody>
          <a:bodyPr wrap="none" lIns="182880" tIns="146304" rIns="182880" bIns="146304" rtlCol="0">
            <a:spAutoFit/>
          </a:bodyPr>
          <a:lstStyle/>
          <a:p>
            <a:pPr>
              <a:lnSpc>
                <a:spcPct val="90000"/>
              </a:lnSpc>
              <a:spcAft>
                <a:spcPts val="600"/>
              </a:spcAft>
            </a:pPr>
            <a:r>
              <a:rPr lang="en-US" altLang="ko-KR" sz="2400" b="1" dirty="0">
                <a:solidFill>
                  <a:schemeClr val="bg1"/>
                </a:solidFill>
              </a:rPr>
              <a:t>Storage</a:t>
            </a:r>
            <a:endParaRPr lang="ko-KR" altLang="en-US" sz="2400" b="1" dirty="0" err="1">
              <a:solidFill>
                <a:schemeClr val="bg1"/>
              </a:solidFill>
            </a:endParaRPr>
          </a:p>
        </p:txBody>
      </p:sp>
      <p:sp>
        <p:nvSpPr>
          <p:cNvPr id="10" name="TextBox 9"/>
          <p:cNvSpPr txBox="1"/>
          <p:nvPr/>
        </p:nvSpPr>
        <p:spPr>
          <a:xfrm>
            <a:off x="4226393" y="2549428"/>
            <a:ext cx="1624612" cy="627864"/>
          </a:xfrm>
          <a:prstGeom prst="rect">
            <a:avLst/>
          </a:prstGeom>
          <a:noFill/>
        </p:spPr>
        <p:txBody>
          <a:bodyPr wrap="none" lIns="182880" tIns="146304" rIns="182880" bIns="146304" rtlCol="0">
            <a:spAutoFit/>
          </a:bodyPr>
          <a:lstStyle/>
          <a:p>
            <a:pPr>
              <a:lnSpc>
                <a:spcPct val="90000"/>
              </a:lnSpc>
              <a:spcAft>
                <a:spcPts val="600"/>
              </a:spcAft>
            </a:pPr>
            <a:r>
              <a:rPr lang="en-US" altLang="ko-KR" sz="2400" b="1" dirty="0">
                <a:solidFill>
                  <a:schemeClr val="bg1"/>
                </a:solidFill>
              </a:rPr>
              <a:t>Network</a:t>
            </a:r>
            <a:endParaRPr lang="ko-KR" altLang="en-US" sz="2400" b="1" dirty="0" err="1">
              <a:solidFill>
                <a:schemeClr val="bg1"/>
              </a:solidFill>
            </a:endParaRPr>
          </a:p>
        </p:txBody>
      </p:sp>
      <p:sp>
        <p:nvSpPr>
          <p:cNvPr id="11" name="TextBox 10"/>
          <p:cNvSpPr txBox="1"/>
          <p:nvPr/>
        </p:nvSpPr>
        <p:spPr>
          <a:xfrm>
            <a:off x="5038699" y="1445960"/>
            <a:ext cx="2310569" cy="627864"/>
          </a:xfrm>
          <a:prstGeom prst="rect">
            <a:avLst/>
          </a:prstGeom>
          <a:noFill/>
        </p:spPr>
        <p:txBody>
          <a:bodyPr wrap="none" lIns="182880" tIns="146304" rIns="182880" bIns="146304" rtlCol="0">
            <a:spAutoFit/>
          </a:bodyPr>
          <a:lstStyle/>
          <a:p>
            <a:pPr>
              <a:lnSpc>
                <a:spcPct val="90000"/>
              </a:lnSpc>
              <a:spcAft>
                <a:spcPts val="600"/>
              </a:spcAft>
            </a:pPr>
            <a:r>
              <a:rPr lang="en-US" altLang="ko-KR" sz="2400" b="1" dirty="0">
                <a:solidFill>
                  <a:schemeClr val="bg1"/>
                </a:solidFill>
              </a:rPr>
              <a:t>Data Analysis</a:t>
            </a:r>
            <a:endParaRPr lang="ko-KR" altLang="en-US" sz="2400" b="1" dirty="0" err="1">
              <a:solidFill>
                <a:schemeClr val="bg1"/>
              </a:solidFill>
            </a:endParaRPr>
          </a:p>
        </p:txBody>
      </p:sp>
      <p:sp>
        <p:nvSpPr>
          <p:cNvPr id="12" name="TextBox 11"/>
          <p:cNvSpPr txBox="1"/>
          <p:nvPr/>
        </p:nvSpPr>
        <p:spPr>
          <a:xfrm>
            <a:off x="6478473" y="2030824"/>
            <a:ext cx="2292935" cy="627864"/>
          </a:xfrm>
          <a:prstGeom prst="rect">
            <a:avLst/>
          </a:prstGeom>
          <a:noFill/>
        </p:spPr>
        <p:txBody>
          <a:bodyPr wrap="none" lIns="182880" tIns="146304" rIns="182880" bIns="146304" rtlCol="0">
            <a:spAutoFit/>
          </a:bodyPr>
          <a:lstStyle/>
          <a:p>
            <a:pPr>
              <a:lnSpc>
                <a:spcPct val="90000"/>
              </a:lnSpc>
              <a:spcAft>
                <a:spcPts val="600"/>
              </a:spcAft>
            </a:pPr>
            <a:r>
              <a:rPr lang="en-US" altLang="ko-KR" sz="2400" b="1" dirty="0">
                <a:solidFill>
                  <a:schemeClr val="bg1"/>
                </a:solidFill>
              </a:rPr>
              <a:t>Management</a:t>
            </a:r>
            <a:endParaRPr lang="ko-KR" altLang="en-US" sz="2400" b="1" dirty="0" err="1">
              <a:solidFill>
                <a:schemeClr val="bg1"/>
              </a:solidFill>
            </a:endParaRPr>
          </a:p>
        </p:txBody>
      </p:sp>
    </p:spTree>
    <p:extLst>
      <p:ext uri="{BB962C8B-B14F-4D97-AF65-F5344CB8AC3E}">
        <p14:creationId xmlns:p14="http://schemas.microsoft.com/office/powerpoint/2010/main" val="18575592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P spid="10" grpId="0"/>
      <p:bldP spid="11" grpId="0"/>
      <p:bldP spid="1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그림 3"/>
          <p:cNvPicPr>
            <a:picLocks noChangeAspect="1"/>
          </p:cNvPicPr>
          <p:nvPr/>
        </p:nvPicPr>
        <p:blipFill>
          <a:blip r:embed="rId2" cstate="print">
            <a:extLst>
              <a:ext uri="{BEBA8EAE-BF5A-486C-A8C5-ECC9F3942E4B}">
                <a14:imgProps xmlns:a14="http://schemas.microsoft.com/office/drawing/2010/main">
                  <a14:imgLayer r:embed="rId3">
                    <a14:imgEffect>
                      <a14:backgroundRemoval t="3653" b="97771" l="5732" r="97090"/>
                    </a14:imgEffect>
                  </a14:imgLayer>
                </a14:imgProps>
              </a:ext>
              <a:ext uri="{28A0092B-C50C-407E-A947-70E740481C1C}">
                <a14:useLocalDpi xmlns:a14="http://schemas.microsoft.com/office/drawing/2010/main" val="0"/>
              </a:ext>
            </a:extLst>
          </a:blip>
          <a:stretch>
            <a:fillRect/>
          </a:stretch>
        </p:blipFill>
        <p:spPr>
          <a:xfrm>
            <a:off x="731717" y="2464905"/>
            <a:ext cx="1200376" cy="1709530"/>
          </a:xfrm>
          <a:prstGeom prst="rect">
            <a:avLst/>
          </a:prstGeom>
        </p:spPr>
      </p:pic>
      <p:pic>
        <p:nvPicPr>
          <p:cNvPr id="5" name="그림 4"/>
          <p:cNvPicPr>
            <a:picLocks noChangeAspect="1"/>
          </p:cNvPicPr>
          <p:nvPr/>
        </p:nvPicPr>
        <p:blipFill>
          <a:blip r:embed="rId2" cstate="print">
            <a:extLst>
              <a:ext uri="{BEBA8EAE-BF5A-486C-A8C5-ECC9F3942E4B}">
                <a14:imgProps xmlns:a14="http://schemas.microsoft.com/office/drawing/2010/main">
                  <a14:imgLayer r:embed="rId3">
                    <a14:imgEffect>
                      <a14:backgroundRemoval t="3653" b="97771" l="5732" r="97090"/>
                    </a14:imgEffect>
                  </a14:imgLayer>
                </a14:imgProps>
              </a:ext>
              <a:ext uri="{28A0092B-C50C-407E-A947-70E740481C1C}">
                <a14:useLocalDpi xmlns:a14="http://schemas.microsoft.com/office/drawing/2010/main" val="0"/>
              </a:ext>
            </a:extLst>
          </a:blip>
          <a:stretch>
            <a:fillRect/>
          </a:stretch>
        </p:blipFill>
        <p:spPr>
          <a:xfrm>
            <a:off x="2149174" y="2464905"/>
            <a:ext cx="1200376" cy="1709530"/>
          </a:xfrm>
          <a:prstGeom prst="rect">
            <a:avLst/>
          </a:prstGeom>
        </p:spPr>
      </p:pic>
      <p:pic>
        <p:nvPicPr>
          <p:cNvPr id="6" name="그림 5"/>
          <p:cNvPicPr>
            <a:picLocks noChangeAspect="1"/>
          </p:cNvPicPr>
          <p:nvPr/>
        </p:nvPicPr>
        <p:blipFill>
          <a:blip r:embed="rId2" cstate="print">
            <a:extLst>
              <a:ext uri="{BEBA8EAE-BF5A-486C-A8C5-ECC9F3942E4B}">
                <a14:imgProps xmlns:a14="http://schemas.microsoft.com/office/drawing/2010/main">
                  <a14:imgLayer r:embed="rId3">
                    <a14:imgEffect>
                      <a14:backgroundRemoval t="3653" b="97771" l="5732" r="97090"/>
                    </a14:imgEffect>
                  </a14:imgLayer>
                </a14:imgProps>
              </a:ext>
              <a:ext uri="{28A0092B-C50C-407E-A947-70E740481C1C}">
                <a14:useLocalDpi xmlns:a14="http://schemas.microsoft.com/office/drawing/2010/main" val="0"/>
              </a:ext>
            </a:extLst>
          </a:blip>
          <a:stretch>
            <a:fillRect/>
          </a:stretch>
        </p:blipFill>
        <p:spPr>
          <a:xfrm>
            <a:off x="3566631" y="2464905"/>
            <a:ext cx="1200376" cy="1709530"/>
          </a:xfrm>
          <a:prstGeom prst="rect">
            <a:avLst/>
          </a:prstGeom>
        </p:spPr>
      </p:pic>
      <p:pic>
        <p:nvPicPr>
          <p:cNvPr id="2" name="그림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07990" y="4799628"/>
            <a:ext cx="1150597" cy="1150597"/>
          </a:xfrm>
          <a:prstGeom prst="rect">
            <a:avLst/>
          </a:prstGeom>
        </p:spPr>
      </p:pic>
      <p:pic>
        <p:nvPicPr>
          <p:cNvPr id="7" name="그림 6"/>
          <p:cNvPicPr>
            <a:picLocks noChangeAspect="1"/>
          </p:cNvPicPr>
          <p:nvPr/>
        </p:nvPicPr>
        <p:blipFill>
          <a:blip r:embed="rId5" cstate="print">
            <a:extLst>
              <a:ext uri="{BEBA8EAE-BF5A-486C-A8C5-ECC9F3942E4B}">
                <a14:imgProps xmlns:a14="http://schemas.microsoft.com/office/drawing/2010/main">
                  <a14:imgLayer r:embed="rId6">
                    <a14:imgEffect>
                      <a14:backgroundRemoval t="0" b="100000" l="0" r="100000"/>
                    </a14:imgEffect>
                  </a14:imgLayer>
                </a14:imgProps>
              </a:ext>
              <a:ext uri="{28A0092B-C50C-407E-A947-70E740481C1C}">
                <a14:useLocalDpi xmlns:a14="http://schemas.microsoft.com/office/drawing/2010/main" val="0"/>
              </a:ext>
            </a:extLst>
          </a:blip>
          <a:stretch>
            <a:fillRect/>
          </a:stretch>
        </p:blipFill>
        <p:spPr>
          <a:xfrm>
            <a:off x="1856298" y="1280782"/>
            <a:ext cx="1786128" cy="512064"/>
          </a:xfrm>
          <a:prstGeom prst="rect">
            <a:avLst/>
          </a:prstGeom>
        </p:spPr>
      </p:pic>
      <p:pic>
        <p:nvPicPr>
          <p:cNvPr id="8" name="그림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25071" y="4978533"/>
            <a:ext cx="1150597" cy="1150597"/>
          </a:xfrm>
          <a:prstGeom prst="rect">
            <a:avLst/>
          </a:prstGeom>
        </p:spPr>
      </p:pic>
      <p:pic>
        <p:nvPicPr>
          <p:cNvPr id="9" name="그림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91829" y="4799627"/>
            <a:ext cx="1150597" cy="1150597"/>
          </a:xfrm>
          <a:prstGeom prst="rect">
            <a:avLst/>
          </a:prstGeom>
        </p:spPr>
      </p:pic>
      <p:sp>
        <p:nvSpPr>
          <p:cNvPr id="10" name="왼쪽 중괄호 9"/>
          <p:cNvSpPr/>
          <p:nvPr/>
        </p:nvSpPr>
        <p:spPr>
          <a:xfrm rot="5400000">
            <a:off x="2623003" y="742184"/>
            <a:ext cx="225287" cy="2862344"/>
          </a:xfrm>
          <a:prstGeom prst="leftBrace">
            <a:avLst/>
          </a:prstGeom>
          <a:ln w="60325">
            <a:solidFill>
              <a:srgbClr val="FF0000"/>
            </a:solid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ko-KR" altLang="en-US"/>
          </a:p>
        </p:txBody>
      </p:sp>
      <p:sp>
        <p:nvSpPr>
          <p:cNvPr id="11" name="왼쪽 중괄호 10"/>
          <p:cNvSpPr/>
          <p:nvPr/>
        </p:nvSpPr>
        <p:spPr>
          <a:xfrm rot="16200000">
            <a:off x="2623003" y="2922167"/>
            <a:ext cx="225287" cy="2862344"/>
          </a:xfrm>
          <a:prstGeom prst="leftBrace">
            <a:avLst/>
          </a:prstGeom>
          <a:ln w="60325">
            <a:solidFill>
              <a:srgbClr val="FF0000"/>
            </a:solid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ko-KR" altLang="en-US"/>
          </a:p>
        </p:txBody>
      </p:sp>
      <p:sp>
        <p:nvSpPr>
          <p:cNvPr id="12" name="TextBox 11"/>
          <p:cNvSpPr txBox="1"/>
          <p:nvPr/>
        </p:nvSpPr>
        <p:spPr>
          <a:xfrm>
            <a:off x="4383900" y="1623749"/>
            <a:ext cx="2038058" cy="1037207"/>
          </a:xfrm>
          <a:prstGeom prst="rect">
            <a:avLst/>
          </a:prstGeom>
          <a:noFill/>
        </p:spPr>
        <p:txBody>
          <a:bodyPr wrap="none" lIns="182880" tIns="146304" rIns="182880" bIns="146304" rtlCol="0">
            <a:spAutoFit/>
          </a:bodyPr>
          <a:lstStyle/>
          <a:p>
            <a:pPr>
              <a:lnSpc>
                <a:spcPct val="90000"/>
              </a:lnSpc>
              <a:spcAft>
                <a:spcPts val="600"/>
              </a:spcAft>
            </a:pPr>
            <a:r>
              <a:rPr lang="en-US" altLang="ko-KR" sz="2400" b="1" dirty="0">
                <a:solidFill>
                  <a:schemeClr val="bg1"/>
                </a:solidFill>
              </a:rPr>
              <a:t>Application</a:t>
            </a:r>
          </a:p>
          <a:p>
            <a:pPr>
              <a:lnSpc>
                <a:spcPct val="90000"/>
              </a:lnSpc>
              <a:spcAft>
                <a:spcPts val="600"/>
              </a:spcAft>
            </a:pPr>
            <a:r>
              <a:rPr lang="en-US" altLang="ko-KR" sz="2400" b="1" dirty="0">
                <a:solidFill>
                  <a:schemeClr val="bg1"/>
                </a:solidFill>
              </a:rPr>
              <a:t>Service</a:t>
            </a:r>
            <a:endParaRPr lang="ko-KR" altLang="en-US" sz="2400" b="1" dirty="0" err="1">
              <a:solidFill>
                <a:schemeClr val="bg1"/>
              </a:solidFill>
            </a:endParaRPr>
          </a:p>
        </p:txBody>
      </p:sp>
      <p:sp>
        <p:nvSpPr>
          <p:cNvPr id="13" name="TextBox 12"/>
          <p:cNvSpPr txBox="1"/>
          <p:nvPr/>
        </p:nvSpPr>
        <p:spPr>
          <a:xfrm>
            <a:off x="4791897" y="2716468"/>
            <a:ext cx="1693797" cy="627864"/>
          </a:xfrm>
          <a:prstGeom prst="rect">
            <a:avLst/>
          </a:prstGeom>
          <a:noFill/>
        </p:spPr>
        <p:txBody>
          <a:bodyPr wrap="none" lIns="182880" tIns="146304" rIns="182880" bIns="146304" rtlCol="0">
            <a:spAutoFit/>
          </a:bodyPr>
          <a:lstStyle/>
          <a:p>
            <a:pPr>
              <a:lnSpc>
                <a:spcPct val="90000"/>
              </a:lnSpc>
              <a:spcAft>
                <a:spcPts val="600"/>
              </a:spcAft>
            </a:pPr>
            <a:r>
              <a:rPr lang="en-US" altLang="ko-KR" sz="2400" b="1" dirty="0">
                <a:solidFill>
                  <a:schemeClr val="bg1"/>
                </a:solidFill>
              </a:rPr>
              <a:t>Compute</a:t>
            </a:r>
            <a:endParaRPr lang="ko-KR" altLang="en-US" sz="2400" b="1" dirty="0" err="1">
              <a:solidFill>
                <a:schemeClr val="bg1"/>
              </a:solidFill>
            </a:endParaRPr>
          </a:p>
        </p:txBody>
      </p:sp>
      <p:sp>
        <p:nvSpPr>
          <p:cNvPr id="14" name="TextBox 13"/>
          <p:cNvSpPr txBox="1"/>
          <p:nvPr/>
        </p:nvSpPr>
        <p:spPr>
          <a:xfrm>
            <a:off x="3838294" y="4913017"/>
            <a:ext cx="1485728" cy="627864"/>
          </a:xfrm>
          <a:prstGeom prst="rect">
            <a:avLst/>
          </a:prstGeom>
          <a:noFill/>
        </p:spPr>
        <p:txBody>
          <a:bodyPr wrap="none" lIns="182880" tIns="146304" rIns="182880" bIns="146304" rtlCol="0">
            <a:spAutoFit/>
          </a:bodyPr>
          <a:lstStyle/>
          <a:p>
            <a:pPr>
              <a:lnSpc>
                <a:spcPct val="90000"/>
              </a:lnSpc>
              <a:spcAft>
                <a:spcPts val="600"/>
              </a:spcAft>
            </a:pPr>
            <a:r>
              <a:rPr lang="en-US" altLang="ko-KR" sz="2400" b="1" dirty="0">
                <a:solidFill>
                  <a:schemeClr val="bg1"/>
                </a:solidFill>
              </a:rPr>
              <a:t>Storage</a:t>
            </a:r>
            <a:endParaRPr lang="ko-KR" altLang="en-US" sz="2400" b="1" dirty="0" err="1">
              <a:solidFill>
                <a:schemeClr val="bg1"/>
              </a:solidFill>
            </a:endParaRPr>
          </a:p>
        </p:txBody>
      </p:sp>
      <p:sp>
        <p:nvSpPr>
          <p:cNvPr id="15" name="TextBox 14"/>
          <p:cNvSpPr txBox="1"/>
          <p:nvPr/>
        </p:nvSpPr>
        <p:spPr>
          <a:xfrm>
            <a:off x="706827" y="769433"/>
            <a:ext cx="1624612" cy="627864"/>
          </a:xfrm>
          <a:prstGeom prst="rect">
            <a:avLst/>
          </a:prstGeom>
          <a:noFill/>
        </p:spPr>
        <p:txBody>
          <a:bodyPr wrap="none" lIns="182880" tIns="146304" rIns="182880" bIns="146304" rtlCol="0">
            <a:spAutoFit/>
          </a:bodyPr>
          <a:lstStyle/>
          <a:p>
            <a:pPr>
              <a:lnSpc>
                <a:spcPct val="90000"/>
              </a:lnSpc>
              <a:spcAft>
                <a:spcPts val="600"/>
              </a:spcAft>
            </a:pPr>
            <a:r>
              <a:rPr lang="en-US" altLang="ko-KR" sz="2400" b="1" dirty="0">
                <a:solidFill>
                  <a:schemeClr val="bg1"/>
                </a:solidFill>
              </a:rPr>
              <a:t>Network</a:t>
            </a:r>
            <a:endParaRPr lang="ko-KR" altLang="en-US" sz="2400" b="1" dirty="0" err="1">
              <a:solidFill>
                <a:schemeClr val="bg1"/>
              </a:solidFill>
            </a:endParaRPr>
          </a:p>
        </p:txBody>
      </p:sp>
      <p:sp>
        <p:nvSpPr>
          <p:cNvPr id="16" name="TextBox 15"/>
          <p:cNvSpPr txBox="1"/>
          <p:nvPr/>
        </p:nvSpPr>
        <p:spPr>
          <a:xfrm>
            <a:off x="4483510" y="5556454"/>
            <a:ext cx="2310569" cy="627864"/>
          </a:xfrm>
          <a:prstGeom prst="rect">
            <a:avLst/>
          </a:prstGeom>
          <a:noFill/>
        </p:spPr>
        <p:txBody>
          <a:bodyPr wrap="none" lIns="182880" tIns="146304" rIns="182880" bIns="146304" rtlCol="0">
            <a:spAutoFit/>
          </a:bodyPr>
          <a:lstStyle/>
          <a:p>
            <a:pPr>
              <a:lnSpc>
                <a:spcPct val="90000"/>
              </a:lnSpc>
              <a:spcAft>
                <a:spcPts val="600"/>
              </a:spcAft>
            </a:pPr>
            <a:r>
              <a:rPr lang="en-US" altLang="ko-KR" sz="2400" b="1" dirty="0">
                <a:solidFill>
                  <a:schemeClr val="bg1"/>
                </a:solidFill>
              </a:rPr>
              <a:t>Data Analysis</a:t>
            </a:r>
            <a:endParaRPr lang="ko-KR" altLang="en-US" sz="2400" b="1" dirty="0" err="1">
              <a:solidFill>
                <a:schemeClr val="bg1"/>
              </a:solidFill>
            </a:endParaRPr>
          </a:p>
        </p:txBody>
      </p:sp>
      <p:sp>
        <p:nvSpPr>
          <p:cNvPr id="17" name="TextBox 16"/>
          <p:cNvSpPr txBox="1"/>
          <p:nvPr/>
        </p:nvSpPr>
        <p:spPr>
          <a:xfrm>
            <a:off x="8162748" y="2783175"/>
            <a:ext cx="2292935" cy="627864"/>
          </a:xfrm>
          <a:prstGeom prst="rect">
            <a:avLst/>
          </a:prstGeom>
          <a:noFill/>
        </p:spPr>
        <p:txBody>
          <a:bodyPr wrap="none" lIns="182880" tIns="146304" rIns="182880" bIns="146304" rtlCol="0">
            <a:spAutoFit/>
          </a:bodyPr>
          <a:lstStyle/>
          <a:p>
            <a:pPr>
              <a:lnSpc>
                <a:spcPct val="90000"/>
              </a:lnSpc>
              <a:spcAft>
                <a:spcPts val="600"/>
              </a:spcAft>
            </a:pPr>
            <a:r>
              <a:rPr lang="en-US" altLang="ko-KR" sz="2400" b="1" dirty="0">
                <a:solidFill>
                  <a:schemeClr val="bg1"/>
                </a:solidFill>
              </a:rPr>
              <a:t>Management</a:t>
            </a:r>
            <a:endParaRPr lang="ko-KR" altLang="en-US" sz="2400" b="1" dirty="0" err="1">
              <a:solidFill>
                <a:schemeClr val="bg1"/>
              </a:solidFill>
            </a:endParaRPr>
          </a:p>
        </p:txBody>
      </p:sp>
      <p:sp>
        <p:nvSpPr>
          <p:cNvPr id="18" name="왼쪽 중괄호 17"/>
          <p:cNvSpPr/>
          <p:nvPr/>
        </p:nvSpPr>
        <p:spPr>
          <a:xfrm rot="10800000">
            <a:off x="7891760" y="776054"/>
            <a:ext cx="378782" cy="4642106"/>
          </a:xfrm>
          <a:prstGeom prst="leftBrac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ko-KR" altLang="en-US"/>
          </a:p>
        </p:txBody>
      </p:sp>
    </p:spTree>
    <p:extLst>
      <p:ext uri="{BB962C8B-B14F-4D97-AF65-F5344CB8AC3E}">
        <p14:creationId xmlns:p14="http://schemas.microsoft.com/office/powerpoint/2010/main" val="27299960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500"/>
                                        <p:tgtEl>
                                          <p:spTgt spid="13"/>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5"/>
                                        </p:tgtEl>
                                        <p:attrNameLst>
                                          <p:attrName>style.visibility</p:attrName>
                                        </p:attrNameLst>
                                      </p:cBhvr>
                                      <p:to>
                                        <p:strVal val="visible"/>
                                      </p:to>
                                    </p:set>
                                    <p:animEffect transition="in" filter="fade">
                                      <p:cBhvr>
                                        <p:cTn id="21" dur="500"/>
                                        <p:tgtEl>
                                          <p:spTgt spid="15"/>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fade">
                                      <p:cBhvr>
                                        <p:cTn id="26" dur="500"/>
                                        <p:tgtEl>
                                          <p:spTgt spid="7"/>
                                        </p:tgtEl>
                                      </p:cBhvr>
                                    </p:animEffect>
                                  </p:childTnLst>
                                </p:cTn>
                              </p:par>
                            </p:childTnLst>
                          </p:cTn>
                        </p:par>
                        <p:par>
                          <p:cTn id="27" fill="hold">
                            <p:stCondLst>
                              <p:cond delay="500"/>
                            </p:stCondLst>
                            <p:childTnLst>
                              <p:par>
                                <p:cTn id="28" presetID="10" presetClass="entr" presetSubtype="0" fill="hold" grpId="0" nodeType="afterEffect">
                                  <p:stCondLst>
                                    <p:cond delay="0"/>
                                  </p:stCondLst>
                                  <p:childTnLst>
                                    <p:set>
                                      <p:cBhvr>
                                        <p:cTn id="29" dur="1" fill="hold">
                                          <p:stCondLst>
                                            <p:cond delay="0"/>
                                          </p:stCondLst>
                                        </p:cTn>
                                        <p:tgtEl>
                                          <p:spTgt spid="10"/>
                                        </p:tgtEl>
                                        <p:attrNameLst>
                                          <p:attrName>style.visibility</p:attrName>
                                        </p:attrNameLst>
                                      </p:cBhvr>
                                      <p:to>
                                        <p:strVal val="visible"/>
                                      </p:to>
                                    </p:set>
                                    <p:animEffect transition="in" filter="fade">
                                      <p:cBhvr>
                                        <p:cTn id="30" dur="500"/>
                                        <p:tgtEl>
                                          <p:spTgt spid="10"/>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500"/>
                                        <p:tgtEl>
                                          <p:spTgt spid="12"/>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11"/>
                                        </p:tgtEl>
                                        <p:attrNameLst>
                                          <p:attrName>style.visibility</p:attrName>
                                        </p:attrNameLst>
                                      </p:cBhvr>
                                      <p:to>
                                        <p:strVal val="visible"/>
                                      </p:to>
                                    </p:set>
                                    <p:animEffect transition="in" filter="fade">
                                      <p:cBhvr>
                                        <p:cTn id="40" dur="500"/>
                                        <p:tgtEl>
                                          <p:spTgt spid="11"/>
                                        </p:tgtEl>
                                      </p:cBhvr>
                                    </p:animEffect>
                                  </p:childTnLst>
                                </p:cTn>
                              </p:par>
                              <p:par>
                                <p:cTn id="41" presetID="10" presetClass="entr" presetSubtype="0" fill="hold" nodeType="withEffect">
                                  <p:stCondLst>
                                    <p:cond delay="0"/>
                                  </p:stCondLst>
                                  <p:childTnLst>
                                    <p:set>
                                      <p:cBhvr>
                                        <p:cTn id="42" dur="1" fill="hold">
                                          <p:stCondLst>
                                            <p:cond delay="0"/>
                                          </p:stCondLst>
                                        </p:cTn>
                                        <p:tgtEl>
                                          <p:spTgt spid="2"/>
                                        </p:tgtEl>
                                        <p:attrNameLst>
                                          <p:attrName>style.visibility</p:attrName>
                                        </p:attrNameLst>
                                      </p:cBhvr>
                                      <p:to>
                                        <p:strVal val="visible"/>
                                      </p:to>
                                    </p:set>
                                    <p:animEffect transition="in" filter="fade">
                                      <p:cBhvr>
                                        <p:cTn id="43" dur="500"/>
                                        <p:tgtEl>
                                          <p:spTgt spid="2"/>
                                        </p:tgtEl>
                                      </p:cBhvr>
                                    </p:animEffect>
                                  </p:childTnLst>
                                </p:cTn>
                              </p:par>
                              <p:par>
                                <p:cTn id="44" presetID="10" presetClass="entr" presetSubtype="0" fill="hold" nodeType="withEffect">
                                  <p:stCondLst>
                                    <p:cond delay="0"/>
                                  </p:stCondLst>
                                  <p:childTnLst>
                                    <p:set>
                                      <p:cBhvr>
                                        <p:cTn id="45" dur="1" fill="hold">
                                          <p:stCondLst>
                                            <p:cond delay="0"/>
                                          </p:stCondLst>
                                        </p:cTn>
                                        <p:tgtEl>
                                          <p:spTgt spid="8"/>
                                        </p:tgtEl>
                                        <p:attrNameLst>
                                          <p:attrName>style.visibility</p:attrName>
                                        </p:attrNameLst>
                                      </p:cBhvr>
                                      <p:to>
                                        <p:strVal val="visible"/>
                                      </p:to>
                                    </p:set>
                                    <p:animEffect transition="in" filter="fade">
                                      <p:cBhvr>
                                        <p:cTn id="46" dur="500"/>
                                        <p:tgtEl>
                                          <p:spTgt spid="8"/>
                                        </p:tgtEl>
                                      </p:cBhvr>
                                    </p:animEffect>
                                  </p:childTnLst>
                                </p:cTn>
                              </p:par>
                              <p:par>
                                <p:cTn id="47" presetID="10" presetClass="entr" presetSubtype="0" fill="hold" nodeType="withEffect">
                                  <p:stCondLst>
                                    <p:cond delay="0"/>
                                  </p:stCondLst>
                                  <p:childTnLst>
                                    <p:set>
                                      <p:cBhvr>
                                        <p:cTn id="48" dur="1" fill="hold">
                                          <p:stCondLst>
                                            <p:cond delay="0"/>
                                          </p:stCondLst>
                                        </p:cTn>
                                        <p:tgtEl>
                                          <p:spTgt spid="9"/>
                                        </p:tgtEl>
                                        <p:attrNameLst>
                                          <p:attrName>style.visibility</p:attrName>
                                        </p:attrNameLst>
                                      </p:cBhvr>
                                      <p:to>
                                        <p:strVal val="visible"/>
                                      </p:to>
                                    </p:set>
                                    <p:animEffect transition="in" filter="fade">
                                      <p:cBhvr>
                                        <p:cTn id="49" dur="500"/>
                                        <p:tgtEl>
                                          <p:spTgt spid="9"/>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4"/>
                                        </p:tgtEl>
                                        <p:attrNameLst>
                                          <p:attrName>style.visibility</p:attrName>
                                        </p:attrNameLst>
                                      </p:cBhvr>
                                      <p:to>
                                        <p:strVal val="visible"/>
                                      </p:to>
                                    </p:set>
                                    <p:animEffect transition="in" filter="fade">
                                      <p:cBhvr>
                                        <p:cTn id="52" dur="500"/>
                                        <p:tgtEl>
                                          <p:spTgt spid="14"/>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16"/>
                                        </p:tgtEl>
                                        <p:attrNameLst>
                                          <p:attrName>style.visibility</p:attrName>
                                        </p:attrNameLst>
                                      </p:cBhvr>
                                      <p:to>
                                        <p:strVal val="visible"/>
                                      </p:to>
                                    </p:set>
                                    <p:animEffect transition="in" filter="fade">
                                      <p:cBhvr>
                                        <p:cTn id="57" dur="500"/>
                                        <p:tgtEl>
                                          <p:spTgt spid="16"/>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8"/>
                                        </p:tgtEl>
                                        <p:attrNameLst>
                                          <p:attrName>style.visibility</p:attrName>
                                        </p:attrNameLst>
                                      </p:cBhvr>
                                      <p:to>
                                        <p:strVal val="visible"/>
                                      </p:to>
                                    </p:set>
                                    <p:animEffect transition="in" filter="fade">
                                      <p:cBhvr>
                                        <p:cTn id="62" dur="500"/>
                                        <p:tgtEl>
                                          <p:spTgt spid="18"/>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17"/>
                                        </p:tgtEl>
                                        <p:attrNameLst>
                                          <p:attrName>style.visibility</p:attrName>
                                        </p:attrNameLst>
                                      </p:cBhvr>
                                      <p:to>
                                        <p:strVal val="visible"/>
                                      </p:to>
                                    </p:set>
                                    <p:animEffect transition="in" filter="fade">
                                      <p:cBhvr>
                                        <p:cTn id="65"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p:bldP spid="13" grpId="0"/>
      <p:bldP spid="14" grpId="0"/>
      <p:bldP spid="15" grpId="0"/>
      <p:bldP spid="16" grpId="0"/>
      <p:bldP spid="17" grpId="0"/>
      <p:bldP spid="1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433012" y="1842052"/>
            <a:ext cx="9181039" cy="960263"/>
          </a:xfrm>
          <a:prstGeom prst="rect">
            <a:avLst/>
          </a:prstGeom>
          <a:noFill/>
        </p:spPr>
        <p:txBody>
          <a:bodyPr wrap="none" lIns="182880" tIns="146304" rIns="182880" bIns="146304" rtlCol="0">
            <a:spAutoFit/>
          </a:bodyPr>
          <a:lstStyle/>
          <a:p>
            <a:pPr>
              <a:lnSpc>
                <a:spcPct val="90000"/>
              </a:lnSpc>
              <a:spcAft>
                <a:spcPts val="600"/>
              </a:spcAft>
            </a:pPr>
            <a:r>
              <a:rPr lang="en-US" altLang="ko-KR" sz="4800" b="1" dirty="0">
                <a:solidFill>
                  <a:schemeClr val="bg1"/>
                </a:solidFill>
              </a:rPr>
              <a:t>Cloud</a:t>
            </a:r>
            <a:r>
              <a:rPr lang="ko-KR" altLang="en-US" sz="4800" b="1" dirty="0">
                <a:solidFill>
                  <a:schemeClr val="bg1"/>
                </a:solidFill>
              </a:rPr>
              <a:t>는 역시</a:t>
            </a:r>
            <a:r>
              <a:rPr lang="en-US" altLang="ko-KR" sz="4800" b="1" dirty="0">
                <a:solidFill>
                  <a:schemeClr val="bg1"/>
                </a:solidFill>
              </a:rPr>
              <a:t>? (                   )</a:t>
            </a:r>
          </a:p>
        </p:txBody>
      </p:sp>
      <p:sp>
        <p:nvSpPr>
          <p:cNvPr id="3" name="TextBox 2"/>
          <p:cNvSpPr txBox="1"/>
          <p:nvPr/>
        </p:nvSpPr>
        <p:spPr>
          <a:xfrm>
            <a:off x="6618387" y="1842052"/>
            <a:ext cx="2885790" cy="960263"/>
          </a:xfrm>
          <a:prstGeom prst="rect">
            <a:avLst/>
          </a:prstGeom>
          <a:noFill/>
        </p:spPr>
        <p:txBody>
          <a:bodyPr wrap="none" lIns="182880" tIns="146304" rIns="182880" bIns="146304" rtlCol="0">
            <a:spAutoFit/>
          </a:bodyPr>
          <a:lstStyle/>
          <a:p>
            <a:pPr>
              <a:lnSpc>
                <a:spcPct val="90000"/>
              </a:lnSpc>
              <a:spcAft>
                <a:spcPts val="600"/>
              </a:spcAft>
            </a:pPr>
            <a:r>
              <a:rPr lang="en-US" altLang="ko-KR" sz="4800" b="1" dirty="0" err="1">
                <a:solidFill>
                  <a:schemeClr val="bg1"/>
                </a:solidFill>
              </a:rPr>
              <a:t>Mirosoft</a:t>
            </a:r>
            <a:endParaRPr lang="en-US" altLang="ko-KR" sz="4800" b="1" dirty="0">
              <a:solidFill>
                <a:schemeClr val="bg1"/>
              </a:solidFill>
            </a:endParaRPr>
          </a:p>
        </p:txBody>
      </p:sp>
    </p:spTree>
    <p:extLst>
      <p:ext uri="{BB962C8B-B14F-4D97-AF65-F5344CB8AC3E}">
        <p14:creationId xmlns:p14="http://schemas.microsoft.com/office/powerpoint/2010/main" val="32159954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IMING" val="|0.7"/>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RSvv9UshECsATr3NURJJ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GXFY15 GS Template - white layout">
  <a:themeElements>
    <a:clrScheme name="Custom 7">
      <a:dk1>
        <a:srgbClr val="505050"/>
      </a:dk1>
      <a:lt1>
        <a:srgbClr val="FFFFFF"/>
      </a:lt1>
      <a:dk2>
        <a:srgbClr val="002050"/>
      </a:dk2>
      <a:lt2>
        <a:srgbClr val="D2D2D2"/>
      </a:lt2>
      <a:accent1>
        <a:srgbClr val="0072C6"/>
      </a:accent1>
      <a:accent2>
        <a:srgbClr val="4668C5"/>
      </a:accent2>
      <a:accent3>
        <a:srgbClr val="00188F"/>
      </a:accent3>
      <a:accent4>
        <a:srgbClr val="008272"/>
      </a:accent4>
      <a:accent5>
        <a:srgbClr val="68217A"/>
      </a:accent5>
      <a:accent6>
        <a:srgbClr val="007233"/>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8DFC0E8C-F612-43D4-B8FC-667019544AE0}" vid="{994DF28D-DE75-4646-8A9A-D8C01370DE62}"/>
    </a:ext>
  </a:extLst>
</a:theme>
</file>

<file path=ppt/theme/theme10.xml><?xml version="1.0" encoding="utf-8"?>
<a:theme xmlns:a="http://schemas.openxmlformats.org/drawingml/2006/main" name="Тема Office">
  <a:themeElements>
    <a:clrScheme name="Другая 1">
      <a:dk1>
        <a:srgbClr val="060F18"/>
      </a:dk1>
      <a:lt1>
        <a:srgbClr val="FFFFFF"/>
      </a:lt1>
      <a:dk2>
        <a:srgbClr val="27282A"/>
      </a:dk2>
      <a:lt2>
        <a:srgbClr val="64BC46"/>
      </a:lt2>
      <a:accent1>
        <a:srgbClr val="55A51C"/>
      </a:accent1>
      <a:accent2>
        <a:srgbClr val="FF9630"/>
      </a:accent2>
      <a:accent3>
        <a:srgbClr val="02AED9"/>
      </a:accent3>
      <a:accent4>
        <a:srgbClr val="B20ECA"/>
      </a:accent4>
      <a:accent5>
        <a:srgbClr val="FB4040"/>
      </a:accent5>
      <a:accent6>
        <a:srgbClr val="0A70C7"/>
      </a:accent6>
      <a:hlink>
        <a:srgbClr val="0085CF"/>
      </a:hlink>
      <a:folHlink>
        <a:srgbClr val="C13832"/>
      </a:folHlink>
    </a:clrScheme>
    <a:fontScheme name="Segoe">
      <a:majorFont>
        <a:latin typeface="Segoe UI Light"/>
        <a:ea typeface=""/>
        <a:cs typeface=""/>
      </a:majorFont>
      <a:minorFont>
        <a:latin typeface="Segoe UI"/>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5-30489_Big_Data_Insights_Symposium_Template">
  <a:themeElements>
    <a:clrScheme name="Custom 1">
      <a:dk1>
        <a:srgbClr val="000000"/>
      </a:dk1>
      <a:lt1>
        <a:srgbClr val="FFFFFF"/>
      </a:lt1>
      <a:dk2>
        <a:srgbClr val="002050"/>
      </a:dk2>
      <a:lt2>
        <a:srgbClr val="BAD80A"/>
      </a:lt2>
      <a:accent1>
        <a:srgbClr val="0072C6"/>
      </a:accent1>
      <a:accent2>
        <a:srgbClr val="B4009E"/>
      </a:accent2>
      <a:accent3>
        <a:srgbClr val="008272"/>
      </a:accent3>
      <a:accent4>
        <a:srgbClr val="E81123"/>
      </a:accent4>
      <a:accent5>
        <a:srgbClr val="4668C5"/>
      </a:accent5>
      <a:accent6>
        <a:srgbClr val="68217A"/>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evices_Summit_Template_16x9.potx" id="{2006BEC4-F2DD-4F28-856F-0F85F746F823}" vid="{4383EE2E-E462-4EAE-A931-364D497CC3CA}"/>
    </a:ext>
  </a:extLst>
</a:theme>
</file>

<file path=ppt/theme/theme12.xml><?xml version="1.0" encoding="utf-8"?>
<a:theme xmlns:a="http://schemas.openxmlformats.org/drawingml/2006/main" name="1_Office 테마">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맑은 고딕"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맑은 고딕"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14.xml><?xml version="1.0" encoding="utf-8"?>
<a:theme xmlns:a="http://schemas.openxmlformats.org/drawingml/2006/main" name="1_5-30721_Build_2016_Template_Dark">
  <a:themeElements>
    <a:clrScheme name="Build 2016 Dark">
      <a:dk1>
        <a:srgbClr val="505050"/>
      </a:dk1>
      <a:lt1>
        <a:srgbClr val="FFFFFF"/>
      </a:lt1>
      <a:dk2>
        <a:srgbClr val="0078D7"/>
      </a:dk2>
      <a:lt2>
        <a:srgbClr val="F8F8F8"/>
      </a:lt2>
      <a:accent1>
        <a:srgbClr val="00BCF2"/>
      </a:accent1>
      <a:accent2>
        <a:srgbClr val="0078D7"/>
      </a:accent2>
      <a:accent3>
        <a:srgbClr val="002050"/>
      </a:accent3>
      <a:accent4>
        <a:srgbClr val="D2D2D2"/>
      </a:accent4>
      <a:accent5>
        <a:srgbClr val="737373"/>
      </a:accent5>
      <a:accent6>
        <a:srgbClr val="323232"/>
      </a:accent6>
      <a:hlink>
        <a:srgbClr val="5DDCFF"/>
      </a:hlink>
      <a:folHlink>
        <a:srgbClr val="5DDCFF"/>
      </a:folHlink>
    </a:clrScheme>
    <a:fontScheme name="Custom 2">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EE767E89-5D4D-44CA-8070-C9EE1D87F83B}"/>
    </a:ext>
  </a:extLst>
</a:theme>
</file>

<file path=ppt/theme/theme15.xml><?xml version="1.0" encoding="utf-8"?>
<a:theme xmlns:a="http://schemas.openxmlformats.org/drawingml/2006/main" name="5-30721_Build_2016_Template_Dark">
  <a:themeElements>
    <a:clrScheme name="Build 2016 Dark">
      <a:dk1>
        <a:srgbClr val="505050"/>
      </a:dk1>
      <a:lt1>
        <a:srgbClr val="FFFFFF"/>
      </a:lt1>
      <a:dk2>
        <a:srgbClr val="0078D7"/>
      </a:dk2>
      <a:lt2>
        <a:srgbClr val="F8F8F8"/>
      </a:lt2>
      <a:accent1>
        <a:srgbClr val="00BCF2"/>
      </a:accent1>
      <a:accent2>
        <a:srgbClr val="0078D7"/>
      </a:accent2>
      <a:accent3>
        <a:srgbClr val="002050"/>
      </a:accent3>
      <a:accent4>
        <a:srgbClr val="D2D2D2"/>
      </a:accent4>
      <a:accent5>
        <a:srgbClr val="737373"/>
      </a:accent5>
      <a:accent6>
        <a:srgbClr val="323232"/>
      </a:accent6>
      <a:hlink>
        <a:srgbClr val="5DDCFF"/>
      </a:hlink>
      <a:folHlink>
        <a:srgbClr val="5DDCFF"/>
      </a:folHlink>
    </a:clrScheme>
    <a:fontScheme name="Custom 2">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EE767E89-5D4D-44CA-8070-C9EE1D87F83B}"/>
    </a:ext>
  </a:extLst>
</a:theme>
</file>

<file path=ppt/theme/theme16.xml><?xml version="1.0" encoding="utf-8"?>
<a:theme xmlns:a="http://schemas.openxmlformats.org/drawingml/2006/main" name="2_Office 테마">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맑은 고딕"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맑은 고딕"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5_Office 테마">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맑은 고딕"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맑은 고딕"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oT의 Microsoft 요소 기술.pptm" id="{789EC651-4C8B-46EB-87DF-93E1B7607AD9}" vid="{347F0E38-64E5-46ED-B383-B7AF58B734C9}"/>
    </a:ext>
  </a:ext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맑은 고딕"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맑은 고딕"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6_5-30639_MGXFY16_Light_Template">
  <a:themeElements>
    <a:clrScheme name="MGX FY16 Light">
      <a:dk1>
        <a:srgbClr val="505050"/>
      </a:dk1>
      <a:lt1>
        <a:srgbClr val="FFFFFF"/>
      </a:lt1>
      <a:dk2>
        <a:srgbClr val="0078D7"/>
      </a:dk2>
      <a:lt2>
        <a:srgbClr val="FAFAFA"/>
      </a:lt2>
      <a:accent1>
        <a:srgbClr val="002050"/>
      </a:accent1>
      <a:accent2>
        <a:srgbClr val="0078D7"/>
      </a:accent2>
      <a:accent3>
        <a:srgbClr val="D83B01"/>
      </a:accent3>
      <a:accent4>
        <a:srgbClr val="FFB900"/>
      </a:accent4>
      <a:accent5>
        <a:srgbClr val="00188F"/>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 - IoT Overview Session 061515" id="{389F6BE5-A56E-4F02-ADE9-C93404C8CF92}" vid="{F75DD5E4-128D-4967-A23C-B71D925214E9}"/>
    </a:ext>
  </a:extLst>
</a:theme>
</file>

<file path=ppt/theme/theme2.xml><?xml version="1.0" encoding="utf-8"?>
<a:theme xmlns:a="http://schemas.openxmlformats.org/drawingml/2006/main" name="8_3-30070_Windows_Server_Management_Marketing_Template_16x9">
  <a:themeElements>
    <a:clrScheme name="WSMM_v0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ystem_Center_Marketing_Template_16x9.potx" id="{8F58127B-2DBD-4C1F-8F0E-1EA11AC3964C}" vid="{CBA365C4-D445-4E81-88F3-CDACCF814059}"/>
    </a:ext>
  </a:extLst>
</a:theme>
</file>

<file path=ppt/theme/theme20.xml><?xml version="1.0" encoding="utf-8"?>
<a:theme xmlns:a="http://schemas.openxmlformats.org/drawingml/2006/main" name="2_COLOR TEMPLATE">
  <a:themeElements>
    <a:clrScheme name="Custom 2">
      <a:dk1>
        <a:srgbClr val="505050"/>
      </a:dk1>
      <a:lt1>
        <a:srgbClr val="FFFFFF"/>
      </a:lt1>
      <a:dk2>
        <a:srgbClr val="002050"/>
      </a:dk2>
      <a:lt2>
        <a:srgbClr val="CDF4FF"/>
      </a:lt2>
      <a:accent1>
        <a:srgbClr val="0078D7"/>
      </a:accent1>
      <a:accent2>
        <a:srgbClr val="0078D7"/>
      </a:accent2>
      <a:accent3>
        <a:srgbClr val="107C10"/>
      </a:accent3>
      <a:accent4>
        <a:srgbClr val="B4009E"/>
      </a:accent4>
      <a:accent5>
        <a:srgbClr val="5C2D91"/>
      </a:accent5>
      <a:accent6>
        <a:srgbClr val="008272"/>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21.xml><?xml version="1.0" encoding="utf-8"?>
<a:theme xmlns:a="http://schemas.openxmlformats.org/drawingml/2006/main" name="3_Office 테마">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맑은 고딕"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맑은 고딕"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2.xml><?xml version="1.0" encoding="utf-8"?>
<a:theme xmlns:a="http://schemas.openxmlformats.org/drawingml/2006/main" name="2_104419_TechEd Aus 2014 Speaker PPT Template">
  <a:themeElements>
    <a:clrScheme name="Custom 16">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9E4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 2013 Speaker PPT Template" id="{B7FE9518-974F-47DC-B2FB-8DA685825519}" vid="{71F0AC58-1E80-4F52-B431-4D2A931C77C7}"/>
    </a:ext>
  </a:extLst>
</a:theme>
</file>

<file path=ppt/theme/theme23.xml><?xml version="1.0" encoding="utf-8"?>
<a:theme xmlns:a="http://schemas.openxmlformats.org/drawingml/2006/main" name="Office 테마">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맑은 고딕"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맑은 고딕"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3.potx" id="{4977ACAC-262E-428F-B2B5-F9AD02AFA5D4}" vid="{424674A7-235D-4F60-B609-DCDE12235BCE}"/>
    </a:ext>
  </a:extLst>
</a:theme>
</file>

<file path=ppt/theme/theme4.xml><?xml version="1.0" encoding="utf-8"?>
<a:theme xmlns:a="http://schemas.openxmlformats.org/drawingml/2006/main" name="Windows Azure Template Feb 2010">
  <a:themeElements>
    <a:clrScheme name="Windows Azure Dark Template">
      <a:dk1>
        <a:srgbClr val="000000"/>
      </a:dk1>
      <a:lt1>
        <a:srgbClr val="FFFFFF"/>
      </a:lt1>
      <a:dk2>
        <a:srgbClr val="16A5D9"/>
      </a:dk2>
      <a:lt2>
        <a:srgbClr val="AFFAFA"/>
      </a:lt2>
      <a:accent1>
        <a:srgbClr val="D7FEFD"/>
      </a:accent1>
      <a:accent2>
        <a:srgbClr val="FE5815"/>
      </a:accent2>
      <a:accent3>
        <a:srgbClr val="323232"/>
      </a:accent3>
      <a:accent4>
        <a:srgbClr val="5CC151"/>
      </a:accent4>
      <a:accent5>
        <a:srgbClr val="B8B8B8"/>
      </a:accent5>
      <a:accent6>
        <a:srgbClr val="DAF40A"/>
      </a:accent6>
      <a:hlink>
        <a:srgbClr val="AFFAFA"/>
      </a:hlink>
      <a:folHlink>
        <a:srgbClr val="AFFAFA"/>
      </a:folHlink>
    </a:clrScheme>
    <a:fontScheme name="Segoe UI">
      <a:majorFont>
        <a:latin typeface="Segoe UI"/>
        <a:ea typeface=""/>
        <a:cs typeface=""/>
      </a:majorFont>
      <a:minorFont>
        <a:latin typeface="Segoe UI"/>
        <a:ea typeface=""/>
        <a:cs typeface=""/>
      </a:minorFont>
    </a:fontScheme>
    <a:fmtScheme name="Verve">
      <a:fillStyleLst>
        <a:solidFill>
          <a:schemeClr val="phClr"/>
        </a:solidFill>
        <a:gradFill rotWithShape="1">
          <a:gsLst>
            <a:gs pos="0">
              <a:schemeClr val="phClr">
                <a:tint val="10000"/>
                <a:satMod val="300000"/>
              </a:schemeClr>
            </a:gs>
            <a:gs pos="34000">
              <a:schemeClr val="phClr">
                <a:tint val="13500"/>
                <a:satMod val="250000"/>
              </a:schemeClr>
            </a:gs>
            <a:gs pos="100000">
              <a:schemeClr val="phClr">
                <a:tint val="60000"/>
                <a:satMod val="200000"/>
              </a:schemeClr>
            </a:gs>
          </a:gsLst>
          <a:path path="circle">
            <a:fillToRect l="50000" t="155000" r="50000" b="-55000"/>
          </a:path>
        </a:gradFill>
        <a:gradFill rotWithShape="1">
          <a:gsLst>
            <a:gs pos="0">
              <a:schemeClr val="phClr">
                <a:tint val="60000"/>
                <a:satMod val="160000"/>
              </a:schemeClr>
            </a:gs>
            <a:gs pos="46000">
              <a:schemeClr val="phClr">
                <a:tint val="86000"/>
                <a:satMod val="160000"/>
              </a:schemeClr>
            </a:gs>
            <a:gs pos="100000">
              <a:schemeClr val="phClr">
                <a:shade val="40000"/>
                <a:satMod val="160000"/>
              </a:schemeClr>
            </a:gs>
          </a:gsLst>
          <a:path path="circle">
            <a:fillToRect l="50000" t="155000" r="50000" b="-55000"/>
          </a:path>
        </a:gradFill>
      </a:fillStyleLst>
      <a:lnStyleLst>
        <a:ln w="9525" cap="flat" cmpd="sng" algn="ctr">
          <a:solidFill>
            <a:schemeClr val="phClr">
              <a:satMod val="120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63500" dist="25400" dir="14700000" algn="t" rotWithShape="0">
              <a:srgbClr val="000000">
                <a:alpha val="50000"/>
              </a:srgbClr>
            </a:outerShdw>
          </a:effectLst>
        </a:effectStyle>
        <a:effectStyle>
          <a:effectLst>
            <a:outerShdw blurRad="50800" dist="38100" dir="14700000" algn="t" rotWithShape="0">
              <a:srgbClr val="000000">
                <a:alpha val="60000"/>
              </a:srgbClr>
            </a:outerShdw>
          </a:effectLst>
        </a:effectStyle>
        <a:effectStyle>
          <a:effectLst>
            <a:outerShdw blurRad="50800" dist="38100" dir="14700000" algn="t" rotWithShape="0">
              <a:srgbClr val="000000">
                <a:alpha val="60000"/>
              </a:srgbClr>
            </a:outerShdw>
          </a:effectLst>
          <a:scene3d>
            <a:camera prst="orthographicFront" fov="0">
              <a:rot lat="0" lon="0" rev="0"/>
            </a:camera>
            <a:lightRig rig="contrasting" dir="t">
              <a:rot lat="0" lon="0" rev="3600000"/>
            </a:lightRig>
          </a:scene3d>
          <a:sp3d prstMaterial="plastic">
            <a:bevelT w="127000" h="38200" prst="relaxedInset"/>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a:spPr>
      <a:bodyPr vert="horz" wrap="square" lIns="91436" tIns="45718" rIns="91436" bIns="45718" numCol="1" rtlCol="0" anchor="ctr" anchorCtr="0" compatLnSpc="1">
        <a:prstTxWarp prst="textNoShape">
          <a:avLst/>
        </a:prstTxWarp>
      </a:bodyPr>
      <a:lstStyle>
        <a:defPPr algn="ctr" defTabSz="914099">
          <a:defRPr sz="2400" spc="-50" dirty="0" smtClean="0">
            <a:gradFill>
              <a:gsLst>
                <a:gs pos="0">
                  <a:srgbClr val="000000"/>
                </a:gs>
                <a:gs pos="100000">
                  <a:srgbClr val="000000"/>
                </a:gs>
              </a:gsLst>
              <a:lin ang="5400000" scaled="0"/>
            </a:gradFill>
          </a:defRPr>
        </a:defPPr>
      </a:lstStyle>
      <a:style>
        <a:lnRef idx="0">
          <a:schemeClr val="accent1"/>
        </a:lnRef>
        <a:fillRef idx="3">
          <a:schemeClr val="accent1"/>
        </a:fillRef>
        <a:effectRef idx="3">
          <a:schemeClr val="accent1"/>
        </a:effectRef>
        <a:fontRef idx="minor">
          <a:schemeClr val="lt1"/>
        </a:fontRef>
      </a:style>
    </a:spDef>
    <a:txDef>
      <a:spPr>
        <a:noFill/>
      </a:spPr>
      <a:bodyPr wrap="none" lIns="0" tIns="0" rIns="0" bIns="0" rtlCol="0">
        <a:spAutoFit/>
      </a:bodyPr>
      <a:lstStyle>
        <a:defPPr>
          <a:defRPr sz="3200" dirty="0" err="1" smtClean="0">
            <a:gradFill>
              <a:gsLst>
                <a:gs pos="0">
                  <a:schemeClr val="tx1"/>
                </a:gs>
                <a:gs pos="86000">
                  <a:schemeClr val="tx1"/>
                </a:gs>
              </a:gsLst>
              <a:lin ang="5400000" scaled="0"/>
            </a:gradFill>
            <a:effectLst>
              <a:outerShdw blurRad="63500" algn="ctr" rotWithShape="0">
                <a:schemeClr val="tx1">
                  <a:alpha val="60000"/>
                </a:schemeClr>
              </a:outerShdw>
            </a:effectLst>
          </a:defRPr>
        </a:defPPr>
      </a:lstStyle>
    </a:txDef>
  </a:objectDefaults>
  <a:extraClrSchemeLst/>
</a:theme>
</file>

<file path=ppt/theme/theme5.xml><?xml version="1.0" encoding="utf-8"?>
<a:theme xmlns:a="http://schemas.openxmlformats.org/drawingml/2006/main" name="1_COLOR 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6.xml><?xml version="1.0" encoding="utf-8"?>
<a:theme xmlns:a="http://schemas.openxmlformats.org/drawingml/2006/main" name="MSVID_Purple269_16x9_2012-08-18">
  <a:themeElements>
    <a:clrScheme name="Custom 13">
      <a:dk1>
        <a:srgbClr val="000000"/>
      </a:dk1>
      <a:lt1>
        <a:srgbClr val="FFFFFF"/>
      </a:lt1>
      <a:dk2>
        <a:srgbClr val="02163E"/>
      </a:dk2>
      <a:lt2>
        <a:srgbClr val="FFFFFF"/>
      </a:lt2>
      <a:accent1>
        <a:srgbClr val="540F67"/>
      </a:accent1>
      <a:accent2>
        <a:srgbClr val="883884"/>
      </a:accent2>
      <a:accent3>
        <a:srgbClr val="331747"/>
      </a:accent3>
      <a:accent4>
        <a:srgbClr val="3650B8"/>
      </a:accent4>
      <a:accent5>
        <a:srgbClr val="00027C"/>
      </a:accent5>
      <a:accent6>
        <a:srgbClr val="02163E"/>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defRPr sz="2400" dirty="0" err="1" smtClean="0">
            <a:gradFill>
              <a:gsLst>
                <a:gs pos="2917">
                  <a:schemeClr val="tx1"/>
                </a:gs>
                <a:gs pos="30000">
                  <a:schemeClr val="tx1"/>
                </a:gs>
              </a:gsLst>
              <a:lin ang="5400000" scaled="0"/>
            </a:gradFill>
          </a:defRPr>
        </a:defPPr>
      </a:lstStyle>
    </a:txDef>
  </a:objectDefaults>
  <a:extraClrSchemeLst/>
</a:theme>
</file>

<file path=ppt/theme/theme7.xml><?xml version="1.0" encoding="utf-8"?>
<a:theme xmlns:a="http://schemas.openxmlformats.org/drawingml/2006/main" name="Openess 16-9_June-2014">
  <a:themeElements>
    <a:clrScheme name="Openess">
      <a:dk1>
        <a:srgbClr val="505050"/>
      </a:dk1>
      <a:lt1>
        <a:sysClr val="window" lastClr="FFFFFF"/>
      </a:lt1>
      <a:dk2>
        <a:srgbClr val="000000"/>
      </a:dk2>
      <a:lt2>
        <a:srgbClr val="E7E6E6"/>
      </a:lt2>
      <a:accent1>
        <a:srgbClr val="00188F"/>
      </a:accent1>
      <a:accent2>
        <a:srgbClr val="0072C6"/>
      </a:accent2>
      <a:accent3>
        <a:srgbClr val="008272"/>
      </a:accent3>
      <a:accent4>
        <a:srgbClr val="FF8C00"/>
      </a:accent4>
      <a:accent5>
        <a:srgbClr val="B4009E"/>
      </a:accent5>
      <a:accent6>
        <a:srgbClr val="68217A"/>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peness_2014_Template_16x9_r01.potx" id="{9AEF40BC-4E1A-4D6C-A429-0C2A87387DC2}" vid="{027EFA41-86E4-4FBF-AB40-2EAD28114D7D}"/>
    </a:ext>
  </a:extLst>
</a:theme>
</file>

<file path=ppt/theme/theme8.xml><?xml version="1.0" encoding="utf-8"?>
<a:theme xmlns:a="http://schemas.openxmlformats.org/drawingml/2006/main" name="Microsoft_Brand_template_16-9_WHITE_Teal_accent_2013">
  <a:themeElements>
    <a:clrScheme name="2013 White with Teal Accent Brand Template">
      <a:dk1>
        <a:srgbClr val="505050"/>
      </a:dk1>
      <a:lt1>
        <a:srgbClr val="FFFFFF"/>
      </a:lt1>
      <a:dk2>
        <a:srgbClr val="008272"/>
      </a:dk2>
      <a:lt2>
        <a:srgbClr val="D2D2D2"/>
      </a:lt2>
      <a:accent1>
        <a:srgbClr val="008272"/>
      </a:accent1>
      <a:accent2>
        <a:srgbClr val="68217A"/>
      </a:accent2>
      <a:accent3>
        <a:srgbClr val="B4009E"/>
      </a:accent3>
      <a:accent4>
        <a:srgbClr val="0072C6"/>
      </a:accent4>
      <a:accent5>
        <a:srgbClr val="442359"/>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2" id="{EA867D46-42E6-418B-85CF-ABEA429A73BC}" vid="{42EFFCA8-1DC0-4993-B75B-DFF6E72F3957}"/>
    </a:ext>
  </a:extLst>
</a:theme>
</file>

<file path=ppt/theme/theme9.xml><?xml version="1.0" encoding="utf-8"?>
<a:theme xmlns:a="http://schemas.openxmlformats.org/drawingml/2006/main" name="6_IOYT Theme INDUSTRY 2015">
  <a:themeElements>
    <a:clrScheme name="IOT colors">
      <a:dk1>
        <a:sysClr val="windowText" lastClr="000000"/>
      </a:dk1>
      <a:lt1>
        <a:sysClr val="window" lastClr="FFFFFF"/>
      </a:lt1>
      <a:dk2>
        <a:srgbClr val="000000"/>
      </a:dk2>
      <a:lt2>
        <a:srgbClr val="F8F8F8"/>
      </a:lt2>
      <a:accent1>
        <a:srgbClr val="00188F"/>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171</TotalTime>
  <Words>1415</Words>
  <Application>Microsoft Office PowerPoint</Application>
  <PresentationFormat>와이드스크린</PresentationFormat>
  <Paragraphs>339</Paragraphs>
  <Slides>33</Slides>
  <Notes>13</Notes>
  <HiddenSlides>0</HiddenSlides>
  <MMClips>2</MMClips>
  <ScaleCrop>false</ScaleCrop>
  <HeadingPairs>
    <vt:vector size="8" baseType="variant">
      <vt:variant>
        <vt:lpstr>사용한 글꼴</vt:lpstr>
      </vt:variant>
      <vt:variant>
        <vt:i4>13</vt:i4>
      </vt:variant>
      <vt:variant>
        <vt:lpstr>테마</vt:lpstr>
      </vt:variant>
      <vt:variant>
        <vt:i4>22</vt:i4>
      </vt:variant>
      <vt:variant>
        <vt:lpstr>포함된 OLE 서버</vt:lpstr>
      </vt:variant>
      <vt:variant>
        <vt:i4>1</vt:i4>
      </vt:variant>
      <vt:variant>
        <vt:lpstr>슬라이드 제목</vt:lpstr>
      </vt:variant>
      <vt:variant>
        <vt:i4>33</vt:i4>
      </vt:variant>
    </vt:vector>
  </HeadingPairs>
  <TitlesOfParts>
    <vt:vector size="69" baseType="lpstr">
      <vt:lpstr>Segoe</vt:lpstr>
      <vt:lpstr>Segoe Light</vt:lpstr>
      <vt:lpstr>맑은 고딕</vt:lpstr>
      <vt:lpstr>Arial</vt:lpstr>
      <vt:lpstr>Calibri</vt:lpstr>
      <vt:lpstr>Consolas</vt:lpstr>
      <vt:lpstr>Perpetua</vt:lpstr>
      <vt:lpstr>Segoe UI</vt:lpstr>
      <vt:lpstr>Segoe UI Black</vt:lpstr>
      <vt:lpstr>Segoe UI Light</vt:lpstr>
      <vt:lpstr>Segoe UI Semibold</vt:lpstr>
      <vt:lpstr>Segoe UI Semilight</vt:lpstr>
      <vt:lpstr>Wingdings</vt:lpstr>
      <vt:lpstr>MGXFY15 GS Template - white layout</vt:lpstr>
      <vt:lpstr>8_3-30070_Windows_Server_Management_Marketing_Template_16x9</vt:lpstr>
      <vt:lpstr>WHITE TEMPLATE</vt:lpstr>
      <vt:lpstr>Windows Azure Template Feb 2010</vt:lpstr>
      <vt:lpstr>1_COLOR TEMPLATE</vt:lpstr>
      <vt:lpstr>MSVID_Purple269_16x9_2012-08-18</vt:lpstr>
      <vt:lpstr>Openess 16-9_June-2014</vt:lpstr>
      <vt:lpstr>Microsoft_Brand_template_16-9_WHITE_Teal_accent_2013</vt:lpstr>
      <vt:lpstr>6_IOYT Theme INDUSTRY 2015</vt:lpstr>
      <vt:lpstr>Тема Office</vt:lpstr>
      <vt:lpstr>5-30489_Big_Data_Insights_Symposium_Template</vt:lpstr>
      <vt:lpstr>1_Office 테마</vt:lpstr>
      <vt:lpstr>LIGHT COLOR TEMPLATE</vt:lpstr>
      <vt:lpstr>1_5-30721_Build_2016_Template_Dark</vt:lpstr>
      <vt:lpstr>5-30721_Build_2016_Template_Dark</vt:lpstr>
      <vt:lpstr>2_Office 테마</vt:lpstr>
      <vt:lpstr>5_Office 테마</vt:lpstr>
      <vt:lpstr>Office Theme</vt:lpstr>
      <vt:lpstr>6_5-30639_MGXFY16_Light_Template</vt:lpstr>
      <vt:lpstr>2_COLOR TEMPLATE</vt:lpstr>
      <vt:lpstr>3_Office 테마</vt:lpstr>
      <vt:lpstr>2_104419_TechEd Aus 2014 Speaker PPT Template</vt:lpstr>
      <vt:lpstr>think-cell Slide</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Apps Powered by MS Cognitive Services</vt:lpstr>
      <vt:lpstr>Why Microsoft  Cognitive Services ?</vt:lpstr>
      <vt:lpstr>Cognitive Services</vt:lpstr>
      <vt:lpstr>Cognitive Services</vt:lpstr>
      <vt:lpstr>{Subscription Key} </vt:lpstr>
      <vt:lpstr>JSON</vt:lpstr>
      <vt:lpstr>PowerPoint 프레젠테이션</vt:lpstr>
      <vt:lpstr>Demo</vt:lpstr>
      <vt:lpstr>PowerPoint 프레젠테이션</vt:lpstr>
      <vt:lpstr>Microsoft Data platform End-to-end 서비스 </vt:lpstr>
      <vt:lpstr>Microsoft IoT platform End-to-end 서비스 </vt:lpstr>
      <vt:lpstr>PowerPoint 프레젠테이션</vt:lpstr>
      <vt:lpstr>IoT 아키텍처</vt:lpstr>
      <vt:lpstr>PowerPoint 프레젠테이션</vt:lpstr>
      <vt:lpstr>PowerPoint 프레젠테이션</vt:lpstr>
      <vt:lpstr>PowerPoint 프레젠테이션</vt:lpstr>
      <vt:lpstr>Microsoft &amp; Machine Learning 15 years of realizing innovation</vt:lpstr>
      <vt:lpstr>One solution for Machine Learning - from data to results </vt:lpstr>
      <vt:lpstr>Machine Learning</vt:lpstr>
      <vt:lpstr>PowerPoint 프레젠테이션</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클라우드 이해하기</dc:title>
  <dc:creator>Young Wook Kim</dc:creator>
  <cp:lastModifiedBy>Young Wook Kim</cp:lastModifiedBy>
  <cp:revision>28</cp:revision>
  <dcterms:created xsi:type="dcterms:W3CDTF">2015-12-07T16:33:43Z</dcterms:created>
  <dcterms:modified xsi:type="dcterms:W3CDTF">2016-09-20T07:22:42Z</dcterms:modified>
</cp:coreProperties>
</file>